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22.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notesSlides/notesSlide23.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notesSlides/notesSlide24.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notesSlides/notesSlide28.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notesSlides/notesSlide29.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notesSlides/notesSlide30.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notesSlides/notesSlide31.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notesSlides/notesSlide32.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notesSlides/notesSlide33.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68"/>
  </p:notesMasterIdLst>
  <p:handoutMasterIdLst>
    <p:handoutMasterId r:id="rId69"/>
  </p:handoutMasterIdLst>
  <p:sldIdLst>
    <p:sldId id="275" r:id="rId5"/>
    <p:sldId id="276" r:id="rId6"/>
    <p:sldId id="302" r:id="rId7"/>
    <p:sldId id="323" r:id="rId8"/>
    <p:sldId id="327" r:id="rId9"/>
    <p:sldId id="324" r:id="rId10"/>
    <p:sldId id="326" r:id="rId11"/>
    <p:sldId id="325" r:id="rId12"/>
    <p:sldId id="358" r:id="rId13"/>
    <p:sldId id="315" r:id="rId14"/>
    <p:sldId id="318" r:id="rId15"/>
    <p:sldId id="334" r:id="rId16"/>
    <p:sldId id="342" r:id="rId17"/>
    <p:sldId id="360" r:id="rId18"/>
    <p:sldId id="335" r:id="rId19"/>
    <p:sldId id="339" r:id="rId20"/>
    <p:sldId id="285" r:id="rId21"/>
    <p:sldId id="361" r:id="rId22"/>
    <p:sldId id="362" r:id="rId23"/>
    <p:sldId id="363" r:id="rId24"/>
    <p:sldId id="364" r:id="rId25"/>
    <p:sldId id="365" r:id="rId26"/>
    <p:sldId id="366" r:id="rId27"/>
    <p:sldId id="367" r:id="rId28"/>
    <p:sldId id="368" r:id="rId29"/>
    <p:sldId id="346" r:id="rId30"/>
    <p:sldId id="345" r:id="rId31"/>
    <p:sldId id="337" r:id="rId32"/>
    <p:sldId id="355" r:id="rId33"/>
    <p:sldId id="317" r:id="rId34"/>
    <p:sldId id="357" r:id="rId35"/>
    <p:sldId id="352" r:id="rId36"/>
    <p:sldId id="353" r:id="rId37"/>
    <p:sldId id="347" r:id="rId38"/>
    <p:sldId id="351" r:id="rId39"/>
    <p:sldId id="349" r:id="rId40"/>
    <p:sldId id="350" r:id="rId41"/>
    <p:sldId id="348" r:id="rId42"/>
    <p:sldId id="359" r:id="rId43"/>
    <p:sldId id="278" r:id="rId44"/>
    <p:sldId id="283" r:id="rId45"/>
    <p:sldId id="338" r:id="rId46"/>
    <p:sldId id="319" r:id="rId47"/>
    <p:sldId id="336" r:id="rId48"/>
    <p:sldId id="282" r:id="rId49"/>
    <p:sldId id="309" r:id="rId50"/>
    <p:sldId id="330" r:id="rId51"/>
    <p:sldId id="332" r:id="rId52"/>
    <p:sldId id="294" r:id="rId53"/>
    <p:sldId id="293" r:id="rId54"/>
    <p:sldId id="296" r:id="rId55"/>
    <p:sldId id="289" r:id="rId56"/>
    <p:sldId id="313" r:id="rId57"/>
    <p:sldId id="308" r:id="rId58"/>
    <p:sldId id="307" r:id="rId59"/>
    <p:sldId id="291" r:id="rId60"/>
    <p:sldId id="292" r:id="rId61"/>
    <p:sldId id="262" r:id="rId62"/>
    <p:sldId id="288" r:id="rId63"/>
    <p:sldId id="295" r:id="rId64"/>
    <p:sldId id="290" r:id="rId65"/>
    <p:sldId id="286" r:id="rId66"/>
    <p:sldId id="299" r:id="rId67"/>
  </p:sldIdLst>
  <p:sldSz cx="12192000" cy="6858000"/>
  <p:notesSz cx="6950075" cy="9236075"/>
  <p:custShowLst>
    <p:custShow name="Format Guide Workshop" id="0">
      <p:sldLst/>
    </p:custShow>
  </p:custShowLst>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velyn Yong" initials="EY" lastIdx="1" clrIdx="0">
    <p:extLst>
      <p:ext uri="{19B8F6BF-5375-455C-9EA6-DF929625EA0E}">
        <p15:presenceInfo xmlns:p15="http://schemas.microsoft.com/office/powerpoint/2012/main" userId="119b54a3e824dba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400"/>
    <a:srgbClr val="FF8C00"/>
    <a:srgbClr val="FF0000"/>
    <a:srgbClr val="171D3C"/>
    <a:srgbClr val="CBD0EB"/>
    <a:srgbClr val="A6A6A6"/>
    <a:srgbClr val="FF6161"/>
    <a:srgbClr val="FF4343"/>
    <a:srgbClr val="FFFF00"/>
    <a:srgbClr val="DBD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81AC2C-9B4D-48D3-8DAF-7A5A21AEF7CE}" v="1275" dt="2022-01-08T16:05:34.667"/>
    <p1510:client id="{0C79BA91-1E94-4A31-96DF-93ED1DF4A512}" v="35" dt="2022-01-08T13:13:28.156"/>
    <p1510:client id="{0DBCE264-42AB-4E4D-92BD-92ADD1AB384F}" v="1493" dt="2022-01-09T08:50:17.590"/>
    <p1510:client id="{0F3143D1-733D-4693-A1B4-4AC0E952203C}" v="1105" dt="2022-01-07T13:10:44.812"/>
    <p1510:client id="{11BCB7EC-2CD9-4DDE-8140-3BA1CF4EA7FC}" v="311" dt="2022-01-07T15:49:01.823"/>
    <p1510:client id="{1C868A80-F4F0-4CEC-A1DD-DCD9806FF52B}" v="24" dt="2022-01-08T01:47:13.057"/>
    <p1510:client id="{22FB8DB7-6371-41EB-A551-BB3DDECDAE5A}" v="160" dt="2022-01-07T15:42:27.729"/>
    <p1510:client id="{29E29440-0DE4-4097-B1BF-169145A03F4F}" v="207" dt="2022-01-09T08:56:03.225"/>
    <p1510:client id="{33D43782-FE1C-4BEA-8261-254FCF1485F7}" v="42" dt="2022-01-06T05:10:20.904"/>
    <p1510:client id="{3A0958C3-CB40-44EF-97F0-B6BA51C72152}" v="22" dt="2022-01-07T07:02:59.853"/>
    <p1510:client id="{3B0288CD-6438-43D8-A754-2C00C1097321}" v="118" dt="2022-01-08T09:20:41.361"/>
    <p1510:client id="{3EB0FAEB-12AC-4A2E-B9FA-FADDBCDDECE3}" v="1097" dt="2022-01-09T08:42:28.530"/>
    <p1510:client id="{42D81030-C5C2-460C-A637-800465825350}" v="310" dt="2022-01-07T16:02:55.108"/>
    <p1510:client id="{5E8024D4-CE76-4AF1-992E-04FA62D5E2AB}" v="428" dt="2022-01-08T10:04:29.276"/>
    <p1510:client id="{5F7935B9-78CB-4A7B-8139-79A142C00EBF}" v="497" dt="2022-01-09T15:24:45.521"/>
    <p1510:client id="{75A97B9E-77E4-426A-B7F0-B00B889C97DC}" v="887" dt="2022-01-09T09:49:42.068"/>
    <p1510:client id="{819C4CA1-6F1E-40FB-B176-D0B36B393917}" v="728" dt="2022-01-08T12:35:44.353"/>
    <p1510:client id="{819DFFEC-4326-43C8-95FF-064276E98504}" v="358" dt="2022-01-07T21:32:37.885"/>
    <p1510:client id="{8B5C4203-1535-4333-83EB-DAD9020FD920}" v="153" dt="2022-01-06T02:49:45.409"/>
    <p1510:client id="{AA8F84BC-5D19-4691-B461-BEF25C6106FD}" v="87" dt="2022-01-07T15:00:23.632"/>
    <p1510:client id="{AADDA445-BDD6-42F9-85C9-88CD3230B937}" v="178" dt="2022-01-09T11:24:00.148"/>
    <p1510:client id="{BCBC7DAA-9194-4E0F-B355-1B8AC41DDAA0}" v="13" dt="2022-01-07T12:45:06.721"/>
    <p1510:client id="{C6B74C6D-491E-41E5-B73F-A02C1ED83FFA}" v="180" dt="2022-01-09T08:32:09.601"/>
    <p1510:client id="{D9D9CDA3-6727-4953-8803-8E71B7B07B33}" v="271" dt="2022-01-07T13:51:27.594"/>
    <p1510:client id="{DA0791EE-8C54-44FE-85AD-70117F2C2B72}" v="1082" dt="2022-01-09T15:37:34.416"/>
    <p1510:client id="{DCEE5406-83BB-48F0-AF89-99663C2BD9DB}" v="2266" dt="2022-01-08T16:29:50.092"/>
    <p1510:client id="{DFDD5CEE-4220-4D97-8780-A131383F4A54}" v="709" dt="2022-01-08T11:59:47.449"/>
    <p1510:client id="{E369CB37-3068-47E4-AD90-1DEAD92C8B6F}" v="2187" dt="2022-01-08T16:39:17.078"/>
    <p1510:client id="{EBBE918A-CD43-47AE-9637-5ACE8C97E877}" v="452" dt="2022-01-07T12:56:47.011"/>
    <p1510:client id="{EC2A99E8-D57E-404D-978A-0C90CBE96F0A}" v="65" dt="2022-01-08T18:36:54.308"/>
    <p1510:client id="{ED715E7B-4604-42E7-9143-8C9AAFEFEE22}" v="1083" dt="2022-01-08T16:25:18.505"/>
    <p1510:client id="{F0A9F897-F63F-4ABF-9284-5B2E5231BFDE}" v="22" dt="2022-01-09T05:48:54.330"/>
    <p1510:client id="{F4D536A2-EFCC-4670-8C8C-E863D221E9CA}" v="415" dt="2022-01-09T03:38:55.223"/>
    <p1510:client id="{F6E9D699-77B0-4065-86A7-8BD3B22EE356}" v="183" dt="2022-01-08T15:00:33.726"/>
    <p1510:client id="{FE7A7410-B3C7-4707-853A-BB53FCF4B11C}" v="4" dt="2022-01-09T06:53:57.8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3758" autoAdjust="0"/>
  </p:normalViewPr>
  <p:slideViewPr>
    <p:cSldViewPr snapToGrid="0">
      <p:cViewPr varScale="1">
        <p:scale>
          <a:sx n="76" d="100"/>
          <a:sy n="76" d="100"/>
        </p:scale>
        <p:origin x="1914" y="90"/>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notesMaster" Target="notesMasters/notesMaster1.xml"/><Relationship Id="rId76" Type="http://schemas.microsoft.com/office/2016/11/relationships/changesInfo" Target="changesInfos/changesInfo1.xml"/><Relationship Id="rId7" Type="http://schemas.openxmlformats.org/officeDocument/2006/relationships/slide" Target="slides/slide3.xml"/><Relationship Id="rId71"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handoutMaster" Target="handoutMasters/handoutMaster1.xml"/><Relationship Id="rId77"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ONGYONGLIN91" userId="S::wongyonglin91_gmail.com#ext#@risebcg.onmicrosoft.com::b2d94f93-e580-4f0d-9dda-2138509d25ae" providerId="AD" clId="Web-{F6E9D699-77B0-4065-86A7-8BD3B22EE356}"/>
    <pc:docChg chg="addSld modSld">
      <pc:chgData name="WONGYONGLIN91" userId="S::wongyonglin91_gmail.com#ext#@risebcg.onmicrosoft.com::b2d94f93-e580-4f0d-9dda-2138509d25ae" providerId="AD" clId="Web-{F6E9D699-77B0-4065-86A7-8BD3B22EE356}" dt="2022-01-08T15:00:33.726" v="92"/>
      <pc:docMkLst>
        <pc:docMk/>
      </pc:docMkLst>
      <pc:sldChg chg="delSp modSp add replId">
        <pc:chgData name="WONGYONGLIN91" userId="S::wongyonglin91_gmail.com#ext#@risebcg.onmicrosoft.com::b2d94f93-e580-4f0d-9dda-2138509d25ae" providerId="AD" clId="Web-{F6E9D699-77B0-4065-86A7-8BD3B22EE356}" dt="2022-01-08T15:00:33.726" v="92"/>
        <pc:sldMkLst>
          <pc:docMk/>
          <pc:sldMk cId="1227236751" sldId="356"/>
        </pc:sldMkLst>
        <pc:spChg chg="mod">
          <ac:chgData name="WONGYONGLIN91" userId="S::wongyonglin91_gmail.com#ext#@risebcg.onmicrosoft.com::b2d94f93-e580-4f0d-9dda-2138509d25ae" providerId="AD" clId="Web-{F6E9D699-77B0-4065-86A7-8BD3B22EE356}" dt="2022-01-08T14:59:05.599" v="41" actId="20577"/>
          <ac:spMkLst>
            <pc:docMk/>
            <pc:sldMk cId="1227236751" sldId="356"/>
            <ac:spMk id="2" creationId="{ED14AA63-35D8-4136-8B2F-DE1837A583A2}"/>
          </ac:spMkLst>
        </pc:spChg>
        <pc:spChg chg="mod">
          <ac:chgData name="WONGYONGLIN91" userId="S::wongyonglin91_gmail.com#ext#@risebcg.onmicrosoft.com::b2d94f93-e580-4f0d-9dda-2138509d25ae" providerId="AD" clId="Web-{F6E9D699-77B0-4065-86A7-8BD3B22EE356}" dt="2022-01-08T14:59:20.380" v="58" actId="20577"/>
          <ac:spMkLst>
            <pc:docMk/>
            <pc:sldMk cId="1227236751" sldId="356"/>
            <ac:spMk id="3" creationId="{2321500F-B116-49E9-B713-1C89E59A92D6}"/>
          </ac:spMkLst>
        </pc:spChg>
        <pc:spChg chg="mod">
          <ac:chgData name="WONGYONGLIN91" userId="S::wongyonglin91_gmail.com#ext#@risebcg.onmicrosoft.com::b2d94f93-e580-4f0d-9dda-2138509d25ae" providerId="AD" clId="Web-{F6E9D699-77B0-4065-86A7-8BD3B22EE356}" dt="2022-01-08T15:00:16.631" v="90" actId="14100"/>
          <ac:spMkLst>
            <pc:docMk/>
            <pc:sldMk cId="1227236751" sldId="356"/>
            <ac:spMk id="12" creationId="{95E46411-4A0C-41AA-9250-790D71323EA7}"/>
          </ac:spMkLst>
        </pc:spChg>
        <pc:picChg chg="del">
          <ac:chgData name="WONGYONGLIN91" userId="S::wongyonglin91_gmail.com#ext#@risebcg.onmicrosoft.com::b2d94f93-e580-4f0d-9dda-2138509d25ae" providerId="AD" clId="Web-{F6E9D699-77B0-4065-86A7-8BD3B22EE356}" dt="2022-01-08T15:00:27.569" v="91"/>
          <ac:picMkLst>
            <pc:docMk/>
            <pc:sldMk cId="1227236751" sldId="356"/>
            <ac:picMk id="6" creationId="{0543AB5E-0C46-4F5B-92B9-8460B4265166}"/>
          </ac:picMkLst>
        </pc:picChg>
        <pc:picChg chg="del">
          <ac:chgData name="WONGYONGLIN91" userId="S::wongyonglin91_gmail.com#ext#@risebcg.onmicrosoft.com::b2d94f93-e580-4f0d-9dda-2138509d25ae" providerId="AD" clId="Web-{F6E9D699-77B0-4065-86A7-8BD3B22EE356}" dt="2022-01-08T15:00:33.726" v="92"/>
          <ac:picMkLst>
            <pc:docMk/>
            <pc:sldMk cId="1227236751" sldId="356"/>
            <ac:picMk id="9" creationId="{97A95AB9-26F3-4FFA-B40B-A3BFD1A87A7B}"/>
          </ac:picMkLst>
        </pc:picChg>
      </pc:sldChg>
    </pc:docChg>
  </pc:docChgLst>
  <pc:docChgLst>
    <pc:chgData name="WONGYONGLIN91" userId="S::wongyonglin91_gmail.com#ext#@risebcg.onmicrosoft.com::b2d94f93-e580-4f0d-9dda-2138509d25ae" providerId="AD" clId="Web-{0C79BA91-1E94-4A31-96DF-93ED1DF4A512}"/>
    <pc:docChg chg="modSld">
      <pc:chgData name="WONGYONGLIN91" userId="S::wongyonglin91_gmail.com#ext#@risebcg.onmicrosoft.com::b2d94f93-e580-4f0d-9dda-2138509d25ae" providerId="AD" clId="Web-{0C79BA91-1E94-4A31-96DF-93ED1DF4A512}" dt="2022-01-08T13:13:28.156" v="27" actId="1076"/>
      <pc:docMkLst>
        <pc:docMk/>
      </pc:docMkLst>
      <pc:sldChg chg="addSp delSp modSp">
        <pc:chgData name="WONGYONGLIN91" userId="S::wongyonglin91_gmail.com#ext#@risebcg.onmicrosoft.com::b2d94f93-e580-4f0d-9dda-2138509d25ae" providerId="AD" clId="Web-{0C79BA91-1E94-4A31-96DF-93ED1DF4A512}" dt="2022-01-08T13:13:28.156" v="27" actId="1076"/>
        <pc:sldMkLst>
          <pc:docMk/>
          <pc:sldMk cId="3971465157" sldId="345"/>
        </pc:sldMkLst>
        <pc:spChg chg="mod">
          <ac:chgData name="WONGYONGLIN91" userId="S::wongyonglin91_gmail.com#ext#@risebcg.onmicrosoft.com::b2d94f93-e580-4f0d-9dda-2138509d25ae" providerId="AD" clId="Web-{0C79BA91-1E94-4A31-96DF-93ED1DF4A512}" dt="2022-01-08T13:09:39.025" v="1" actId="20577"/>
          <ac:spMkLst>
            <pc:docMk/>
            <pc:sldMk cId="3971465157" sldId="345"/>
            <ac:spMk id="2" creationId="{ED14AA63-35D8-4136-8B2F-DE1837A583A2}"/>
          </ac:spMkLst>
        </pc:spChg>
        <pc:picChg chg="mod">
          <ac:chgData name="WONGYONGLIN91" userId="S::wongyonglin91_gmail.com#ext#@risebcg.onmicrosoft.com::b2d94f93-e580-4f0d-9dda-2138509d25ae" providerId="AD" clId="Web-{0C79BA91-1E94-4A31-96DF-93ED1DF4A512}" dt="2022-01-08T13:13:16.046" v="23" actId="1076"/>
          <ac:picMkLst>
            <pc:docMk/>
            <pc:sldMk cId="3971465157" sldId="345"/>
            <ac:picMk id="6" creationId="{0543AB5E-0C46-4F5B-92B9-8460B4265166}"/>
          </ac:picMkLst>
        </pc:picChg>
        <pc:picChg chg="mod">
          <ac:chgData name="WONGYONGLIN91" userId="S::wongyonglin91_gmail.com#ext#@risebcg.onmicrosoft.com::b2d94f93-e580-4f0d-9dda-2138509d25ae" providerId="AD" clId="Web-{0C79BA91-1E94-4A31-96DF-93ED1DF4A512}" dt="2022-01-08T13:13:25.046" v="26" actId="14100"/>
          <ac:picMkLst>
            <pc:docMk/>
            <pc:sldMk cId="3971465157" sldId="345"/>
            <ac:picMk id="7" creationId="{F2806C6D-F724-4DED-AEF0-61ECCAB05DB6}"/>
          </ac:picMkLst>
        </pc:picChg>
        <pc:picChg chg="add mod">
          <ac:chgData name="WONGYONGLIN91" userId="S::wongyonglin91_gmail.com#ext#@risebcg.onmicrosoft.com::b2d94f93-e580-4f0d-9dda-2138509d25ae" providerId="AD" clId="Web-{0C79BA91-1E94-4A31-96DF-93ED1DF4A512}" dt="2022-01-08T13:13:28.156" v="27" actId="1076"/>
          <ac:picMkLst>
            <pc:docMk/>
            <pc:sldMk cId="3971465157" sldId="345"/>
            <ac:picMk id="8" creationId="{1C37FA25-553F-4164-8C97-7E76EEDF8003}"/>
          </ac:picMkLst>
        </pc:picChg>
        <pc:picChg chg="add mod">
          <ac:chgData name="WONGYONGLIN91" userId="S::wongyonglin91_gmail.com#ext#@risebcg.onmicrosoft.com::b2d94f93-e580-4f0d-9dda-2138509d25ae" providerId="AD" clId="Web-{0C79BA91-1E94-4A31-96DF-93ED1DF4A512}" dt="2022-01-08T13:13:19.156" v="24" actId="1076"/>
          <ac:picMkLst>
            <pc:docMk/>
            <pc:sldMk cId="3971465157" sldId="345"/>
            <ac:picMk id="9" creationId="{97A95AB9-26F3-4FFA-B40B-A3BFD1A87A7B}"/>
          </ac:picMkLst>
        </pc:picChg>
        <pc:picChg chg="del">
          <ac:chgData name="WONGYONGLIN91" userId="S::wongyonglin91_gmail.com#ext#@risebcg.onmicrosoft.com::b2d94f93-e580-4f0d-9dda-2138509d25ae" providerId="AD" clId="Web-{0C79BA91-1E94-4A31-96DF-93ED1DF4A512}" dt="2022-01-08T13:12:14.873" v="14"/>
          <ac:picMkLst>
            <pc:docMk/>
            <pc:sldMk cId="3971465157" sldId="345"/>
            <ac:picMk id="14" creationId="{6C32E5A9-2DAB-4399-BC5F-DFEF3CE42056}"/>
          </ac:picMkLst>
        </pc:picChg>
        <pc:picChg chg="del">
          <ac:chgData name="WONGYONGLIN91" userId="S::wongyonglin91_gmail.com#ext#@risebcg.onmicrosoft.com::b2d94f93-e580-4f0d-9dda-2138509d25ae" providerId="AD" clId="Web-{0C79BA91-1E94-4A31-96DF-93ED1DF4A512}" dt="2022-01-08T13:11:40.809" v="10"/>
          <ac:picMkLst>
            <pc:docMk/>
            <pc:sldMk cId="3971465157" sldId="345"/>
            <ac:picMk id="15" creationId="{D29E5551-D1FB-4B15-B981-AF5FE6C4338B}"/>
          </ac:picMkLst>
        </pc:picChg>
      </pc:sldChg>
      <pc:sldChg chg="addSp delSp modSp">
        <pc:chgData name="WONGYONGLIN91" userId="S::wongyonglin91_gmail.com#ext#@risebcg.onmicrosoft.com::b2d94f93-e580-4f0d-9dda-2138509d25ae" providerId="AD" clId="Web-{0C79BA91-1E94-4A31-96DF-93ED1DF4A512}" dt="2022-01-08T13:11:07.809" v="9" actId="14100"/>
        <pc:sldMkLst>
          <pc:docMk/>
          <pc:sldMk cId="2149037765" sldId="346"/>
        </pc:sldMkLst>
        <pc:picChg chg="del">
          <ac:chgData name="WONGYONGLIN91" userId="S::wongyonglin91_gmail.com#ext#@risebcg.onmicrosoft.com::b2d94f93-e580-4f0d-9dda-2138509d25ae" providerId="AD" clId="Web-{0C79BA91-1E94-4A31-96DF-93ED1DF4A512}" dt="2022-01-08T13:09:45.916" v="2"/>
          <ac:picMkLst>
            <pc:docMk/>
            <pc:sldMk cId="2149037765" sldId="346"/>
            <ac:picMk id="6" creationId="{8B12E724-F7D6-46BF-AE6E-486289EC7CC6}"/>
          </ac:picMkLst>
        </pc:picChg>
        <pc:picChg chg="del">
          <ac:chgData name="WONGYONGLIN91" userId="S::wongyonglin91_gmail.com#ext#@risebcg.onmicrosoft.com::b2d94f93-e580-4f0d-9dda-2138509d25ae" providerId="AD" clId="Web-{0C79BA91-1E94-4A31-96DF-93ED1DF4A512}" dt="2022-01-08T13:09:46.354" v="3"/>
          <ac:picMkLst>
            <pc:docMk/>
            <pc:sldMk cId="2149037765" sldId="346"/>
            <ac:picMk id="7" creationId="{9A3D2A3F-16A2-4B00-AD57-DD79E305B4AB}"/>
          </ac:picMkLst>
        </pc:picChg>
        <pc:picChg chg="add mod">
          <ac:chgData name="WONGYONGLIN91" userId="S::wongyonglin91_gmail.com#ext#@risebcg.onmicrosoft.com::b2d94f93-e580-4f0d-9dda-2138509d25ae" providerId="AD" clId="Web-{0C79BA91-1E94-4A31-96DF-93ED1DF4A512}" dt="2022-01-08T13:10:20.511" v="6" actId="14100"/>
          <ac:picMkLst>
            <pc:docMk/>
            <pc:sldMk cId="2149037765" sldId="346"/>
            <ac:picMk id="10" creationId="{391F6A77-68C5-4C52-ABF8-CA8D80177516}"/>
          </ac:picMkLst>
        </pc:picChg>
        <pc:picChg chg="add mod">
          <ac:chgData name="WONGYONGLIN91" userId="S::wongyonglin91_gmail.com#ext#@risebcg.onmicrosoft.com::b2d94f93-e580-4f0d-9dda-2138509d25ae" providerId="AD" clId="Web-{0C79BA91-1E94-4A31-96DF-93ED1DF4A512}" dt="2022-01-08T13:11:07.809" v="9" actId="14100"/>
          <ac:picMkLst>
            <pc:docMk/>
            <pc:sldMk cId="2149037765" sldId="346"/>
            <ac:picMk id="11" creationId="{D3B0CDFF-5E2B-4904-8700-08E7D750F067}"/>
          </ac:picMkLst>
        </pc:picChg>
      </pc:sldChg>
    </pc:docChg>
  </pc:docChgLst>
  <pc:docChgLst>
    <pc:chgData name="EVELYNSM.YONG" userId="S::evelynsm.yong_gmail.com#ext#@risebcg.onmicrosoft.com::67a27a72-2420-4d38-b745-316a53f4b99a" providerId="AD" clId="Web-{1C868A80-F4F0-4CEC-A1DD-DCD9806FF52B}"/>
    <pc:docChg chg="modSld">
      <pc:chgData name="EVELYNSM.YONG" userId="S::evelynsm.yong_gmail.com#ext#@risebcg.onmicrosoft.com::67a27a72-2420-4d38-b745-316a53f4b99a" providerId="AD" clId="Web-{1C868A80-F4F0-4CEC-A1DD-DCD9806FF52B}" dt="2022-01-08T01:47:13.057" v="23" actId="14100"/>
      <pc:docMkLst>
        <pc:docMk/>
      </pc:docMkLst>
      <pc:sldChg chg="modSp">
        <pc:chgData name="EVELYNSM.YONG" userId="S::evelynsm.yong_gmail.com#ext#@risebcg.onmicrosoft.com::67a27a72-2420-4d38-b745-316a53f4b99a" providerId="AD" clId="Web-{1C868A80-F4F0-4CEC-A1DD-DCD9806FF52B}" dt="2022-01-08T01:47:01.057" v="22" actId="20577"/>
        <pc:sldMkLst>
          <pc:docMk/>
          <pc:sldMk cId="2652119032" sldId="335"/>
        </pc:sldMkLst>
        <pc:spChg chg="mod">
          <ac:chgData name="EVELYNSM.YONG" userId="S::evelynsm.yong_gmail.com#ext#@risebcg.onmicrosoft.com::67a27a72-2420-4d38-b745-316a53f4b99a" providerId="AD" clId="Web-{1C868A80-F4F0-4CEC-A1DD-DCD9806FF52B}" dt="2022-01-08T01:47:01.057" v="22" actId="20577"/>
          <ac:spMkLst>
            <pc:docMk/>
            <pc:sldMk cId="2652119032" sldId="335"/>
            <ac:spMk id="9" creationId="{7E2F8E19-F56B-4CB8-9CA2-A1277727EBFD}"/>
          </ac:spMkLst>
        </pc:spChg>
      </pc:sldChg>
      <pc:sldChg chg="modSp">
        <pc:chgData name="EVELYNSM.YONG" userId="S::evelynsm.yong_gmail.com#ext#@risebcg.onmicrosoft.com::67a27a72-2420-4d38-b745-316a53f4b99a" providerId="AD" clId="Web-{1C868A80-F4F0-4CEC-A1DD-DCD9806FF52B}" dt="2022-01-08T01:47:13.057" v="23" actId="14100"/>
        <pc:sldMkLst>
          <pc:docMk/>
          <pc:sldMk cId="3391215681" sldId="339"/>
        </pc:sldMkLst>
        <pc:spChg chg="mod">
          <ac:chgData name="EVELYNSM.YONG" userId="S::evelynsm.yong_gmail.com#ext#@risebcg.onmicrosoft.com::67a27a72-2420-4d38-b745-316a53f4b99a" providerId="AD" clId="Web-{1C868A80-F4F0-4CEC-A1DD-DCD9806FF52B}" dt="2022-01-08T01:47:13.057" v="23" actId="14100"/>
          <ac:spMkLst>
            <pc:docMk/>
            <pc:sldMk cId="3391215681" sldId="339"/>
            <ac:spMk id="47" creationId="{B72F6C48-B470-4163-9AC9-2982A10656DA}"/>
          </ac:spMkLst>
        </pc:spChg>
      </pc:sldChg>
    </pc:docChg>
  </pc:docChgLst>
  <pc:docChgLst>
    <pc:chgData name="COSMOSFREN" userId="S::cosmosfren_yahoo.com#ext#@risebcg.onmicrosoft.com::5462f5f4-f618-47aa-abd8-fd504e002570" providerId="AD" clId="Web-{22FB8DB7-6371-41EB-A551-BB3DDECDAE5A}"/>
    <pc:docChg chg="addSld modSld sldOrd">
      <pc:chgData name="COSMOSFREN" userId="S::cosmosfren_yahoo.com#ext#@risebcg.onmicrosoft.com::5462f5f4-f618-47aa-abd8-fd504e002570" providerId="AD" clId="Web-{22FB8DB7-6371-41EB-A551-BB3DDECDAE5A}" dt="2022-01-07T15:42:26.089" v="134" actId="20577"/>
      <pc:docMkLst>
        <pc:docMk/>
      </pc:docMkLst>
      <pc:sldChg chg="modSp">
        <pc:chgData name="COSMOSFREN" userId="S::cosmosfren_yahoo.com#ext#@risebcg.onmicrosoft.com::5462f5f4-f618-47aa-abd8-fd504e002570" providerId="AD" clId="Web-{22FB8DB7-6371-41EB-A551-BB3DDECDAE5A}" dt="2022-01-07T15:38:45.160" v="9" actId="20577"/>
        <pc:sldMkLst>
          <pc:docMk/>
          <pc:sldMk cId="1249418479" sldId="334"/>
        </pc:sldMkLst>
        <pc:spChg chg="mod">
          <ac:chgData name="COSMOSFREN" userId="S::cosmosfren_yahoo.com#ext#@risebcg.onmicrosoft.com::5462f5f4-f618-47aa-abd8-fd504e002570" providerId="AD" clId="Web-{22FB8DB7-6371-41EB-A551-BB3DDECDAE5A}" dt="2022-01-07T15:38:45.160" v="9" actId="20577"/>
          <ac:spMkLst>
            <pc:docMk/>
            <pc:sldMk cId="1249418479" sldId="334"/>
            <ac:spMk id="11" creationId="{662CF00E-7074-47A1-AC23-D8720DE006B4}"/>
          </ac:spMkLst>
        </pc:spChg>
      </pc:sldChg>
      <pc:sldChg chg="addSp delSp modSp new ord">
        <pc:chgData name="COSMOSFREN" userId="S::cosmosfren_yahoo.com#ext#@risebcg.onmicrosoft.com::5462f5f4-f618-47aa-abd8-fd504e002570" providerId="AD" clId="Web-{22FB8DB7-6371-41EB-A551-BB3DDECDAE5A}" dt="2022-01-07T15:41:24.446" v="114"/>
        <pc:sldMkLst>
          <pc:docMk/>
          <pc:sldMk cId="4159389698" sldId="342"/>
        </pc:sldMkLst>
        <pc:spChg chg="mod">
          <ac:chgData name="COSMOSFREN" userId="S::cosmosfren_yahoo.com#ext#@risebcg.onmicrosoft.com::5462f5f4-f618-47aa-abd8-fd504e002570" providerId="AD" clId="Web-{22FB8DB7-6371-41EB-A551-BB3DDECDAE5A}" dt="2022-01-07T15:39:24.865" v="14" actId="20577"/>
          <ac:spMkLst>
            <pc:docMk/>
            <pc:sldMk cId="4159389698" sldId="342"/>
            <ac:spMk id="2" creationId="{080435EA-AD4F-4934-83BC-D5D53AFD93E9}"/>
          </ac:spMkLst>
        </pc:spChg>
        <pc:spChg chg="mod">
          <ac:chgData name="COSMOSFREN" userId="S::cosmosfren_yahoo.com#ext#@risebcg.onmicrosoft.com::5462f5f4-f618-47aa-abd8-fd504e002570" providerId="AD" clId="Web-{22FB8DB7-6371-41EB-A551-BB3DDECDAE5A}" dt="2022-01-07T15:41:16.290" v="113" actId="20577"/>
          <ac:spMkLst>
            <pc:docMk/>
            <pc:sldMk cId="4159389698" sldId="342"/>
            <ac:spMk id="3" creationId="{1EADC3E2-9A88-4CFF-8CDC-C7B034C116B1}"/>
          </ac:spMkLst>
        </pc:spChg>
        <pc:spChg chg="add del">
          <ac:chgData name="COSMOSFREN" userId="S::cosmosfren_yahoo.com#ext#@risebcg.onmicrosoft.com::5462f5f4-f618-47aa-abd8-fd504e002570" providerId="AD" clId="Web-{22FB8DB7-6371-41EB-A551-BB3DDECDAE5A}" dt="2022-01-07T15:41:24.446" v="114"/>
          <ac:spMkLst>
            <pc:docMk/>
            <pc:sldMk cId="4159389698" sldId="342"/>
            <ac:spMk id="4" creationId="{76C2D367-C66D-4724-8430-00E419E461DF}"/>
          </ac:spMkLst>
        </pc:spChg>
      </pc:sldChg>
      <pc:sldChg chg="modSp new">
        <pc:chgData name="COSMOSFREN" userId="S::cosmosfren_yahoo.com#ext#@risebcg.onmicrosoft.com::5462f5f4-f618-47aa-abd8-fd504e002570" providerId="AD" clId="Web-{22FB8DB7-6371-41EB-A551-BB3DDECDAE5A}" dt="2022-01-07T15:42:26.089" v="134" actId="20577"/>
        <pc:sldMkLst>
          <pc:docMk/>
          <pc:sldMk cId="2403985300" sldId="343"/>
        </pc:sldMkLst>
        <pc:spChg chg="mod">
          <ac:chgData name="COSMOSFREN" userId="S::cosmosfren_yahoo.com#ext#@risebcg.onmicrosoft.com::5462f5f4-f618-47aa-abd8-fd504e002570" providerId="AD" clId="Web-{22FB8DB7-6371-41EB-A551-BB3DDECDAE5A}" dt="2022-01-07T15:42:26.089" v="134" actId="20577"/>
          <ac:spMkLst>
            <pc:docMk/>
            <pc:sldMk cId="2403985300" sldId="343"/>
            <ac:spMk id="2" creationId="{53DDB4C4-01BA-4E62-BA0A-56A56EB4019B}"/>
          </ac:spMkLst>
        </pc:spChg>
      </pc:sldChg>
    </pc:docChg>
  </pc:docChgLst>
  <pc:docChgLst>
    <pc:chgData name="WONGYONGLIN91" userId="S::wongyonglin91_gmail.com#ext#@risebcg.onmicrosoft.com::b2d94f93-e580-4f0d-9dda-2138509d25ae" providerId="AD" clId="Web-{5E8024D4-CE76-4AF1-992E-04FA62D5E2AB}"/>
    <pc:docChg chg="addSld delSld modSld">
      <pc:chgData name="WONGYONGLIN91" userId="S::wongyonglin91_gmail.com#ext#@risebcg.onmicrosoft.com::b2d94f93-e580-4f0d-9dda-2138509d25ae" providerId="AD" clId="Web-{5E8024D4-CE76-4AF1-992E-04FA62D5E2AB}" dt="2022-01-08T10:04:29.197" v="324" actId="1076"/>
      <pc:docMkLst>
        <pc:docMk/>
      </pc:docMkLst>
      <pc:sldChg chg="addSp modSp">
        <pc:chgData name="WONGYONGLIN91" userId="S::wongyonglin91_gmail.com#ext#@risebcg.onmicrosoft.com::b2d94f93-e580-4f0d-9dda-2138509d25ae" providerId="AD" clId="Web-{5E8024D4-CE76-4AF1-992E-04FA62D5E2AB}" dt="2022-01-08T10:04:29.197" v="324" actId="1076"/>
        <pc:sldMkLst>
          <pc:docMk/>
          <pc:sldMk cId="4084366951" sldId="318"/>
        </pc:sldMkLst>
        <pc:spChg chg="add mod">
          <ac:chgData name="WONGYONGLIN91" userId="S::wongyonglin91_gmail.com#ext#@risebcg.onmicrosoft.com::b2d94f93-e580-4f0d-9dda-2138509d25ae" providerId="AD" clId="Web-{5E8024D4-CE76-4AF1-992E-04FA62D5E2AB}" dt="2022-01-08T10:04:29.197" v="324" actId="1076"/>
          <ac:spMkLst>
            <pc:docMk/>
            <pc:sldMk cId="4084366951" sldId="318"/>
            <ac:spMk id="21" creationId="{35D5CD39-ED1A-4202-9FEE-144C7FF14574}"/>
          </ac:spMkLst>
        </pc:spChg>
      </pc:sldChg>
      <pc:sldChg chg="addSp delSp modSp add del">
        <pc:chgData name="WONGYONGLIN91" userId="S::wongyonglin91_gmail.com#ext#@risebcg.onmicrosoft.com::b2d94f93-e580-4f0d-9dda-2138509d25ae" providerId="AD" clId="Web-{5E8024D4-CE76-4AF1-992E-04FA62D5E2AB}" dt="2022-01-08T09:12:08.095" v="182"/>
        <pc:sldMkLst>
          <pc:docMk/>
          <pc:sldMk cId="3266031372" sldId="340"/>
        </pc:sldMkLst>
        <pc:picChg chg="add del mod">
          <ac:chgData name="WONGYONGLIN91" userId="S::wongyonglin91_gmail.com#ext#@risebcg.onmicrosoft.com::b2d94f93-e580-4f0d-9dda-2138509d25ae" providerId="AD" clId="Web-{5E8024D4-CE76-4AF1-992E-04FA62D5E2AB}" dt="2022-01-08T06:05:34.812" v="12"/>
          <ac:picMkLst>
            <pc:docMk/>
            <pc:sldMk cId="3266031372" sldId="340"/>
            <ac:picMk id="6" creationId="{81A150AC-B222-471E-A118-CD198FBC5BA7}"/>
          </ac:picMkLst>
        </pc:picChg>
        <pc:picChg chg="mod">
          <ac:chgData name="WONGYONGLIN91" userId="S::wongyonglin91_gmail.com#ext#@risebcg.onmicrosoft.com::b2d94f93-e580-4f0d-9dda-2138509d25ae" providerId="AD" clId="Web-{5E8024D4-CE76-4AF1-992E-04FA62D5E2AB}" dt="2022-01-08T05:18:39.614" v="1" actId="1076"/>
          <ac:picMkLst>
            <pc:docMk/>
            <pc:sldMk cId="3266031372" sldId="340"/>
            <ac:picMk id="7" creationId="{C197F6B9-4CBB-4B39-8C04-6C1CE7632C8C}"/>
          </ac:picMkLst>
        </pc:picChg>
        <pc:picChg chg="add mod">
          <ac:chgData name="WONGYONGLIN91" userId="S::wongyonglin91_gmail.com#ext#@risebcg.onmicrosoft.com::b2d94f93-e580-4f0d-9dda-2138509d25ae" providerId="AD" clId="Web-{5E8024D4-CE76-4AF1-992E-04FA62D5E2AB}" dt="2022-01-08T06:05:22.297" v="11" actId="14100"/>
          <ac:picMkLst>
            <pc:docMk/>
            <pc:sldMk cId="3266031372" sldId="340"/>
            <ac:picMk id="8" creationId="{E5537C0A-B51D-4D81-A02F-6B38E9303B22}"/>
          </ac:picMkLst>
        </pc:picChg>
      </pc:sldChg>
      <pc:sldChg chg="del">
        <pc:chgData name="WONGYONGLIN91" userId="S::wongyonglin91_gmail.com#ext#@risebcg.onmicrosoft.com::b2d94f93-e580-4f0d-9dda-2138509d25ae" providerId="AD" clId="Web-{5E8024D4-CE76-4AF1-992E-04FA62D5E2AB}" dt="2022-01-08T08:11:02.357" v="97"/>
        <pc:sldMkLst>
          <pc:docMk/>
          <pc:sldMk cId="2497075168" sldId="341"/>
        </pc:sldMkLst>
      </pc:sldChg>
      <pc:sldChg chg="addSp modSp add del replId">
        <pc:chgData name="WONGYONGLIN91" userId="S::wongyonglin91_gmail.com#ext#@risebcg.onmicrosoft.com::b2d94f93-e580-4f0d-9dda-2138509d25ae" providerId="AD" clId="Web-{5E8024D4-CE76-4AF1-992E-04FA62D5E2AB}" dt="2022-01-08T09:09:03.777" v="147"/>
        <pc:sldMkLst>
          <pc:docMk/>
          <pc:sldMk cId="3837311995" sldId="344"/>
        </pc:sldMkLst>
        <pc:spChg chg="mod">
          <ac:chgData name="WONGYONGLIN91" userId="S::wongyonglin91_gmail.com#ext#@risebcg.onmicrosoft.com::b2d94f93-e580-4f0d-9dda-2138509d25ae" providerId="AD" clId="Web-{5E8024D4-CE76-4AF1-992E-04FA62D5E2AB}" dt="2022-01-08T08:11:12.138" v="99" actId="20577"/>
          <ac:spMkLst>
            <pc:docMk/>
            <pc:sldMk cId="3837311995" sldId="344"/>
            <ac:spMk id="2" creationId="{ED14AA63-35D8-4136-8B2F-DE1837A583A2}"/>
          </ac:spMkLst>
        </pc:spChg>
        <pc:spChg chg="add mod">
          <ac:chgData name="WONGYONGLIN91" userId="S::wongyonglin91_gmail.com#ext#@risebcg.onmicrosoft.com::b2d94f93-e580-4f0d-9dda-2138509d25ae" providerId="AD" clId="Web-{5E8024D4-CE76-4AF1-992E-04FA62D5E2AB}" dt="2022-01-08T08:07:04.976" v="93" actId="20577"/>
          <ac:spMkLst>
            <pc:docMk/>
            <pc:sldMk cId="3837311995" sldId="344"/>
            <ac:spMk id="3" creationId="{2321500F-B116-49E9-B713-1C89E59A92D6}"/>
          </ac:spMkLst>
        </pc:spChg>
        <pc:spChg chg="mod">
          <ac:chgData name="WONGYONGLIN91" userId="S::wongyonglin91_gmail.com#ext#@risebcg.onmicrosoft.com::b2d94f93-e580-4f0d-9dda-2138509d25ae" providerId="AD" clId="Web-{5E8024D4-CE76-4AF1-992E-04FA62D5E2AB}" dt="2022-01-08T07:59:47.341" v="15" actId="14100"/>
          <ac:spMkLst>
            <pc:docMk/>
            <pc:sldMk cId="3837311995" sldId="344"/>
            <ac:spMk id="4" creationId="{215644EC-E1A2-4B5F-BA53-79EB189605EC}"/>
          </ac:spMkLst>
        </pc:spChg>
        <pc:spChg chg="add mod">
          <ac:chgData name="WONGYONGLIN91" userId="S::wongyonglin91_gmail.com#ext#@risebcg.onmicrosoft.com::b2d94f93-e580-4f0d-9dda-2138509d25ae" providerId="AD" clId="Web-{5E8024D4-CE76-4AF1-992E-04FA62D5E2AB}" dt="2022-01-08T08:07:18.289" v="94" actId="20577"/>
          <ac:spMkLst>
            <pc:docMk/>
            <pc:sldMk cId="3837311995" sldId="344"/>
            <ac:spMk id="12" creationId="{95E46411-4A0C-41AA-9250-790D71323EA7}"/>
          </ac:spMkLst>
        </pc:spChg>
        <pc:picChg chg="mod">
          <ac:chgData name="WONGYONGLIN91" userId="S::wongyonglin91_gmail.com#ext#@risebcg.onmicrosoft.com::b2d94f93-e580-4f0d-9dda-2138509d25ae" providerId="AD" clId="Web-{5E8024D4-CE76-4AF1-992E-04FA62D5E2AB}" dt="2022-01-08T08:03:49.269" v="66" actId="1076"/>
          <ac:picMkLst>
            <pc:docMk/>
            <pc:sldMk cId="3837311995" sldId="344"/>
            <ac:picMk id="8" creationId="{43C821D0-E8DD-4E0C-918F-E8AFE57FBD79}"/>
          </ac:picMkLst>
        </pc:picChg>
        <pc:picChg chg="mod">
          <ac:chgData name="WONGYONGLIN91" userId="S::wongyonglin91_gmail.com#ext#@risebcg.onmicrosoft.com::b2d94f93-e580-4f0d-9dda-2138509d25ae" providerId="AD" clId="Web-{5E8024D4-CE76-4AF1-992E-04FA62D5E2AB}" dt="2022-01-08T08:03:49.284" v="67" actId="1076"/>
          <ac:picMkLst>
            <pc:docMk/>
            <pc:sldMk cId="3837311995" sldId="344"/>
            <ac:picMk id="9" creationId="{7E7137EB-EB04-47D4-ADDE-3138CAD2FE22}"/>
          </ac:picMkLst>
        </pc:picChg>
        <pc:picChg chg="mod">
          <ac:chgData name="WONGYONGLIN91" userId="S::wongyonglin91_gmail.com#ext#@risebcg.onmicrosoft.com::b2d94f93-e580-4f0d-9dda-2138509d25ae" providerId="AD" clId="Web-{5E8024D4-CE76-4AF1-992E-04FA62D5E2AB}" dt="2022-01-08T08:08:24.150" v="95" actId="14100"/>
          <ac:picMkLst>
            <pc:docMk/>
            <pc:sldMk cId="3837311995" sldId="344"/>
            <ac:picMk id="10" creationId="{5C5BFFE9-19E0-4AAC-BCA1-0A74C6D93C5F}"/>
          </ac:picMkLst>
        </pc:picChg>
        <pc:picChg chg="mod">
          <ac:chgData name="WONGYONGLIN91" userId="S::wongyonglin91_gmail.com#ext#@risebcg.onmicrosoft.com::b2d94f93-e580-4f0d-9dda-2138509d25ae" providerId="AD" clId="Web-{5E8024D4-CE76-4AF1-992E-04FA62D5E2AB}" dt="2022-01-08T08:03:49.331" v="69" actId="1076"/>
          <ac:picMkLst>
            <pc:docMk/>
            <pc:sldMk cId="3837311995" sldId="344"/>
            <ac:picMk id="11" creationId="{A57CFE02-5F8C-4E5D-85E3-23A246851199}"/>
          </ac:picMkLst>
        </pc:picChg>
        <pc:cxnChg chg="add mod">
          <ac:chgData name="WONGYONGLIN91" userId="S::wongyonglin91_gmail.com#ext#@risebcg.onmicrosoft.com::b2d94f93-e580-4f0d-9dda-2138509d25ae" providerId="AD" clId="Web-{5E8024D4-CE76-4AF1-992E-04FA62D5E2AB}" dt="2022-01-08T08:06:10.069" v="88" actId="14100"/>
          <ac:cxnSpMkLst>
            <pc:docMk/>
            <pc:sldMk cId="3837311995" sldId="344"/>
            <ac:cxnSpMk id="5" creationId="{7650244C-E06B-41BA-A77C-2D20639EA927}"/>
          </ac:cxnSpMkLst>
        </pc:cxnChg>
      </pc:sldChg>
      <pc:sldChg chg="addSp delSp modSp add replId">
        <pc:chgData name="WONGYONGLIN91" userId="S::wongyonglin91_gmail.com#ext#@risebcg.onmicrosoft.com::b2d94f93-e580-4f0d-9dda-2138509d25ae" providerId="AD" clId="Web-{5E8024D4-CE76-4AF1-992E-04FA62D5E2AB}" dt="2022-01-08T09:19:27.528" v="275" actId="20577"/>
        <pc:sldMkLst>
          <pc:docMk/>
          <pc:sldMk cId="3971465157" sldId="345"/>
        </pc:sldMkLst>
        <pc:spChg chg="mod">
          <ac:chgData name="WONGYONGLIN91" userId="S::wongyonglin91_gmail.com#ext#@risebcg.onmicrosoft.com::b2d94f93-e580-4f0d-9dda-2138509d25ae" providerId="AD" clId="Web-{5E8024D4-CE76-4AF1-992E-04FA62D5E2AB}" dt="2022-01-08T09:12:28.704" v="186" actId="20577"/>
          <ac:spMkLst>
            <pc:docMk/>
            <pc:sldMk cId="3971465157" sldId="345"/>
            <ac:spMk id="2" creationId="{ED14AA63-35D8-4136-8B2F-DE1837A583A2}"/>
          </ac:spMkLst>
        </pc:spChg>
        <pc:spChg chg="mod">
          <ac:chgData name="WONGYONGLIN91" userId="S::wongyonglin91_gmail.com#ext#@risebcg.onmicrosoft.com::b2d94f93-e580-4f0d-9dda-2138509d25ae" providerId="AD" clId="Web-{5E8024D4-CE76-4AF1-992E-04FA62D5E2AB}" dt="2022-01-08T09:19:27.528" v="275" actId="20577"/>
          <ac:spMkLst>
            <pc:docMk/>
            <pc:sldMk cId="3971465157" sldId="345"/>
            <ac:spMk id="4" creationId="{215644EC-E1A2-4B5F-BA53-79EB189605EC}"/>
          </ac:spMkLst>
        </pc:spChg>
        <pc:picChg chg="add mod">
          <ac:chgData name="WONGYONGLIN91" userId="S::wongyonglin91_gmail.com#ext#@risebcg.onmicrosoft.com::b2d94f93-e580-4f0d-9dda-2138509d25ae" providerId="AD" clId="Web-{5E8024D4-CE76-4AF1-992E-04FA62D5E2AB}" dt="2022-01-08T09:13:34.722" v="195" actId="14100"/>
          <ac:picMkLst>
            <pc:docMk/>
            <pc:sldMk cId="3971465157" sldId="345"/>
            <ac:picMk id="6" creationId="{0543AB5E-0C46-4F5B-92B9-8460B4265166}"/>
          </ac:picMkLst>
        </pc:picChg>
        <pc:picChg chg="add del mod">
          <ac:chgData name="WONGYONGLIN91" userId="S::wongyonglin91_gmail.com#ext#@risebcg.onmicrosoft.com::b2d94f93-e580-4f0d-9dda-2138509d25ae" providerId="AD" clId="Web-{5E8024D4-CE76-4AF1-992E-04FA62D5E2AB}" dt="2022-01-08T08:20:13.322" v="122"/>
          <ac:picMkLst>
            <pc:docMk/>
            <pc:sldMk cId="3971465157" sldId="345"/>
            <ac:picMk id="6" creationId="{25C9F62F-D45E-4445-8F13-99FCBB75DCA9}"/>
          </ac:picMkLst>
        </pc:picChg>
        <pc:picChg chg="add del mod">
          <ac:chgData name="WONGYONGLIN91" userId="S::wongyonglin91_gmail.com#ext#@risebcg.onmicrosoft.com::b2d94f93-e580-4f0d-9dda-2138509d25ae" providerId="AD" clId="Web-{5E8024D4-CE76-4AF1-992E-04FA62D5E2AB}" dt="2022-01-08T08:18:53.617" v="117"/>
          <ac:picMkLst>
            <pc:docMk/>
            <pc:sldMk cId="3971465157" sldId="345"/>
            <ac:picMk id="7" creationId="{6B409D3D-909A-4119-B3C7-FBF488970228}"/>
          </ac:picMkLst>
        </pc:picChg>
        <pc:picChg chg="add mod">
          <ac:chgData name="WONGYONGLIN91" userId="S::wongyonglin91_gmail.com#ext#@risebcg.onmicrosoft.com::b2d94f93-e580-4f0d-9dda-2138509d25ae" providerId="AD" clId="Web-{5E8024D4-CE76-4AF1-992E-04FA62D5E2AB}" dt="2022-01-08T09:14:40.552" v="201" actId="14100"/>
          <ac:picMkLst>
            <pc:docMk/>
            <pc:sldMk cId="3971465157" sldId="345"/>
            <ac:picMk id="7" creationId="{F2806C6D-F724-4DED-AEF0-61ECCAB05DB6}"/>
          </ac:picMkLst>
        </pc:picChg>
        <pc:picChg chg="del">
          <ac:chgData name="WONGYONGLIN91" userId="S::wongyonglin91_gmail.com#ext#@risebcg.onmicrosoft.com::b2d94f93-e580-4f0d-9dda-2138509d25ae" providerId="AD" clId="Web-{5E8024D4-CE76-4AF1-992E-04FA62D5E2AB}" dt="2022-01-08T08:13:21.016" v="100"/>
          <ac:picMkLst>
            <pc:docMk/>
            <pc:sldMk cId="3971465157" sldId="345"/>
            <ac:picMk id="8" creationId="{43C821D0-E8DD-4E0C-918F-E8AFE57FBD79}"/>
          </ac:picMkLst>
        </pc:picChg>
        <pc:picChg chg="del">
          <ac:chgData name="WONGYONGLIN91" userId="S::wongyonglin91_gmail.com#ext#@risebcg.onmicrosoft.com::b2d94f93-e580-4f0d-9dda-2138509d25ae" providerId="AD" clId="Web-{5E8024D4-CE76-4AF1-992E-04FA62D5E2AB}" dt="2022-01-08T08:14:00.907" v="105"/>
          <ac:picMkLst>
            <pc:docMk/>
            <pc:sldMk cId="3971465157" sldId="345"/>
            <ac:picMk id="9" creationId="{7E7137EB-EB04-47D4-ADDE-3138CAD2FE22}"/>
          </ac:picMkLst>
        </pc:picChg>
        <pc:picChg chg="add del">
          <ac:chgData name="WONGYONGLIN91" userId="S::wongyonglin91_gmail.com#ext#@risebcg.onmicrosoft.com::b2d94f93-e580-4f0d-9dda-2138509d25ae" providerId="AD" clId="Web-{5E8024D4-CE76-4AF1-992E-04FA62D5E2AB}" dt="2022-01-08T09:13:07.315" v="190"/>
          <ac:picMkLst>
            <pc:docMk/>
            <pc:sldMk cId="3971465157" sldId="345"/>
            <ac:picMk id="10" creationId="{5C5BFFE9-19E0-4AAC-BCA1-0A74C6D93C5F}"/>
          </ac:picMkLst>
        </pc:picChg>
        <pc:picChg chg="add del">
          <ac:chgData name="WONGYONGLIN91" userId="S::wongyonglin91_gmail.com#ext#@risebcg.onmicrosoft.com::b2d94f93-e580-4f0d-9dda-2138509d25ae" providerId="AD" clId="Web-{5E8024D4-CE76-4AF1-992E-04FA62D5E2AB}" dt="2022-01-08T09:13:07.752" v="191"/>
          <ac:picMkLst>
            <pc:docMk/>
            <pc:sldMk cId="3971465157" sldId="345"/>
            <ac:picMk id="11" creationId="{A57CFE02-5F8C-4E5D-85E3-23A246851199}"/>
          </ac:picMkLst>
        </pc:picChg>
        <pc:picChg chg="add del mod">
          <ac:chgData name="WONGYONGLIN91" userId="S::wongyonglin91_gmail.com#ext#@risebcg.onmicrosoft.com::b2d94f93-e580-4f0d-9dda-2138509d25ae" providerId="AD" clId="Web-{5E8024D4-CE76-4AF1-992E-04FA62D5E2AB}" dt="2022-01-08T08:20:10.760" v="121"/>
          <ac:picMkLst>
            <pc:docMk/>
            <pc:sldMk cId="3971465157" sldId="345"/>
            <ac:picMk id="13" creationId="{8D644E13-361E-4752-8757-63788850562E}"/>
          </ac:picMkLst>
        </pc:picChg>
        <pc:picChg chg="add mod">
          <ac:chgData name="WONGYONGLIN91" userId="S::wongyonglin91_gmail.com#ext#@risebcg.onmicrosoft.com::b2d94f93-e580-4f0d-9dda-2138509d25ae" providerId="AD" clId="Web-{5E8024D4-CE76-4AF1-992E-04FA62D5E2AB}" dt="2022-01-08T09:14:37.817" v="200" actId="14100"/>
          <ac:picMkLst>
            <pc:docMk/>
            <pc:sldMk cId="3971465157" sldId="345"/>
            <ac:picMk id="14" creationId="{6C32E5A9-2DAB-4399-BC5F-DFEF3CE42056}"/>
          </ac:picMkLst>
        </pc:picChg>
        <pc:picChg chg="add mod">
          <ac:chgData name="WONGYONGLIN91" userId="S::wongyonglin91_gmail.com#ext#@risebcg.onmicrosoft.com::b2d94f93-e580-4f0d-9dda-2138509d25ae" providerId="AD" clId="Web-{5E8024D4-CE76-4AF1-992E-04FA62D5E2AB}" dt="2022-01-08T08:21:44.730" v="128" actId="14100"/>
          <ac:picMkLst>
            <pc:docMk/>
            <pc:sldMk cId="3971465157" sldId="345"/>
            <ac:picMk id="15" creationId="{D29E5551-D1FB-4B15-B981-AF5FE6C4338B}"/>
          </ac:picMkLst>
        </pc:picChg>
      </pc:sldChg>
      <pc:sldChg chg="addSp delSp modSp add replId">
        <pc:chgData name="WONGYONGLIN91" userId="S::wongyonglin91_gmail.com#ext#@risebcg.onmicrosoft.com::b2d94f93-e580-4f0d-9dda-2138509d25ae" providerId="AD" clId="Web-{5E8024D4-CE76-4AF1-992E-04FA62D5E2AB}" dt="2022-01-08T09:19:42.513" v="280" actId="20577"/>
        <pc:sldMkLst>
          <pc:docMk/>
          <pc:sldMk cId="2149037765" sldId="346"/>
        </pc:sldMkLst>
        <pc:spChg chg="mod">
          <ac:chgData name="WONGYONGLIN91" userId="S::wongyonglin91_gmail.com#ext#@risebcg.onmicrosoft.com::b2d94f93-e580-4f0d-9dda-2138509d25ae" providerId="AD" clId="Web-{5E8024D4-CE76-4AF1-992E-04FA62D5E2AB}" dt="2022-01-08T09:12:25.282" v="184" actId="20577"/>
          <ac:spMkLst>
            <pc:docMk/>
            <pc:sldMk cId="2149037765" sldId="346"/>
            <ac:spMk id="2" creationId="{ED14AA63-35D8-4136-8B2F-DE1837A583A2}"/>
          </ac:spMkLst>
        </pc:spChg>
        <pc:spChg chg="mod">
          <ac:chgData name="WONGYONGLIN91" userId="S::wongyonglin91_gmail.com#ext#@risebcg.onmicrosoft.com::b2d94f93-e580-4f0d-9dda-2138509d25ae" providerId="AD" clId="Web-{5E8024D4-CE76-4AF1-992E-04FA62D5E2AB}" dt="2022-01-08T09:19:42.513" v="280" actId="20577"/>
          <ac:spMkLst>
            <pc:docMk/>
            <pc:sldMk cId="2149037765" sldId="346"/>
            <ac:spMk id="4" creationId="{215644EC-E1A2-4B5F-BA53-79EB189605EC}"/>
          </ac:spMkLst>
        </pc:spChg>
        <pc:picChg chg="del">
          <ac:chgData name="WONGYONGLIN91" userId="S::wongyonglin91_gmail.com#ext#@risebcg.onmicrosoft.com::b2d94f93-e580-4f0d-9dda-2138509d25ae" providerId="AD" clId="Web-{5E8024D4-CE76-4AF1-992E-04FA62D5E2AB}" dt="2022-01-08T08:17:08.334" v="116"/>
          <ac:picMkLst>
            <pc:docMk/>
            <pc:sldMk cId="2149037765" sldId="346"/>
            <ac:picMk id="6" creationId="{25C9F62F-D45E-4445-8F13-99FCBB75DCA9}"/>
          </ac:picMkLst>
        </pc:picChg>
        <pc:picChg chg="add mod">
          <ac:chgData name="WONGYONGLIN91" userId="S::wongyonglin91_gmail.com#ext#@risebcg.onmicrosoft.com::b2d94f93-e580-4f0d-9dda-2138509d25ae" providerId="AD" clId="Web-{5E8024D4-CE76-4AF1-992E-04FA62D5E2AB}" dt="2022-01-08T09:12:43.767" v="187" actId="14100"/>
          <ac:picMkLst>
            <pc:docMk/>
            <pc:sldMk cId="2149037765" sldId="346"/>
            <ac:picMk id="6" creationId="{8B12E724-F7D6-46BF-AE6E-486289EC7CC6}"/>
          </ac:picMkLst>
        </pc:picChg>
        <pc:picChg chg="del">
          <ac:chgData name="WONGYONGLIN91" userId="S::wongyonglin91_gmail.com#ext#@risebcg.onmicrosoft.com::b2d94f93-e580-4f0d-9dda-2138509d25ae" providerId="AD" clId="Web-{5E8024D4-CE76-4AF1-992E-04FA62D5E2AB}" dt="2022-01-08T08:17:06.787" v="115"/>
          <ac:picMkLst>
            <pc:docMk/>
            <pc:sldMk cId="2149037765" sldId="346"/>
            <ac:picMk id="7" creationId="{6B409D3D-909A-4119-B3C7-FBF488970228}"/>
          </ac:picMkLst>
        </pc:picChg>
        <pc:picChg chg="add mod">
          <ac:chgData name="WONGYONGLIN91" userId="S::wongyonglin91_gmail.com#ext#@risebcg.onmicrosoft.com::b2d94f93-e580-4f0d-9dda-2138509d25ae" providerId="AD" clId="Web-{5E8024D4-CE76-4AF1-992E-04FA62D5E2AB}" dt="2022-01-08T09:02:31.470" v="134" actId="14100"/>
          <ac:picMkLst>
            <pc:docMk/>
            <pc:sldMk cId="2149037765" sldId="346"/>
            <ac:picMk id="7" creationId="{9A3D2A3F-16A2-4B00-AD57-DD79E305B4AB}"/>
          </ac:picMkLst>
        </pc:picChg>
        <pc:picChg chg="add del mod">
          <ac:chgData name="WONGYONGLIN91" userId="S::wongyonglin91_gmail.com#ext#@risebcg.onmicrosoft.com::b2d94f93-e580-4f0d-9dda-2138509d25ae" providerId="AD" clId="Web-{5E8024D4-CE76-4AF1-992E-04FA62D5E2AB}" dt="2022-01-08T09:12:48.564" v="188" actId="14100"/>
          <ac:picMkLst>
            <pc:docMk/>
            <pc:sldMk cId="2149037765" sldId="346"/>
            <ac:picMk id="8" creationId="{B55EB88B-1131-49F1-9EBF-9451360D2DC8}"/>
          </ac:picMkLst>
        </pc:picChg>
        <pc:picChg chg="add del mod">
          <ac:chgData name="WONGYONGLIN91" userId="S::wongyonglin91_gmail.com#ext#@risebcg.onmicrosoft.com::b2d94f93-e580-4f0d-9dda-2138509d25ae" providerId="AD" clId="Web-{5E8024D4-CE76-4AF1-992E-04FA62D5E2AB}" dt="2022-01-08T09:12:51.361" v="189" actId="14100"/>
          <ac:picMkLst>
            <pc:docMk/>
            <pc:sldMk cId="2149037765" sldId="346"/>
            <ac:picMk id="9" creationId="{3C5E64A5-AEC6-4C45-A9BB-6D9278736CF1}"/>
          </ac:picMkLst>
        </pc:picChg>
        <pc:picChg chg="del">
          <ac:chgData name="WONGYONGLIN91" userId="S::wongyonglin91_gmail.com#ext#@risebcg.onmicrosoft.com::b2d94f93-e580-4f0d-9dda-2138509d25ae" providerId="AD" clId="Web-{5E8024D4-CE76-4AF1-992E-04FA62D5E2AB}" dt="2022-01-08T09:03:20.268" v="140"/>
          <ac:picMkLst>
            <pc:docMk/>
            <pc:sldMk cId="2149037765" sldId="346"/>
            <ac:picMk id="10" creationId="{5C5BFFE9-19E0-4AAC-BCA1-0A74C6D93C5F}"/>
          </ac:picMkLst>
        </pc:picChg>
        <pc:picChg chg="del">
          <ac:chgData name="WONGYONGLIN91" userId="S::wongyonglin91_gmail.com#ext#@risebcg.onmicrosoft.com::b2d94f93-e580-4f0d-9dda-2138509d25ae" providerId="AD" clId="Web-{5E8024D4-CE76-4AF1-992E-04FA62D5E2AB}" dt="2022-01-08T09:03:19.706" v="139"/>
          <ac:picMkLst>
            <pc:docMk/>
            <pc:sldMk cId="2149037765" sldId="346"/>
            <ac:picMk id="11" creationId="{A57CFE02-5F8C-4E5D-85E3-23A246851199}"/>
          </ac:picMkLst>
        </pc:picChg>
        <pc:picChg chg="add del mod">
          <ac:chgData name="WONGYONGLIN91" userId="S::wongyonglin91_gmail.com#ext#@risebcg.onmicrosoft.com::b2d94f93-e580-4f0d-9dda-2138509d25ae" providerId="AD" clId="Web-{5E8024D4-CE76-4AF1-992E-04FA62D5E2AB}" dt="2022-01-08T09:11:40.969" v="176"/>
          <ac:picMkLst>
            <pc:docMk/>
            <pc:sldMk cId="2149037765" sldId="346"/>
            <ac:picMk id="13" creationId="{B50304B1-EFCF-47CE-B02C-051CD07526F5}"/>
          </ac:picMkLst>
        </pc:picChg>
        <pc:picChg chg="add del mod">
          <ac:chgData name="WONGYONGLIN91" userId="S::wongyonglin91_gmail.com#ext#@risebcg.onmicrosoft.com::b2d94f93-e580-4f0d-9dda-2138509d25ae" providerId="AD" clId="Web-{5E8024D4-CE76-4AF1-992E-04FA62D5E2AB}" dt="2022-01-08T09:11:37.500" v="173"/>
          <ac:picMkLst>
            <pc:docMk/>
            <pc:sldMk cId="2149037765" sldId="346"/>
            <ac:picMk id="14" creationId="{E6EB8151-E2D1-4355-A773-9C32D9A7B251}"/>
          </ac:picMkLst>
        </pc:picChg>
      </pc:sldChg>
    </pc:docChg>
  </pc:docChgLst>
  <pc:docChgLst>
    <pc:chgData name="WONGYONGLIN91" userId="S::wongyonglin91_gmail.com#ext#@risebcg.onmicrosoft.com::b2d94f93-e580-4f0d-9dda-2138509d25ae" providerId="AD" clId="Web-{AADDA445-BDD6-42F9-85C9-88CD3230B937}"/>
    <pc:docChg chg="addSld delSld modSld">
      <pc:chgData name="WONGYONGLIN91" userId="S::wongyonglin91_gmail.com#ext#@risebcg.onmicrosoft.com::b2d94f93-e580-4f0d-9dda-2138509d25ae" providerId="AD" clId="Web-{AADDA445-BDD6-42F9-85C9-88CD3230B937}" dt="2022-01-09T11:24:00.148" v="152"/>
      <pc:docMkLst>
        <pc:docMk/>
      </pc:docMkLst>
      <pc:sldChg chg="modSp">
        <pc:chgData name="WONGYONGLIN91" userId="S::wongyonglin91_gmail.com#ext#@risebcg.onmicrosoft.com::b2d94f93-e580-4f0d-9dda-2138509d25ae" providerId="AD" clId="Web-{AADDA445-BDD6-42F9-85C9-88CD3230B937}" dt="2022-01-09T09:08:41.528" v="25" actId="20577"/>
        <pc:sldMkLst>
          <pc:docMk/>
          <pc:sldMk cId="2761597836" sldId="317"/>
        </pc:sldMkLst>
        <pc:spChg chg="mod">
          <ac:chgData name="WONGYONGLIN91" userId="S::wongyonglin91_gmail.com#ext#@risebcg.onmicrosoft.com::b2d94f93-e580-4f0d-9dda-2138509d25ae" providerId="AD" clId="Web-{AADDA445-BDD6-42F9-85C9-88CD3230B937}" dt="2022-01-09T09:08:41.528" v="25" actId="20577"/>
          <ac:spMkLst>
            <pc:docMk/>
            <pc:sldMk cId="2761597836" sldId="317"/>
            <ac:spMk id="3" creationId="{3AAD55FA-63B7-4DBA-8DC0-293DEF7C309C}"/>
          </ac:spMkLst>
        </pc:spChg>
      </pc:sldChg>
      <pc:sldChg chg="addSp delSp modSp">
        <pc:chgData name="WONGYONGLIN91" userId="S::wongyonglin91_gmail.com#ext#@risebcg.onmicrosoft.com::b2d94f93-e580-4f0d-9dda-2138509d25ae" providerId="AD" clId="Web-{AADDA445-BDD6-42F9-85C9-88CD3230B937}" dt="2022-01-09T09:05:35.321" v="23" actId="14100"/>
        <pc:sldMkLst>
          <pc:docMk/>
          <pc:sldMk cId="3971465157" sldId="345"/>
        </pc:sldMkLst>
        <pc:spChg chg="mod">
          <ac:chgData name="WONGYONGLIN91" userId="S::wongyonglin91_gmail.com#ext#@risebcg.onmicrosoft.com::b2d94f93-e580-4f0d-9dda-2138509d25ae" providerId="AD" clId="Web-{AADDA445-BDD6-42F9-85C9-88CD3230B937}" dt="2022-01-09T08:47:21.248" v="7" actId="20577"/>
          <ac:spMkLst>
            <pc:docMk/>
            <pc:sldMk cId="3971465157" sldId="345"/>
            <ac:spMk id="2" creationId="{ED14AA63-35D8-4136-8B2F-DE1837A583A2}"/>
          </ac:spMkLst>
        </pc:spChg>
        <pc:picChg chg="del">
          <ac:chgData name="WONGYONGLIN91" userId="S::wongyonglin91_gmail.com#ext#@risebcg.onmicrosoft.com::b2d94f93-e580-4f0d-9dda-2138509d25ae" providerId="AD" clId="Web-{AADDA445-BDD6-42F9-85C9-88CD3230B937}" dt="2022-01-09T09:05:19.555" v="18"/>
          <ac:picMkLst>
            <pc:docMk/>
            <pc:sldMk cId="3971465157" sldId="345"/>
            <ac:picMk id="6" creationId="{0543AB5E-0C46-4F5B-92B9-8460B4265166}"/>
          </ac:picMkLst>
        </pc:picChg>
        <pc:picChg chg="del">
          <ac:chgData name="WONGYONGLIN91" userId="S::wongyonglin91_gmail.com#ext#@risebcg.onmicrosoft.com::b2d94f93-e580-4f0d-9dda-2138509d25ae" providerId="AD" clId="Web-{AADDA445-BDD6-42F9-85C9-88CD3230B937}" dt="2022-01-09T08:51:46.504" v="8"/>
          <ac:picMkLst>
            <pc:docMk/>
            <pc:sldMk cId="3971465157" sldId="345"/>
            <ac:picMk id="7" creationId="{F2806C6D-F724-4DED-AEF0-61ECCAB05DB6}"/>
          </ac:picMkLst>
        </pc:picChg>
        <pc:picChg chg="mod">
          <ac:chgData name="WONGYONGLIN91" userId="S::wongyonglin91_gmail.com#ext#@risebcg.onmicrosoft.com::b2d94f93-e580-4f0d-9dda-2138509d25ae" providerId="AD" clId="Web-{AADDA445-BDD6-42F9-85C9-88CD3230B937}" dt="2022-01-09T08:52:33.568" v="14" actId="14100"/>
          <ac:picMkLst>
            <pc:docMk/>
            <pc:sldMk cId="3971465157" sldId="345"/>
            <ac:picMk id="8" creationId="{1C37FA25-553F-4164-8C97-7E76EEDF8003}"/>
          </ac:picMkLst>
        </pc:picChg>
        <pc:picChg chg="add mod">
          <ac:chgData name="WONGYONGLIN91" userId="S::wongyonglin91_gmail.com#ext#@risebcg.onmicrosoft.com::b2d94f93-e580-4f0d-9dda-2138509d25ae" providerId="AD" clId="Web-{AADDA445-BDD6-42F9-85C9-88CD3230B937}" dt="2022-01-09T09:05:35.321" v="23" actId="14100"/>
          <ac:picMkLst>
            <pc:docMk/>
            <pc:sldMk cId="3971465157" sldId="345"/>
            <ac:picMk id="10" creationId="{BC57136E-9901-4CDB-9B10-C29044E8BCA8}"/>
          </ac:picMkLst>
        </pc:picChg>
        <pc:picChg chg="add mod">
          <ac:chgData name="WONGYONGLIN91" userId="S::wongyonglin91_gmail.com#ext#@risebcg.onmicrosoft.com::b2d94f93-e580-4f0d-9dda-2138509d25ae" providerId="AD" clId="Web-{AADDA445-BDD6-42F9-85C9-88CD3230B937}" dt="2022-01-09T09:05:28.649" v="21" actId="14100"/>
          <ac:picMkLst>
            <pc:docMk/>
            <pc:sldMk cId="3971465157" sldId="345"/>
            <ac:picMk id="11" creationId="{31819B31-85B9-4D2E-B13C-BE009B402BB3}"/>
          </ac:picMkLst>
        </pc:picChg>
      </pc:sldChg>
      <pc:sldChg chg="addSp delSp modSp">
        <pc:chgData name="WONGYONGLIN91" userId="S::wongyonglin91_gmail.com#ext#@risebcg.onmicrosoft.com::b2d94f93-e580-4f0d-9dda-2138509d25ae" providerId="AD" clId="Web-{AADDA445-BDD6-42F9-85C9-88CD3230B937}" dt="2022-01-09T10:57:37.268" v="151" actId="1076"/>
        <pc:sldMkLst>
          <pc:docMk/>
          <pc:sldMk cId="1894441827" sldId="358"/>
        </pc:sldMkLst>
        <pc:spChg chg="mod">
          <ac:chgData name="WONGYONGLIN91" userId="S::wongyonglin91_gmail.com#ext#@risebcg.onmicrosoft.com::b2d94f93-e580-4f0d-9dda-2138509d25ae" providerId="AD" clId="Web-{AADDA445-BDD6-42F9-85C9-88CD3230B937}" dt="2022-01-09T10:30:25.940" v="70" actId="1076"/>
          <ac:spMkLst>
            <pc:docMk/>
            <pc:sldMk cId="1894441827" sldId="358"/>
            <ac:spMk id="3" creationId="{2321500F-B116-49E9-B713-1C89E59A92D6}"/>
          </ac:spMkLst>
        </pc:spChg>
        <pc:spChg chg="mod">
          <ac:chgData name="WONGYONGLIN91" userId="S::wongyonglin91_gmail.com#ext#@risebcg.onmicrosoft.com::b2d94f93-e580-4f0d-9dda-2138509d25ae" providerId="AD" clId="Web-{AADDA445-BDD6-42F9-85C9-88CD3230B937}" dt="2022-01-09T10:25:53.607" v="57" actId="1076"/>
          <ac:spMkLst>
            <pc:docMk/>
            <pc:sldMk cId="1894441827" sldId="358"/>
            <ac:spMk id="13" creationId="{E2455A5F-294A-4EA7-8956-A3DA20378328}"/>
          </ac:spMkLst>
        </pc:spChg>
        <pc:spChg chg="mod">
          <ac:chgData name="WONGYONGLIN91" userId="S::wongyonglin91_gmail.com#ext#@risebcg.onmicrosoft.com::b2d94f93-e580-4f0d-9dda-2138509d25ae" providerId="AD" clId="Web-{AADDA445-BDD6-42F9-85C9-88CD3230B937}" dt="2022-01-09T08:59:26.171" v="16" actId="14100"/>
          <ac:spMkLst>
            <pc:docMk/>
            <pc:sldMk cId="1894441827" sldId="358"/>
            <ac:spMk id="16" creationId="{6F7C634F-B1DE-4A85-9321-B939E0949224}"/>
          </ac:spMkLst>
        </pc:spChg>
        <pc:picChg chg="del">
          <ac:chgData name="WONGYONGLIN91" userId="S::wongyonglin91_gmail.com#ext#@risebcg.onmicrosoft.com::b2d94f93-e580-4f0d-9dda-2138509d25ae" providerId="AD" clId="Web-{AADDA445-BDD6-42F9-85C9-88CD3230B937}" dt="2022-01-09T10:23:11.948" v="37"/>
          <ac:picMkLst>
            <pc:docMk/>
            <pc:sldMk cId="1894441827" sldId="358"/>
            <ac:picMk id="4" creationId="{BA22EAA2-4B47-4688-9DD6-1B3E79191AAF}"/>
          </ac:picMkLst>
        </pc:picChg>
        <pc:picChg chg="add del mod">
          <ac:chgData name="WONGYONGLIN91" userId="S::wongyonglin91_gmail.com#ext#@risebcg.onmicrosoft.com::b2d94f93-e580-4f0d-9dda-2138509d25ae" providerId="AD" clId="Web-{AADDA445-BDD6-42F9-85C9-88CD3230B937}" dt="2022-01-09T10:22:30.010" v="31"/>
          <ac:picMkLst>
            <pc:docMk/>
            <pc:sldMk cId="1894441827" sldId="358"/>
            <ac:picMk id="5" creationId="{C9FC6C8D-9193-48E1-8D0D-039C37E52BE0}"/>
          </ac:picMkLst>
        </pc:picChg>
        <pc:picChg chg="add del mod">
          <ac:chgData name="WONGYONGLIN91" userId="S::wongyonglin91_gmail.com#ext#@risebcg.onmicrosoft.com::b2d94f93-e580-4f0d-9dda-2138509d25ae" providerId="AD" clId="Web-{AADDA445-BDD6-42F9-85C9-88CD3230B937}" dt="2022-01-09T10:32:57.255" v="90"/>
          <ac:picMkLst>
            <pc:docMk/>
            <pc:sldMk cId="1894441827" sldId="358"/>
            <ac:picMk id="6" creationId="{36E933AE-617C-4DEB-B4AD-4702ECE92209}"/>
          </ac:picMkLst>
        </pc:picChg>
        <pc:picChg chg="add mod">
          <ac:chgData name="WONGYONGLIN91" userId="S::wongyonglin91_gmail.com#ext#@risebcg.onmicrosoft.com::b2d94f93-e580-4f0d-9dda-2138509d25ae" providerId="AD" clId="Web-{AADDA445-BDD6-42F9-85C9-88CD3230B937}" dt="2022-01-09T10:57:37.268" v="151" actId="1076"/>
          <ac:picMkLst>
            <pc:docMk/>
            <pc:sldMk cId="1894441827" sldId="358"/>
            <ac:picMk id="7" creationId="{39EBC9D3-EE2E-4A60-B21B-2E3F051B1C2C}"/>
          </ac:picMkLst>
        </pc:picChg>
        <pc:picChg chg="add del mod">
          <ac:chgData name="WONGYONGLIN91" userId="S::wongyonglin91_gmail.com#ext#@risebcg.onmicrosoft.com::b2d94f93-e580-4f0d-9dda-2138509d25ae" providerId="AD" clId="Web-{AADDA445-BDD6-42F9-85C9-88CD3230B937}" dt="2022-01-09T10:32:58.192" v="91"/>
          <ac:picMkLst>
            <pc:docMk/>
            <pc:sldMk cId="1894441827" sldId="358"/>
            <ac:picMk id="8" creationId="{80090A9D-A882-4EB8-927C-696FEDD289AC}"/>
          </ac:picMkLst>
        </pc:picChg>
        <pc:picChg chg="add del mod">
          <ac:chgData name="WONGYONGLIN91" userId="S::wongyonglin91_gmail.com#ext#@risebcg.onmicrosoft.com::b2d94f93-e580-4f0d-9dda-2138509d25ae" providerId="AD" clId="Web-{AADDA445-BDD6-42F9-85C9-88CD3230B937}" dt="2022-01-09T10:25:26.435" v="50"/>
          <ac:picMkLst>
            <pc:docMk/>
            <pc:sldMk cId="1894441827" sldId="358"/>
            <ac:picMk id="9" creationId="{27B7F3D9-829F-4CE3-BF59-36D06B23DB76}"/>
          </ac:picMkLst>
        </pc:picChg>
        <pc:picChg chg="del">
          <ac:chgData name="WONGYONGLIN91" userId="S::wongyonglin91_gmail.com#ext#@risebcg.onmicrosoft.com::b2d94f93-e580-4f0d-9dda-2138509d25ae" providerId="AD" clId="Web-{AADDA445-BDD6-42F9-85C9-88CD3230B937}" dt="2022-01-09T10:21:29.446" v="27"/>
          <ac:picMkLst>
            <pc:docMk/>
            <pc:sldMk cId="1894441827" sldId="358"/>
            <ac:picMk id="11" creationId="{BCAB455B-1F72-43F9-AE57-6EC5913938BF}"/>
          </ac:picMkLst>
        </pc:picChg>
        <pc:picChg chg="add del mod">
          <ac:chgData name="WONGYONGLIN91" userId="S::wongyonglin91_gmail.com#ext#@risebcg.onmicrosoft.com::b2d94f93-e580-4f0d-9dda-2138509d25ae" providerId="AD" clId="Web-{AADDA445-BDD6-42F9-85C9-88CD3230B937}" dt="2022-01-09T10:25:32.513" v="51"/>
          <ac:picMkLst>
            <pc:docMk/>
            <pc:sldMk cId="1894441827" sldId="358"/>
            <ac:picMk id="14" creationId="{367952F4-ADCE-4ED2-B7CB-F3E8FAB1E214}"/>
          </ac:picMkLst>
        </pc:picChg>
        <pc:picChg chg="add del mod">
          <ac:chgData name="WONGYONGLIN91" userId="S::wongyonglin91_gmail.com#ext#@risebcg.onmicrosoft.com::b2d94f93-e580-4f0d-9dda-2138509d25ae" providerId="AD" clId="Web-{AADDA445-BDD6-42F9-85C9-88CD3230B937}" dt="2022-01-09T10:37:52.104" v="118"/>
          <ac:picMkLst>
            <pc:docMk/>
            <pc:sldMk cId="1894441827" sldId="358"/>
            <ac:picMk id="16" creationId="{9128F571-EA1C-41C3-819C-579D9B69F12F}"/>
          </ac:picMkLst>
        </pc:picChg>
        <pc:picChg chg="add del mod">
          <ac:chgData name="WONGYONGLIN91" userId="S::wongyonglin91_gmail.com#ext#@risebcg.onmicrosoft.com::b2d94f93-e580-4f0d-9dda-2138509d25ae" providerId="AD" clId="Web-{AADDA445-BDD6-42F9-85C9-88CD3230B937}" dt="2022-01-09T10:34:43.569" v="101"/>
          <ac:picMkLst>
            <pc:docMk/>
            <pc:sldMk cId="1894441827" sldId="358"/>
            <ac:picMk id="17" creationId="{C5CB374D-66B4-4CAB-890B-EDFE516A14D4}"/>
          </ac:picMkLst>
        </pc:picChg>
        <pc:picChg chg="add del mod">
          <ac:chgData name="WONGYONGLIN91" userId="S::wongyonglin91_gmail.com#ext#@risebcg.onmicrosoft.com::b2d94f93-e580-4f0d-9dda-2138509d25ae" providerId="AD" clId="Web-{AADDA445-BDD6-42F9-85C9-88CD3230B937}" dt="2022-01-09T10:34:14.475" v="97"/>
          <ac:picMkLst>
            <pc:docMk/>
            <pc:sldMk cId="1894441827" sldId="358"/>
            <ac:picMk id="20" creationId="{FE3A540E-FB7E-407A-85A9-9D35BD49D392}"/>
          </ac:picMkLst>
        </pc:picChg>
        <pc:picChg chg="add del mod">
          <ac:chgData name="WONGYONGLIN91" userId="S::wongyonglin91_gmail.com#ext#@risebcg.onmicrosoft.com::b2d94f93-e580-4f0d-9dda-2138509d25ae" providerId="AD" clId="Web-{AADDA445-BDD6-42F9-85C9-88CD3230B937}" dt="2022-01-09T10:56:29.294" v="143"/>
          <ac:picMkLst>
            <pc:docMk/>
            <pc:sldMk cId="1894441827" sldId="358"/>
            <ac:picMk id="21" creationId="{E02FAB94-FF9C-4FBE-A58E-017834133684}"/>
          </ac:picMkLst>
        </pc:picChg>
        <pc:picChg chg="add del mod">
          <ac:chgData name="WONGYONGLIN91" userId="S::wongyonglin91_gmail.com#ext#@risebcg.onmicrosoft.com::b2d94f93-e580-4f0d-9dda-2138509d25ae" providerId="AD" clId="Web-{AADDA445-BDD6-42F9-85C9-88CD3230B937}" dt="2022-01-09T10:36:11.321" v="106"/>
          <ac:picMkLst>
            <pc:docMk/>
            <pc:sldMk cId="1894441827" sldId="358"/>
            <ac:picMk id="22" creationId="{D80FCB91-0311-4992-A071-6D2CD6176DF7}"/>
          </ac:picMkLst>
        </pc:picChg>
        <pc:picChg chg="add del mod">
          <ac:chgData name="WONGYONGLIN91" userId="S::wongyonglin91_gmail.com#ext#@risebcg.onmicrosoft.com::b2d94f93-e580-4f0d-9dda-2138509d25ae" providerId="AD" clId="Web-{AADDA445-BDD6-42F9-85C9-88CD3230B937}" dt="2022-01-09T10:56:29.404" v="144"/>
          <ac:picMkLst>
            <pc:docMk/>
            <pc:sldMk cId="1894441827" sldId="358"/>
            <ac:picMk id="23" creationId="{0F94226D-CA9B-4269-AEF7-160EF3B0F687}"/>
          </ac:picMkLst>
        </pc:picChg>
        <pc:picChg chg="add del mod">
          <ac:chgData name="WONGYONGLIN91" userId="S::wongyonglin91_gmail.com#ext#@risebcg.onmicrosoft.com::b2d94f93-e580-4f0d-9dda-2138509d25ae" providerId="AD" clId="Web-{AADDA445-BDD6-42F9-85C9-88CD3230B937}" dt="2022-01-09T10:55:12.965" v="130"/>
          <ac:picMkLst>
            <pc:docMk/>
            <pc:sldMk cId="1894441827" sldId="358"/>
            <ac:picMk id="24" creationId="{D29FDE95-35DB-40AF-AF2A-3FF6E6DEB7AF}"/>
          </ac:picMkLst>
        </pc:picChg>
        <pc:picChg chg="add del mod">
          <ac:chgData name="WONGYONGLIN91" userId="S::wongyonglin91_gmail.com#ext#@risebcg.onmicrosoft.com::b2d94f93-e580-4f0d-9dda-2138509d25ae" providerId="AD" clId="Web-{AADDA445-BDD6-42F9-85C9-88CD3230B937}" dt="2022-01-09T10:44:39.189" v="126"/>
          <ac:picMkLst>
            <pc:docMk/>
            <pc:sldMk cId="1894441827" sldId="358"/>
            <ac:picMk id="25" creationId="{CD2EC3BC-8E21-4DC8-8701-491580519376}"/>
          </ac:picMkLst>
        </pc:picChg>
        <pc:picChg chg="add mod">
          <ac:chgData name="WONGYONGLIN91" userId="S::wongyonglin91_gmail.com#ext#@risebcg.onmicrosoft.com::b2d94f93-e580-4f0d-9dda-2138509d25ae" providerId="AD" clId="Web-{AADDA445-BDD6-42F9-85C9-88CD3230B937}" dt="2022-01-09T10:56:54.670" v="148" actId="1076"/>
          <ac:picMkLst>
            <pc:docMk/>
            <pc:sldMk cId="1894441827" sldId="358"/>
            <ac:picMk id="26" creationId="{3E7D9E39-2C33-40F6-B21B-E6ABF43A27B6}"/>
          </ac:picMkLst>
        </pc:picChg>
        <pc:picChg chg="add mod">
          <ac:chgData name="WONGYONGLIN91" userId="S::wongyonglin91_gmail.com#ext#@risebcg.onmicrosoft.com::b2d94f93-e580-4f0d-9dda-2138509d25ae" providerId="AD" clId="Web-{AADDA445-BDD6-42F9-85C9-88CD3230B937}" dt="2022-01-09T10:56:49.998" v="147" actId="1076"/>
          <ac:picMkLst>
            <pc:docMk/>
            <pc:sldMk cId="1894441827" sldId="358"/>
            <ac:picMk id="27" creationId="{8B582F99-5D50-4D77-A9E6-86BF01C61EEE}"/>
          </ac:picMkLst>
        </pc:picChg>
      </pc:sldChg>
      <pc:sldChg chg="delSp modSp add del replId">
        <pc:chgData name="WONGYONGLIN91" userId="S::wongyonglin91_gmail.com#ext#@risebcg.onmicrosoft.com::b2d94f93-e580-4f0d-9dda-2138509d25ae" providerId="AD" clId="Web-{AADDA445-BDD6-42F9-85C9-88CD3230B937}" dt="2022-01-09T11:24:00.148" v="152"/>
        <pc:sldMkLst>
          <pc:docMk/>
          <pc:sldMk cId="2950691373" sldId="369"/>
        </pc:sldMkLst>
        <pc:picChg chg="mod">
          <ac:chgData name="WONGYONGLIN91" userId="S::wongyonglin91_gmail.com#ext#@risebcg.onmicrosoft.com::b2d94f93-e580-4f0d-9dda-2138509d25ae" providerId="AD" clId="Web-{AADDA445-BDD6-42F9-85C9-88CD3230B937}" dt="2022-01-09T10:32:48.989" v="89" actId="1076"/>
          <ac:picMkLst>
            <pc:docMk/>
            <pc:sldMk cId="2950691373" sldId="369"/>
            <ac:picMk id="6" creationId="{36E933AE-617C-4DEB-B4AD-4702ECE92209}"/>
          </ac:picMkLst>
        </pc:picChg>
        <pc:picChg chg="mod">
          <ac:chgData name="WONGYONGLIN91" userId="S::wongyonglin91_gmail.com#ext#@risebcg.onmicrosoft.com::b2d94f93-e580-4f0d-9dda-2138509d25ae" providerId="AD" clId="Web-{AADDA445-BDD6-42F9-85C9-88CD3230B937}" dt="2022-01-09T10:32:47.020" v="88" actId="1076"/>
          <ac:picMkLst>
            <pc:docMk/>
            <pc:sldMk cId="2950691373" sldId="369"/>
            <ac:picMk id="8" creationId="{80090A9D-A882-4EB8-927C-696FEDD289AC}"/>
          </ac:picMkLst>
        </pc:picChg>
        <pc:picChg chg="del">
          <ac:chgData name="WONGYONGLIN91" userId="S::wongyonglin91_gmail.com#ext#@risebcg.onmicrosoft.com::b2d94f93-e580-4f0d-9dda-2138509d25ae" providerId="AD" clId="Web-{AADDA445-BDD6-42F9-85C9-88CD3230B937}" dt="2022-01-09T10:32:41.176" v="86"/>
          <ac:picMkLst>
            <pc:docMk/>
            <pc:sldMk cId="2950691373" sldId="369"/>
            <ac:picMk id="16" creationId="{9128F571-EA1C-41C3-819C-579D9B69F12F}"/>
          </ac:picMkLst>
        </pc:picChg>
        <pc:picChg chg="del">
          <ac:chgData name="WONGYONGLIN91" userId="S::wongyonglin91_gmail.com#ext#@risebcg.onmicrosoft.com::b2d94f93-e580-4f0d-9dda-2138509d25ae" providerId="AD" clId="Web-{AADDA445-BDD6-42F9-85C9-88CD3230B937}" dt="2022-01-09T10:32:46.848" v="87"/>
          <ac:picMkLst>
            <pc:docMk/>
            <pc:sldMk cId="2950691373" sldId="369"/>
            <ac:picMk id="17" creationId="{C5CB374D-66B4-4CAB-890B-EDFE516A14D4}"/>
          </ac:picMkLst>
        </pc:picChg>
      </pc:sldChg>
    </pc:docChg>
  </pc:docChgLst>
  <pc:docChgLst>
    <pc:chgData name="EVELYNSM.YONG" userId="S::evelynsm.yong_gmail.com#ext#@risebcg.onmicrosoft.com::67a27a72-2420-4d38-b745-316a53f4b99a" providerId="AD" clId="Web-{0DBCE264-42AB-4E4D-92BD-92ADD1AB384F}"/>
    <pc:docChg chg="addSld delSld modSld sldOrd">
      <pc:chgData name="EVELYNSM.YONG" userId="S::evelynsm.yong_gmail.com#ext#@risebcg.onmicrosoft.com::67a27a72-2420-4d38-b745-316a53f4b99a" providerId="AD" clId="Web-{0DBCE264-42AB-4E4D-92BD-92ADD1AB384F}" dt="2022-01-09T08:50:17.590" v="1731"/>
      <pc:docMkLst>
        <pc:docMk/>
      </pc:docMkLst>
      <pc:sldChg chg="add del ord">
        <pc:chgData name="EVELYNSM.YONG" userId="S::evelynsm.yong_gmail.com#ext#@risebcg.onmicrosoft.com::67a27a72-2420-4d38-b745-316a53f4b99a" providerId="AD" clId="Web-{0DBCE264-42AB-4E4D-92BD-92ADD1AB384F}" dt="2022-01-09T08:43:13.598" v="1646"/>
        <pc:sldMkLst>
          <pc:docMk/>
          <pc:sldMk cId="1771006094" sldId="285"/>
        </pc:sldMkLst>
      </pc:sldChg>
      <pc:sldChg chg="modSp">
        <pc:chgData name="EVELYNSM.YONG" userId="S::evelynsm.yong_gmail.com#ext#@risebcg.onmicrosoft.com::67a27a72-2420-4d38-b745-316a53f4b99a" providerId="AD" clId="Web-{0DBCE264-42AB-4E4D-92BD-92ADD1AB384F}" dt="2022-01-09T08:14:05.892" v="891" actId="1076"/>
        <pc:sldMkLst>
          <pc:docMk/>
          <pc:sldMk cId="4084366951" sldId="318"/>
        </pc:sldMkLst>
        <pc:picChg chg="mod">
          <ac:chgData name="EVELYNSM.YONG" userId="S::evelynsm.yong_gmail.com#ext#@risebcg.onmicrosoft.com::67a27a72-2420-4d38-b745-316a53f4b99a" providerId="AD" clId="Web-{0DBCE264-42AB-4E4D-92BD-92ADD1AB384F}" dt="2022-01-09T08:14:05.892" v="891" actId="1076"/>
          <ac:picMkLst>
            <pc:docMk/>
            <pc:sldMk cId="4084366951" sldId="318"/>
            <ac:picMk id="14" creationId="{9E82A69E-4635-4809-8566-FFBDBAB122DE}"/>
          </ac:picMkLst>
        </pc:picChg>
      </pc:sldChg>
      <pc:sldChg chg="ord">
        <pc:chgData name="EVELYNSM.YONG" userId="S::evelynsm.yong_gmail.com#ext#@risebcg.onmicrosoft.com::67a27a72-2420-4d38-b745-316a53f4b99a" providerId="AD" clId="Web-{0DBCE264-42AB-4E4D-92BD-92ADD1AB384F}" dt="2022-01-09T07:48:53.925" v="475"/>
        <pc:sldMkLst>
          <pc:docMk/>
          <pc:sldMk cId="768738816" sldId="330"/>
        </pc:sldMkLst>
      </pc:sldChg>
      <pc:sldChg chg="ord">
        <pc:chgData name="EVELYNSM.YONG" userId="S::evelynsm.yong_gmail.com#ext#@risebcg.onmicrosoft.com::67a27a72-2420-4d38-b745-316a53f4b99a" providerId="AD" clId="Web-{0DBCE264-42AB-4E4D-92BD-92ADD1AB384F}" dt="2022-01-09T07:48:53.925" v="474"/>
        <pc:sldMkLst>
          <pc:docMk/>
          <pc:sldMk cId="4030892583" sldId="332"/>
        </pc:sldMkLst>
      </pc:sldChg>
      <pc:sldChg chg="modSp">
        <pc:chgData name="EVELYNSM.YONG" userId="S::evelynsm.yong_gmail.com#ext#@risebcg.onmicrosoft.com::67a27a72-2420-4d38-b745-316a53f4b99a" providerId="AD" clId="Web-{0DBCE264-42AB-4E4D-92BD-92ADD1AB384F}" dt="2022-01-09T08:44:19.271" v="1654" actId="14100"/>
        <pc:sldMkLst>
          <pc:docMk/>
          <pc:sldMk cId="1249418479" sldId="334"/>
        </pc:sldMkLst>
        <pc:spChg chg="mod">
          <ac:chgData name="EVELYNSM.YONG" userId="S::evelynsm.yong_gmail.com#ext#@risebcg.onmicrosoft.com::67a27a72-2420-4d38-b745-316a53f4b99a" providerId="AD" clId="Web-{0DBCE264-42AB-4E4D-92BD-92ADD1AB384F}" dt="2022-01-09T08:44:19.271" v="1654" actId="14100"/>
          <ac:spMkLst>
            <pc:docMk/>
            <pc:sldMk cId="1249418479" sldId="334"/>
            <ac:spMk id="14" creationId="{DE96116D-A890-4EBF-BAFB-3F4B23F0096C}"/>
          </ac:spMkLst>
        </pc:spChg>
      </pc:sldChg>
      <pc:sldChg chg="delSp modSp ord">
        <pc:chgData name="EVELYNSM.YONG" userId="S::evelynsm.yong_gmail.com#ext#@risebcg.onmicrosoft.com::67a27a72-2420-4d38-b745-316a53f4b99a" providerId="AD" clId="Web-{0DBCE264-42AB-4E4D-92BD-92ADD1AB384F}" dt="2022-01-09T08:48:14.557" v="1704" actId="14100"/>
        <pc:sldMkLst>
          <pc:docMk/>
          <pc:sldMk cId="2652119032" sldId="335"/>
        </pc:sldMkLst>
        <pc:spChg chg="mod">
          <ac:chgData name="EVELYNSM.YONG" userId="S::evelynsm.yong_gmail.com#ext#@risebcg.onmicrosoft.com::67a27a72-2420-4d38-b745-316a53f4b99a" providerId="AD" clId="Web-{0DBCE264-42AB-4E4D-92BD-92ADD1AB384F}" dt="2022-01-09T08:40:03.266" v="1613" actId="20577"/>
          <ac:spMkLst>
            <pc:docMk/>
            <pc:sldMk cId="2652119032" sldId="335"/>
            <ac:spMk id="2" creationId="{7F6D02CC-FD9B-490C-B8FF-AA78D172BCDC}"/>
          </ac:spMkLst>
        </pc:spChg>
        <pc:spChg chg="mod">
          <ac:chgData name="EVELYNSM.YONG" userId="S::evelynsm.yong_gmail.com#ext#@risebcg.onmicrosoft.com::67a27a72-2420-4d38-b745-316a53f4b99a" providerId="AD" clId="Web-{0DBCE264-42AB-4E4D-92BD-92ADD1AB384F}" dt="2022-01-09T08:47:59.463" v="1700" actId="20577"/>
          <ac:spMkLst>
            <pc:docMk/>
            <pc:sldMk cId="2652119032" sldId="335"/>
            <ac:spMk id="4" creationId="{7BCAFA08-4D06-4459-BDE0-CAB790C8CB40}"/>
          </ac:spMkLst>
        </pc:spChg>
        <pc:spChg chg="mod">
          <ac:chgData name="EVELYNSM.YONG" userId="S::evelynsm.yong_gmail.com#ext#@risebcg.onmicrosoft.com::67a27a72-2420-4d38-b745-316a53f4b99a" providerId="AD" clId="Web-{0DBCE264-42AB-4E4D-92BD-92ADD1AB384F}" dt="2022-01-09T08:48:14.557" v="1704" actId="14100"/>
          <ac:spMkLst>
            <pc:docMk/>
            <pc:sldMk cId="2652119032" sldId="335"/>
            <ac:spMk id="10" creationId="{5B136050-0C52-4973-B00A-9438EBC773F2}"/>
          </ac:spMkLst>
        </pc:spChg>
        <pc:grpChg chg="del">
          <ac:chgData name="EVELYNSM.YONG" userId="S::evelynsm.yong_gmail.com#ext#@risebcg.onmicrosoft.com::67a27a72-2420-4d38-b745-316a53f4b99a" providerId="AD" clId="Web-{0DBCE264-42AB-4E4D-92BD-92ADD1AB384F}" dt="2022-01-09T08:05:23.288" v="624"/>
          <ac:grpSpMkLst>
            <pc:docMk/>
            <pc:sldMk cId="2652119032" sldId="335"/>
            <ac:grpSpMk id="8" creationId="{CAEC6CD7-B066-4DF9-94AD-FBA7CF3B0107}"/>
          </ac:grpSpMkLst>
        </pc:grpChg>
      </pc:sldChg>
      <pc:sldChg chg="ord">
        <pc:chgData name="EVELYNSM.YONG" userId="S::evelynsm.yong_gmail.com#ext#@risebcg.onmicrosoft.com::67a27a72-2420-4d38-b745-316a53f4b99a" providerId="AD" clId="Web-{0DBCE264-42AB-4E4D-92BD-92ADD1AB384F}" dt="2022-01-09T07:26:05.837" v="18"/>
        <pc:sldMkLst>
          <pc:docMk/>
          <pc:sldMk cId="2538826858" sldId="336"/>
        </pc:sldMkLst>
      </pc:sldChg>
      <pc:sldChg chg="addSp delSp modSp ord modNotes">
        <pc:chgData name="EVELYNSM.YONG" userId="S::evelynsm.yong_gmail.com#ext#@risebcg.onmicrosoft.com::67a27a72-2420-4d38-b745-316a53f4b99a" providerId="AD" clId="Web-{0DBCE264-42AB-4E4D-92BD-92ADD1AB384F}" dt="2022-01-09T08:39:40.266" v="1606"/>
        <pc:sldMkLst>
          <pc:docMk/>
          <pc:sldMk cId="3391215681" sldId="339"/>
        </pc:sldMkLst>
        <pc:spChg chg="mod">
          <ac:chgData name="EVELYNSM.YONG" userId="S::evelynsm.yong_gmail.com#ext#@risebcg.onmicrosoft.com::67a27a72-2420-4d38-b745-316a53f4b99a" providerId="AD" clId="Web-{0DBCE264-42AB-4E4D-92BD-92ADD1AB384F}" dt="2022-01-09T08:20:56.259" v="1144"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0DBCE264-42AB-4E4D-92BD-92ADD1AB384F}" dt="2022-01-09T08:03:00.020" v="600" actId="14100"/>
          <ac:spMkLst>
            <pc:docMk/>
            <pc:sldMk cId="3391215681" sldId="339"/>
            <ac:spMk id="49" creationId="{1A40ECD8-EC71-4C0D-A629-C5042C9FBE1B}"/>
          </ac:spMkLst>
        </pc:spChg>
        <pc:spChg chg="mod">
          <ac:chgData name="EVELYNSM.YONG" userId="S::evelynsm.yong_gmail.com#ext#@risebcg.onmicrosoft.com::67a27a72-2420-4d38-b745-316a53f4b99a" providerId="AD" clId="Web-{0DBCE264-42AB-4E4D-92BD-92ADD1AB384F}" dt="2022-01-09T07:46:39.142" v="448" actId="20577"/>
          <ac:spMkLst>
            <pc:docMk/>
            <pc:sldMk cId="3391215681" sldId="339"/>
            <ac:spMk id="124" creationId="{C91A31F3-23FB-421F-8BC0-FD3F5F868D91}"/>
          </ac:spMkLst>
        </pc:spChg>
        <pc:spChg chg="add mod">
          <ac:chgData name="EVELYNSM.YONG" userId="S::evelynsm.yong_gmail.com#ext#@risebcg.onmicrosoft.com::67a27a72-2420-4d38-b745-316a53f4b99a" providerId="AD" clId="Web-{0DBCE264-42AB-4E4D-92BD-92ADD1AB384F}" dt="2022-01-09T08:38:49.249" v="1593" actId="1076"/>
          <ac:spMkLst>
            <pc:docMk/>
            <pc:sldMk cId="3391215681" sldId="339"/>
            <ac:spMk id="160" creationId="{129EBF9C-3DCE-40EC-8CFB-1CB201B252BE}"/>
          </ac:spMkLst>
        </pc:spChg>
        <pc:spChg chg="add mod">
          <ac:chgData name="EVELYNSM.YONG" userId="S::evelynsm.yong_gmail.com#ext#@risebcg.onmicrosoft.com::67a27a72-2420-4d38-b745-316a53f4b99a" providerId="AD" clId="Web-{0DBCE264-42AB-4E4D-92BD-92ADD1AB384F}" dt="2022-01-09T08:38:18.326" v="1581" actId="1076"/>
          <ac:spMkLst>
            <pc:docMk/>
            <pc:sldMk cId="3391215681" sldId="339"/>
            <ac:spMk id="211" creationId="{BE8EF75F-4A8F-4CC0-B3A0-4689491D690B}"/>
          </ac:spMkLst>
        </pc:spChg>
        <pc:spChg chg="add mod">
          <ac:chgData name="EVELYNSM.YONG" userId="S::evelynsm.yong_gmail.com#ext#@risebcg.onmicrosoft.com::67a27a72-2420-4d38-b745-316a53f4b99a" providerId="AD" clId="Web-{0DBCE264-42AB-4E4D-92BD-92ADD1AB384F}" dt="2022-01-09T08:38:57.890" v="1596" actId="1076"/>
          <ac:spMkLst>
            <pc:docMk/>
            <pc:sldMk cId="3391215681" sldId="339"/>
            <ac:spMk id="218" creationId="{3F919807-BA2C-40C1-9C13-9C7C88B0617F}"/>
          </ac:spMkLst>
        </pc:spChg>
        <pc:spChg chg="add mod">
          <ac:chgData name="EVELYNSM.YONG" userId="S::evelynsm.yong_gmail.com#ext#@risebcg.onmicrosoft.com::67a27a72-2420-4d38-b745-316a53f4b99a" providerId="AD" clId="Web-{0DBCE264-42AB-4E4D-92BD-92ADD1AB384F}" dt="2022-01-09T08:39:21.609" v="1601" actId="20577"/>
          <ac:spMkLst>
            <pc:docMk/>
            <pc:sldMk cId="3391215681" sldId="339"/>
            <ac:spMk id="229" creationId="{8CB63044-5013-4EFC-B813-E8D7A72DE7FF}"/>
          </ac:spMkLst>
        </pc:spChg>
        <pc:spChg chg="add del">
          <ac:chgData name="EVELYNSM.YONG" userId="S::evelynsm.yong_gmail.com#ext#@risebcg.onmicrosoft.com::67a27a72-2420-4d38-b745-316a53f4b99a" providerId="AD" clId="Web-{0DBCE264-42AB-4E4D-92BD-92ADD1AB384F}" dt="2022-01-09T07:34:18.237" v="143"/>
          <ac:spMkLst>
            <pc:docMk/>
            <pc:sldMk cId="3391215681" sldId="339"/>
            <ac:spMk id="230" creationId="{C927EFC1-94E4-4CF7-8300-A652081469BE}"/>
          </ac:spMkLst>
        </pc:spChg>
        <pc:spChg chg="add del mod">
          <ac:chgData name="EVELYNSM.YONG" userId="S::evelynsm.yong_gmail.com#ext#@risebcg.onmicrosoft.com::67a27a72-2420-4d38-b745-316a53f4b99a" providerId="AD" clId="Web-{0DBCE264-42AB-4E4D-92BD-92ADD1AB384F}" dt="2022-01-09T07:33:23.158" v="120"/>
          <ac:spMkLst>
            <pc:docMk/>
            <pc:sldMk cId="3391215681" sldId="339"/>
            <ac:spMk id="231" creationId="{80909143-A291-4302-956D-AB0C4506830B}"/>
          </ac:spMkLst>
        </pc:spChg>
        <pc:spChg chg="add mod">
          <ac:chgData name="EVELYNSM.YONG" userId="S::evelynsm.yong_gmail.com#ext#@risebcg.onmicrosoft.com::67a27a72-2420-4d38-b745-316a53f4b99a" providerId="AD" clId="Web-{0DBCE264-42AB-4E4D-92BD-92ADD1AB384F}" dt="2022-01-09T08:38:36.264" v="1586" actId="1076"/>
          <ac:spMkLst>
            <pc:docMk/>
            <pc:sldMk cId="3391215681" sldId="339"/>
            <ac:spMk id="3097" creationId="{B43BCD4D-C119-4545-A18A-03EFECDDCAC1}"/>
          </ac:spMkLst>
        </pc:spChg>
        <pc:grpChg chg="add mod">
          <ac:chgData name="EVELYNSM.YONG" userId="S::evelynsm.yong_gmail.com#ext#@risebcg.onmicrosoft.com::67a27a72-2420-4d38-b745-316a53f4b99a" providerId="AD" clId="Web-{0DBCE264-42AB-4E4D-92BD-92ADD1AB384F}" dt="2022-01-09T08:21:02.197" v="1145" actId="14100"/>
          <ac:grpSpMkLst>
            <pc:docMk/>
            <pc:sldMk cId="3391215681" sldId="339"/>
            <ac:grpSpMk id="417" creationId="{3422634B-E74A-464E-8891-948490F63923}"/>
          </ac:grpSpMkLst>
        </pc:grpChg>
        <pc:graphicFrameChg chg="mod modGraphic">
          <ac:chgData name="EVELYNSM.YONG" userId="S::evelynsm.yong_gmail.com#ext#@risebcg.onmicrosoft.com::67a27a72-2420-4d38-b745-316a53f4b99a" providerId="AD" clId="Web-{0DBCE264-42AB-4E4D-92BD-92ADD1AB384F}" dt="2022-01-09T08:34:22.713" v="1438" actId="20577"/>
          <ac:graphicFrameMkLst>
            <pc:docMk/>
            <pc:sldMk cId="3391215681" sldId="339"/>
            <ac:graphicFrameMk id="28" creationId="{9D58B7B4-DE29-4DDF-BB8A-729D2B705659}"/>
          </ac:graphicFrameMkLst>
        </pc:graphicFrameChg>
        <pc:picChg chg="add mod">
          <ac:chgData name="EVELYNSM.YONG" userId="S::evelynsm.yong_gmail.com#ext#@risebcg.onmicrosoft.com::67a27a72-2420-4d38-b745-316a53f4b99a" providerId="AD" clId="Web-{0DBCE264-42AB-4E4D-92BD-92ADD1AB384F}" dt="2022-01-09T08:39:00.765" v="1597" actId="1076"/>
          <ac:picMkLst>
            <pc:docMk/>
            <pc:sldMk cId="3391215681" sldId="339"/>
            <ac:picMk id="248" creationId="{135B6FD8-8BD5-4DF6-A276-BDEEDFD924A2}"/>
          </ac:picMkLst>
        </pc:picChg>
        <pc:picChg chg="add mod">
          <ac:chgData name="EVELYNSM.YONG" userId="S::evelynsm.yong_gmail.com#ext#@risebcg.onmicrosoft.com::67a27a72-2420-4d38-b745-316a53f4b99a" providerId="AD" clId="Web-{0DBCE264-42AB-4E4D-92BD-92ADD1AB384F}" dt="2022-01-09T08:13:30.141" v="890" actId="1076"/>
          <ac:picMkLst>
            <pc:docMk/>
            <pc:sldMk cId="3391215681" sldId="339"/>
            <ac:picMk id="1727" creationId="{4F4925B4-226E-4CE5-9A48-DF473BE5B5F7}"/>
          </ac:picMkLst>
        </pc:picChg>
        <pc:picChg chg="add mod">
          <ac:chgData name="EVELYNSM.YONG" userId="S::evelynsm.yong_gmail.com#ext#@risebcg.onmicrosoft.com::67a27a72-2420-4d38-b745-316a53f4b99a" providerId="AD" clId="Web-{0DBCE264-42AB-4E4D-92BD-92ADD1AB384F}" dt="2022-01-09T08:14:50.674" v="904"/>
          <ac:picMkLst>
            <pc:docMk/>
            <pc:sldMk cId="3391215681" sldId="339"/>
            <ac:picMk id="3132" creationId="{BA0FB811-9988-4232-A46F-6EF4FC07AD2C}"/>
          </ac:picMkLst>
        </pc:picChg>
        <pc:picChg chg="add mod">
          <ac:chgData name="EVELYNSM.YONG" userId="S::evelynsm.yong_gmail.com#ext#@risebcg.onmicrosoft.com::67a27a72-2420-4d38-b745-316a53f4b99a" providerId="AD" clId="Web-{0DBCE264-42AB-4E4D-92BD-92ADD1AB384F}" dt="2022-01-09T08:27:29.298" v="1371" actId="1076"/>
          <ac:picMkLst>
            <pc:docMk/>
            <pc:sldMk cId="3391215681" sldId="339"/>
            <ac:picMk id="3133" creationId="{01E138E9-826C-4F51-97A8-242CE7FFD6DC}"/>
          </ac:picMkLst>
        </pc:picChg>
      </pc:sldChg>
      <pc:sldChg chg="addSp delSp modSp modNotes">
        <pc:chgData name="EVELYNSM.YONG" userId="S::evelynsm.yong_gmail.com#ext#@risebcg.onmicrosoft.com::67a27a72-2420-4d38-b745-316a53f4b99a" providerId="AD" clId="Web-{0DBCE264-42AB-4E4D-92BD-92ADD1AB384F}" dt="2022-01-09T08:43:52.020" v="1652"/>
        <pc:sldMkLst>
          <pc:docMk/>
          <pc:sldMk cId="4159389698" sldId="342"/>
        </pc:sldMkLst>
        <pc:spChg chg="mod">
          <ac:chgData name="EVELYNSM.YONG" userId="S::evelynsm.yong_gmail.com#ext#@risebcg.onmicrosoft.com::67a27a72-2420-4d38-b745-316a53f4b99a" providerId="AD" clId="Web-{0DBCE264-42AB-4E4D-92BD-92ADD1AB384F}" dt="2022-01-09T08:02:19.316" v="593" actId="20577"/>
          <ac:spMkLst>
            <pc:docMk/>
            <pc:sldMk cId="4159389698" sldId="342"/>
            <ac:spMk id="2" creationId="{080435EA-AD4F-4934-83BC-D5D53AFD93E9}"/>
          </ac:spMkLst>
        </pc:spChg>
        <pc:spChg chg="del mod">
          <ac:chgData name="EVELYNSM.YONG" userId="S::evelynsm.yong_gmail.com#ext#@risebcg.onmicrosoft.com::67a27a72-2420-4d38-b745-316a53f4b99a" providerId="AD" clId="Web-{0DBCE264-42AB-4E4D-92BD-92ADD1AB384F}" dt="2022-01-09T08:42:54.941" v="1642"/>
          <ac:spMkLst>
            <pc:docMk/>
            <pc:sldMk cId="4159389698" sldId="342"/>
            <ac:spMk id="3" creationId="{B28C9884-8065-4F65-A34B-525EA6731753}"/>
          </ac:spMkLst>
        </pc:spChg>
        <pc:spChg chg="mod">
          <ac:chgData name="EVELYNSM.YONG" userId="S::evelynsm.yong_gmail.com#ext#@risebcg.onmicrosoft.com::67a27a72-2420-4d38-b745-316a53f4b99a" providerId="AD" clId="Web-{0DBCE264-42AB-4E4D-92BD-92ADD1AB384F}" dt="2022-01-09T08:02:31.519" v="596" actId="1076"/>
          <ac:spMkLst>
            <pc:docMk/>
            <pc:sldMk cId="4159389698" sldId="342"/>
            <ac:spMk id="9" creationId="{E953D56B-E197-4EF3-86AC-EB83FF562830}"/>
          </ac:spMkLst>
        </pc:spChg>
        <pc:spChg chg="mod">
          <ac:chgData name="EVELYNSM.YONG" userId="S::evelynsm.yong_gmail.com#ext#@risebcg.onmicrosoft.com::67a27a72-2420-4d38-b745-316a53f4b99a" providerId="AD" clId="Web-{0DBCE264-42AB-4E4D-92BD-92ADD1AB384F}" dt="2022-01-09T08:02:31.535" v="597" actId="1076"/>
          <ac:spMkLst>
            <pc:docMk/>
            <pc:sldMk cId="4159389698" sldId="342"/>
            <ac:spMk id="10" creationId="{A949E116-7148-4CA9-A41F-83DB47255D80}"/>
          </ac:spMkLst>
        </pc:spChg>
        <pc:spChg chg="mod">
          <ac:chgData name="EVELYNSM.YONG" userId="S::evelynsm.yong_gmail.com#ext#@risebcg.onmicrosoft.com::67a27a72-2420-4d38-b745-316a53f4b99a" providerId="AD" clId="Web-{0DBCE264-42AB-4E4D-92BD-92ADD1AB384F}" dt="2022-01-09T08:02:31.535" v="598" actId="1076"/>
          <ac:spMkLst>
            <pc:docMk/>
            <pc:sldMk cId="4159389698" sldId="342"/>
            <ac:spMk id="12" creationId="{AAEC2426-37C0-4083-9090-89DDF94F295F}"/>
          </ac:spMkLst>
        </pc:spChg>
        <pc:picChg chg="add mod">
          <ac:chgData name="EVELYNSM.YONG" userId="S::evelynsm.yong_gmail.com#ext#@risebcg.onmicrosoft.com::67a27a72-2420-4d38-b745-316a53f4b99a" providerId="AD" clId="Web-{0DBCE264-42AB-4E4D-92BD-92ADD1AB384F}" dt="2022-01-09T08:07:59.573" v="662" actId="1076"/>
          <ac:picMkLst>
            <pc:docMk/>
            <pc:sldMk cId="4159389698" sldId="342"/>
            <ac:picMk id="4" creationId="{A250FD57-6309-4718-A617-85A0EA99B27E}"/>
          </ac:picMkLst>
        </pc:picChg>
        <pc:picChg chg="del">
          <ac:chgData name="EVELYNSM.YONG" userId="S::evelynsm.yong_gmail.com#ext#@risebcg.onmicrosoft.com::67a27a72-2420-4d38-b745-316a53f4b99a" providerId="AD" clId="Web-{0DBCE264-42AB-4E4D-92BD-92ADD1AB384F}" dt="2022-01-09T08:01:51.128" v="584"/>
          <ac:picMkLst>
            <pc:docMk/>
            <pc:sldMk cId="4159389698" sldId="342"/>
            <ac:picMk id="8" creationId="{6B01C6A5-3C80-4889-B1DA-40342676F95C}"/>
          </ac:picMkLst>
        </pc:picChg>
      </pc:sldChg>
      <pc:sldChg chg="addSp delSp modSp add ord replId modNotes">
        <pc:chgData name="EVELYNSM.YONG" userId="S::evelynsm.yong_gmail.com#ext#@risebcg.onmicrosoft.com::67a27a72-2420-4d38-b745-316a53f4b99a" providerId="AD" clId="Web-{0DBCE264-42AB-4E4D-92BD-92ADD1AB384F}" dt="2022-01-09T08:50:17.590" v="1731"/>
        <pc:sldMkLst>
          <pc:docMk/>
          <pc:sldMk cId="3531645893" sldId="360"/>
        </pc:sldMkLst>
        <pc:spChg chg="del mod">
          <ac:chgData name="EVELYNSM.YONG" userId="S::evelynsm.yong_gmail.com#ext#@risebcg.onmicrosoft.com::67a27a72-2420-4d38-b745-316a53f4b99a" providerId="AD" clId="Web-{0DBCE264-42AB-4E4D-92BD-92ADD1AB384F}" dt="2022-01-09T07:25:21.398" v="15"/>
          <ac:spMkLst>
            <pc:docMk/>
            <pc:sldMk cId="3531645893" sldId="360"/>
            <ac:spMk id="3" creationId="{23B5890E-3952-4DA3-84DC-3B5A3B209183}"/>
          </ac:spMkLst>
        </pc:spChg>
        <pc:spChg chg="del mod">
          <ac:chgData name="EVELYNSM.YONG" userId="S::evelynsm.yong_gmail.com#ext#@risebcg.onmicrosoft.com::67a27a72-2420-4d38-b745-316a53f4b99a" providerId="AD" clId="Web-{0DBCE264-42AB-4E4D-92BD-92ADD1AB384F}" dt="2022-01-09T07:31:55.390" v="104"/>
          <ac:spMkLst>
            <pc:docMk/>
            <pc:sldMk cId="3531645893" sldId="360"/>
            <ac:spMk id="5" creationId="{08DC735E-1A7F-457B-A1FA-9F4F07DCE495}"/>
          </ac:spMkLst>
        </pc:spChg>
        <pc:spChg chg="add del mod">
          <ac:chgData name="EVELYNSM.YONG" userId="S::evelynsm.yong_gmail.com#ext#@risebcg.onmicrosoft.com::67a27a72-2420-4d38-b745-316a53f4b99a" providerId="AD" clId="Web-{0DBCE264-42AB-4E4D-92BD-92ADD1AB384F}" dt="2022-01-09T07:28:44.762" v="33"/>
          <ac:spMkLst>
            <pc:docMk/>
            <pc:sldMk cId="3531645893" sldId="360"/>
            <ac:spMk id="7" creationId="{2815EE3A-DE5B-4853-A5A3-44EA9CB7FB72}"/>
          </ac:spMkLst>
        </pc:spChg>
        <pc:spChg chg="del">
          <ac:chgData name="EVELYNSM.YONG" userId="S::evelynsm.yong_gmail.com#ext#@risebcg.onmicrosoft.com::67a27a72-2420-4d38-b745-316a53f4b99a" providerId="AD" clId="Web-{0DBCE264-42AB-4E4D-92BD-92ADD1AB384F}" dt="2022-01-09T07:27:55.526" v="25"/>
          <ac:spMkLst>
            <pc:docMk/>
            <pc:sldMk cId="3531645893" sldId="360"/>
            <ac:spMk id="8" creationId="{E6878894-26B8-4852-BD38-B27ACA222FCF}"/>
          </ac:spMkLst>
        </pc:spChg>
        <pc:spChg chg="mod">
          <ac:chgData name="EVELYNSM.YONG" userId="S::evelynsm.yong_gmail.com#ext#@risebcg.onmicrosoft.com::67a27a72-2420-4d38-b745-316a53f4b99a" providerId="AD" clId="Web-{0DBCE264-42AB-4E4D-92BD-92ADD1AB384F}" dt="2022-01-09T08:42:10.222" v="1638" actId="1076"/>
          <ac:spMkLst>
            <pc:docMk/>
            <pc:sldMk cId="3531645893" sldId="360"/>
            <ac:spMk id="9" creationId="{E3C0B427-9E9D-47EC-AFD8-3D8F22D59FE9}"/>
          </ac:spMkLst>
        </pc:spChg>
        <pc:spChg chg="add del mod">
          <ac:chgData name="EVELYNSM.YONG" userId="S::evelynsm.yong_gmail.com#ext#@risebcg.onmicrosoft.com::67a27a72-2420-4d38-b745-316a53f4b99a" providerId="AD" clId="Web-{0DBCE264-42AB-4E4D-92BD-92ADD1AB384F}" dt="2022-01-09T07:28:06.776" v="28"/>
          <ac:spMkLst>
            <pc:docMk/>
            <pc:sldMk cId="3531645893" sldId="360"/>
            <ac:spMk id="11" creationId="{30E1C671-2DF3-4840-82BF-F7F319B54D12}"/>
          </ac:spMkLst>
        </pc:spChg>
        <pc:spChg chg="add del">
          <ac:chgData name="EVELYNSM.YONG" userId="S::evelynsm.yong_gmail.com#ext#@risebcg.onmicrosoft.com::67a27a72-2420-4d38-b745-316a53f4b99a" providerId="AD" clId="Web-{0DBCE264-42AB-4E4D-92BD-92ADD1AB384F}" dt="2022-01-09T07:28:03.370" v="27"/>
          <ac:spMkLst>
            <pc:docMk/>
            <pc:sldMk cId="3531645893" sldId="360"/>
            <ac:spMk id="13" creationId="{B4D29716-D0D1-43FE-97B8-BF09BAA4C286}"/>
          </ac:spMkLst>
        </pc:spChg>
        <pc:spChg chg="add mod">
          <ac:chgData name="EVELYNSM.YONG" userId="S::evelynsm.yong_gmail.com#ext#@risebcg.onmicrosoft.com::67a27a72-2420-4d38-b745-316a53f4b99a" providerId="AD" clId="Web-{0DBCE264-42AB-4E4D-92BD-92ADD1AB384F}" dt="2022-01-09T08:42:27.222" v="1640" actId="20577"/>
          <ac:spMkLst>
            <pc:docMk/>
            <pc:sldMk cId="3531645893" sldId="360"/>
            <ac:spMk id="15" creationId="{EA512C5C-B61E-4EDE-A2CD-308BFA2920DA}"/>
          </ac:spMkLst>
        </pc:spChg>
        <pc:spChg chg="add del">
          <ac:chgData name="EVELYNSM.YONG" userId="S::evelynsm.yong_gmail.com#ext#@risebcg.onmicrosoft.com::67a27a72-2420-4d38-b745-316a53f4b99a" providerId="AD" clId="Web-{0DBCE264-42AB-4E4D-92BD-92ADD1AB384F}" dt="2022-01-09T07:31:44.265" v="98"/>
          <ac:spMkLst>
            <pc:docMk/>
            <pc:sldMk cId="3531645893" sldId="360"/>
            <ac:spMk id="18" creationId="{302AC003-856C-43F3-817C-F3ADBC19B3F9}"/>
          </ac:spMkLst>
        </pc:spChg>
        <pc:spChg chg="add mod">
          <ac:chgData name="EVELYNSM.YONG" userId="S::evelynsm.yong_gmail.com#ext#@risebcg.onmicrosoft.com::67a27a72-2420-4d38-b745-316a53f4b99a" providerId="AD" clId="Web-{0DBCE264-42AB-4E4D-92BD-92ADD1AB384F}" dt="2022-01-09T08:44:39.881" v="1658" actId="20577"/>
          <ac:spMkLst>
            <pc:docMk/>
            <pc:sldMk cId="3531645893" sldId="360"/>
            <ac:spMk id="19" creationId="{950C64E7-6661-4AEA-8068-716AD3707128}"/>
          </ac:spMkLst>
        </pc:spChg>
        <pc:spChg chg="add mod">
          <ac:chgData name="EVELYNSM.YONG" userId="S::evelynsm.yong_gmail.com#ext#@risebcg.onmicrosoft.com::67a27a72-2420-4d38-b745-316a53f4b99a" providerId="AD" clId="Web-{0DBCE264-42AB-4E4D-92BD-92ADD1AB384F}" dt="2022-01-09T08:42:06.925" v="1637" actId="1076"/>
          <ac:spMkLst>
            <pc:docMk/>
            <pc:sldMk cId="3531645893" sldId="360"/>
            <ac:spMk id="20" creationId="{64A6A166-6CE6-41F0-99B2-FC47AF50CD6C}"/>
          </ac:spMkLst>
        </pc:spChg>
        <pc:spChg chg="add del">
          <ac:chgData name="EVELYNSM.YONG" userId="S::evelynsm.yong_gmail.com#ext#@risebcg.onmicrosoft.com::67a27a72-2420-4d38-b745-316a53f4b99a" providerId="AD" clId="Web-{0DBCE264-42AB-4E4D-92BD-92ADD1AB384F}" dt="2022-01-09T08:23:28.309" v="1180"/>
          <ac:spMkLst>
            <pc:docMk/>
            <pc:sldMk cId="3531645893" sldId="360"/>
            <ac:spMk id="21" creationId="{DDCF0E25-C841-4BB4-8301-97D3E7A8A3C6}"/>
          </ac:spMkLst>
        </pc:spChg>
        <pc:spChg chg="add mod">
          <ac:chgData name="EVELYNSM.YONG" userId="S::evelynsm.yong_gmail.com#ext#@risebcg.onmicrosoft.com::67a27a72-2420-4d38-b745-316a53f4b99a" providerId="AD" clId="Web-{0DBCE264-42AB-4E4D-92BD-92ADD1AB384F}" dt="2022-01-09T08:41:29.768" v="1629" actId="1076"/>
          <ac:spMkLst>
            <pc:docMk/>
            <pc:sldMk cId="3531645893" sldId="360"/>
            <ac:spMk id="22" creationId="{31E2D2F4-E28C-4B52-9C47-E50AD68240D1}"/>
          </ac:spMkLst>
        </pc:spChg>
        <pc:spChg chg="add mod">
          <ac:chgData name="EVELYNSM.YONG" userId="S::evelynsm.yong_gmail.com#ext#@risebcg.onmicrosoft.com::67a27a72-2420-4d38-b745-316a53f4b99a" providerId="AD" clId="Web-{0DBCE264-42AB-4E4D-92BD-92ADD1AB384F}" dt="2022-01-09T08:41:31.408" v="1630" actId="1076"/>
          <ac:spMkLst>
            <pc:docMk/>
            <pc:sldMk cId="3531645893" sldId="360"/>
            <ac:spMk id="23" creationId="{2E06316D-D669-4187-8235-1A4EE0D9868B}"/>
          </ac:spMkLst>
        </pc:spChg>
        <pc:spChg chg="add mod">
          <ac:chgData name="EVELYNSM.YONG" userId="S::evelynsm.yong_gmail.com#ext#@risebcg.onmicrosoft.com::67a27a72-2420-4d38-b745-316a53f4b99a" providerId="AD" clId="Web-{0DBCE264-42AB-4E4D-92BD-92ADD1AB384F}" dt="2022-01-09T08:42:00.924" v="1636" actId="1076"/>
          <ac:spMkLst>
            <pc:docMk/>
            <pc:sldMk cId="3531645893" sldId="360"/>
            <ac:spMk id="24" creationId="{CEFC4E90-FB9D-4E3E-86B1-5712D705BC99}"/>
          </ac:spMkLst>
        </pc:spChg>
        <pc:spChg chg="add del mod">
          <ac:chgData name="EVELYNSM.YONG" userId="S::evelynsm.yong_gmail.com#ext#@risebcg.onmicrosoft.com::67a27a72-2420-4d38-b745-316a53f4b99a" providerId="AD" clId="Web-{0DBCE264-42AB-4E4D-92BD-92ADD1AB384F}" dt="2022-01-09T08:46:17.320" v="1684"/>
          <ac:spMkLst>
            <pc:docMk/>
            <pc:sldMk cId="3531645893" sldId="360"/>
            <ac:spMk id="26" creationId="{01851DD6-8A06-4787-8FE0-84ADE7A5FCC8}"/>
          </ac:spMkLst>
        </pc:spChg>
        <pc:spChg chg="add del mod">
          <ac:chgData name="EVELYNSM.YONG" userId="S::evelynsm.yong_gmail.com#ext#@risebcg.onmicrosoft.com::67a27a72-2420-4d38-b745-316a53f4b99a" providerId="AD" clId="Web-{0DBCE264-42AB-4E4D-92BD-92ADD1AB384F}" dt="2022-01-09T08:48:42.809" v="1709"/>
          <ac:spMkLst>
            <pc:docMk/>
            <pc:sldMk cId="3531645893" sldId="360"/>
            <ac:spMk id="28" creationId="{1BAEA2D4-E3FF-40E8-B397-7058B14A45EA}"/>
          </ac:spMkLst>
        </pc:spChg>
        <pc:spChg chg="add mod">
          <ac:chgData name="EVELYNSM.YONG" userId="S::evelynsm.yong_gmail.com#ext#@risebcg.onmicrosoft.com::67a27a72-2420-4d38-b745-316a53f4b99a" providerId="AD" clId="Web-{0DBCE264-42AB-4E4D-92BD-92ADD1AB384F}" dt="2022-01-09T08:49:59.684" v="1730" actId="1076"/>
          <ac:spMkLst>
            <pc:docMk/>
            <pc:sldMk cId="3531645893" sldId="360"/>
            <ac:spMk id="38" creationId="{FEF91957-B410-48E7-A904-8D71259BC55D}"/>
          </ac:spMkLst>
        </pc:spChg>
        <pc:spChg chg="add">
          <ac:chgData name="EVELYNSM.YONG" userId="S::evelynsm.yong_gmail.com#ext#@risebcg.onmicrosoft.com::67a27a72-2420-4d38-b745-316a53f4b99a" providerId="AD" clId="Web-{0DBCE264-42AB-4E4D-92BD-92ADD1AB384F}" dt="2022-01-09T08:50:17.590" v="1731"/>
          <ac:spMkLst>
            <pc:docMk/>
            <pc:sldMk cId="3531645893" sldId="360"/>
            <ac:spMk id="39" creationId="{42DA18B2-FE72-46C2-A8F6-3AEF6644F2B4}"/>
          </ac:spMkLst>
        </pc:spChg>
        <pc:picChg chg="add mod">
          <ac:chgData name="EVELYNSM.YONG" userId="S::evelynsm.yong_gmail.com#ext#@risebcg.onmicrosoft.com::67a27a72-2420-4d38-b745-316a53f4b99a" providerId="AD" clId="Web-{0DBCE264-42AB-4E4D-92BD-92ADD1AB384F}" dt="2022-01-09T08:46:09.070" v="1682" actId="1076"/>
          <ac:picMkLst>
            <pc:docMk/>
            <pc:sldMk cId="3531645893" sldId="360"/>
            <ac:picMk id="2" creationId="{AEC58EF5-F1D5-4E20-B8B5-7FD65E79DF0C}"/>
          </ac:picMkLst>
        </pc:picChg>
        <pc:picChg chg="del">
          <ac:chgData name="EVELYNSM.YONG" userId="S::evelynsm.yong_gmail.com#ext#@risebcg.onmicrosoft.com::67a27a72-2420-4d38-b745-316a53f4b99a" providerId="AD" clId="Web-{0DBCE264-42AB-4E4D-92BD-92ADD1AB384F}" dt="2022-01-09T07:24:29.694" v="1"/>
          <ac:picMkLst>
            <pc:docMk/>
            <pc:sldMk cId="3531645893" sldId="360"/>
            <ac:picMk id="6" creationId="{AD827BB6-5A24-46DC-8558-895FE49292CC}"/>
          </ac:picMkLst>
        </pc:picChg>
        <pc:picChg chg="add mod">
          <ac:chgData name="EVELYNSM.YONG" userId="S::evelynsm.yong_gmail.com#ext#@risebcg.onmicrosoft.com::67a27a72-2420-4d38-b745-316a53f4b99a" providerId="AD" clId="Web-{0DBCE264-42AB-4E4D-92BD-92ADD1AB384F}" dt="2022-01-09T08:22:35.136" v="1157" actId="1076"/>
          <ac:picMkLst>
            <pc:docMk/>
            <pc:sldMk cId="3531645893" sldId="360"/>
            <ac:picMk id="17" creationId="{B8401525-B70B-4EFA-8C14-01EE9116C492}"/>
          </ac:picMkLst>
        </pc:picChg>
        <pc:inkChg chg="add del">
          <ac:chgData name="EVELYNSM.YONG" userId="S::evelynsm.yong_gmail.com#ext#@risebcg.onmicrosoft.com::67a27a72-2420-4d38-b745-316a53f4b99a" providerId="AD" clId="Web-{0DBCE264-42AB-4E4D-92BD-92ADD1AB384F}" dt="2022-01-09T08:49:02.104" v="1713"/>
          <ac:inkMkLst>
            <pc:docMk/>
            <pc:sldMk cId="3531645893" sldId="360"/>
            <ac:inkMk id="29" creationId="{19043256-5BCD-44DD-A697-D8C9D493A038}"/>
          </ac:inkMkLst>
        </pc:inkChg>
        <pc:inkChg chg="add del">
          <ac:chgData name="EVELYNSM.YONG" userId="S::evelynsm.yong_gmail.com#ext#@risebcg.onmicrosoft.com::67a27a72-2420-4d38-b745-316a53f4b99a" providerId="AD" clId="Web-{0DBCE264-42AB-4E4D-92BD-92ADD1AB384F}" dt="2022-01-09T08:49:00.979" v="1712"/>
          <ac:inkMkLst>
            <pc:docMk/>
            <pc:sldMk cId="3531645893" sldId="360"/>
            <ac:inkMk id="30" creationId="{C091B004-3345-4AF6-8D93-61FF806B0682}"/>
          </ac:inkMkLst>
        </pc:inkChg>
        <pc:inkChg chg="add del">
          <ac:chgData name="EVELYNSM.YONG" userId="S::evelynsm.yong_gmail.com#ext#@risebcg.onmicrosoft.com::67a27a72-2420-4d38-b745-316a53f4b99a" providerId="AD" clId="Web-{0DBCE264-42AB-4E4D-92BD-92ADD1AB384F}" dt="2022-01-09T08:49:05.370" v="1715"/>
          <ac:inkMkLst>
            <pc:docMk/>
            <pc:sldMk cId="3531645893" sldId="360"/>
            <ac:inkMk id="31" creationId="{52EDD93F-7077-42D7-B6B9-80C751559599}"/>
          </ac:inkMkLst>
        </pc:inkChg>
        <pc:inkChg chg="add del">
          <ac:chgData name="EVELYNSM.YONG" userId="S::evelynsm.yong_gmail.com#ext#@risebcg.onmicrosoft.com::67a27a72-2420-4d38-b745-316a53f4b99a" providerId="AD" clId="Web-{0DBCE264-42AB-4E4D-92BD-92ADD1AB384F}" dt="2022-01-09T08:49:15.136" v="1719"/>
          <ac:inkMkLst>
            <pc:docMk/>
            <pc:sldMk cId="3531645893" sldId="360"/>
            <ac:inkMk id="32" creationId="{5557D70F-50A9-4458-BBF7-3FC42F08D80C}"/>
          </ac:inkMkLst>
        </pc:inkChg>
        <pc:inkChg chg="add del">
          <ac:chgData name="EVELYNSM.YONG" userId="S::evelynsm.yong_gmail.com#ext#@risebcg.onmicrosoft.com::67a27a72-2420-4d38-b745-316a53f4b99a" providerId="AD" clId="Web-{0DBCE264-42AB-4E4D-92BD-92ADD1AB384F}" dt="2022-01-09T08:49:13.964" v="1718"/>
          <ac:inkMkLst>
            <pc:docMk/>
            <pc:sldMk cId="3531645893" sldId="360"/>
            <ac:inkMk id="33" creationId="{26B3D837-805E-4AE3-BBC9-B78C9AFD96EF}"/>
          </ac:inkMkLst>
        </pc:inkChg>
        <pc:inkChg chg="add del">
          <ac:chgData name="EVELYNSM.YONG" userId="S::evelynsm.yong_gmail.com#ext#@risebcg.onmicrosoft.com::67a27a72-2420-4d38-b745-316a53f4b99a" providerId="AD" clId="Web-{0DBCE264-42AB-4E4D-92BD-92ADD1AB384F}" dt="2022-01-09T08:49:20.464" v="1721"/>
          <ac:inkMkLst>
            <pc:docMk/>
            <pc:sldMk cId="3531645893" sldId="360"/>
            <ac:inkMk id="34" creationId="{BBE130FF-2D40-4A3C-8792-312A0E679454}"/>
          </ac:inkMkLst>
        </pc:inkChg>
        <pc:inkChg chg="add del">
          <ac:chgData name="EVELYNSM.YONG" userId="S::evelynsm.yong_gmail.com#ext#@risebcg.onmicrosoft.com::67a27a72-2420-4d38-b745-316a53f4b99a" providerId="AD" clId="Web-{0DBCE264-42AB-4E4D-92BD-92ADD1AB384F}" dt="2022-01-09T08:49:23.855" v="1723"/>
          <ac:inkMkLst>
            <pc:docMk/>
            <pc:sldMk cId="3531645893" sldId="360"/>
            <ac:inkMk id="35" creationId="{6EF98B3C-9B16-42E0-A9C2-4A96E0FF5BCB}"/>
          </ac:inkMkLst>
        </pc:inkChg>
        <pc:inkChg chg="add del">
          <ac:chgData name="EVELYNSM.YONG" userId="S::evelynsm.yong_gmail.com#ext#@risebcg.onmicrosoft.com::67a27a72-2420-4d38-b745-316a53f4b99a" providerId="AD" clId="Web-{0DBCE264-42AB-4E4D-92BD-92ADD1AB384F}" dt="2022-01-09T08:49:34.105" v="1727"/>
          <ac:inkMkLst>
            <pc:docMk/>
            <pc:sldMk cId="3531645893" sldId="360"/>
            <ac:inkMk id="36" creationId="{FA21F0D2-39BB-4469-AC55-0083FE26EFA9}"/>
          </ac:inkMkLst>
        </pc:inkChg>
        <pc:inkChg chg="add del">
          <ac:chgData name="EVELYNSM.YONG" userId="S::evelynsm.yong_gmail.com#ext#@risebcg.onmicrosoft.com::67a27a72-2420-4d38-b745-316a53f4b99a" providerId="AD" clId="Web-{0DBCE264-42AB-4E4D-92BD-92ADD1AB384F}" dt="2022-01-09T08:49:30.121" v="1726"/>
          <ac:inkMkLst>
            <pc:docMk/>
            <pc:sldMk cId="3531645893" sldId="360"/>
            <ac:inkMk id="37" creationId="{7BF14B9B-9DF3-44E7-9D07-D7344C3B85A6}"/>
          </ac:inkMkLst>
        </pc:inkChg>
        <pc:cxnChg chg="add del mod">
          <ac:chgData name="EVELYNSM.YONG" userId="S::evelynsm.yong_gmail.com#ext#@risebcg.onmicrosoft.com::67a27a72-2420-4d38-b745-316a53f4b99a" providerId="AD" clId="Web-{0DBCE264-42AB-4E4D-92BD-92ADD1AB384F}" dt="2022-01-09T08:44:55.240" v="1662"/>
          <ac:cxnSpMkLst>
            <pc:docMk/>
            <pc:sldMk cId="3531645893" sldId="360"/>
            <ac:cxnSpMk id="25" creationId="{0F5B622B-9270-4A90-BF2C-00884AA3CB24}"/>
          </ac:cxnSpMkLst>
        </pc:cxnChg>
        <pc:cxnChg chg="add del mod">
          <ac:chgData name="EVELYNSM.YONG" userId="S::evelynsm.yong_gmail.com#ext#@risebcg.onmicrosoft.com::67a27a72-2420-4d38-b745-316a53f4b99a" providerId="AD" clId="Web-{0DBCE264-42AB-4E4D-92BD-92ADD1AB384F}" dt="2022-01-09T08:47:21.509" v="1694"/>
          <ac:cxnSpMkLst>
            <pc:docMk/>
            <pc:sldMk cId="3531645893" sldId="360"/>
            <ac:cxnSpMk id="27" creationId="{9F031AF3-3BC7-4863-AE70-C7E89B357EA0}"/>
          </ac:cxnSpMkLst>
        </pc:cxnChg>
      </pc:sldChg>
    </pc:docChg>
  </pc:docChgLst>
  <pc:docChgLst>
    <pc:chgData name="wei yuan" userId="S::pwy_92_hotmail.com#ext#@risebcg.onmicrosoft.com::ca38e7f8-9ace-4d94-b37a-86e65e91f2b0" providerId="AD" clId="Web-{BCBC7DAA-9194-4E0F-B355-1B8AC41DDAA0}"/>
    <pc:docChg chg="addSld delSld modSld">
      <pc:chgData name="wei yuan" userId="S::pwy_92_hotmail.com#ext#@risebcg.onmicrosoft.com::ca38e7f8-9ace-4d94-b37a-86e65e91f2b0" providerId="AD" clId="Web-{BCBC7DAA-9194-4E0F-B355-1B8AC41DDAA0}" dt="2022-01-07T12:45:06.721" v="11" actId="1076"/>
      <pc:docMkLst>
        <pc:docMk/>
      </pc:docMkLst>
      <pc:sldChg chg="addSp modSp">
        <pc:chgData name="wei yuan" userId="S::pwy_92_hotmail.com#ext#@risebcg.onmicrosoft.com::ca38e7f8-9ace-4d94-b37a-86e65e91f2b0" providerId="AD" clId="Web-{BCBC7DAA-9194-4E0F-B355-1B8AC41DDAA0}" dt="2022-01-07T12:45:06.721" v="11" actId="1076"/>
        <pc:sldMkLst>
          <pc:docMk/>
          <pc:sldMk cId="2316358039" sldId="325"/>
        </pc:sldMkLst>
        <pc:picChg chg="add mod">
          <ac:chgData name="wei yuan" userId="S::pwy_92_hotmail.com#ext#@risebcg.onmicrosoft.com::ca38e7f8-9ace-4d94-b37a-86e65e91f2b0" providerId="AD" clId="Web-{BCBC7DAA-9194-4E0F-B355-1B8AC41DDAA0}" dt="2022-01-07T12:45:06.721" v="11" actId="1076"/>
          <ac:picMkLst>
            <pc:docMk/>
            <pc:sldMk cId="2316358039" sldId="325"/>
            <ac:picMk id="2" creationId="{69CF128B-0B09-4BF1-B2CA-1BA877B1F78B}"/>
          </ac:picMkLst>
        </pc:picChg>
      </pc:sldChg>
      <pc:sldChg chg="add del replId">
        <pc:chgData name="wei yuan" userId="S::pwy_92_hotmail.com#ext#@risebcg.onmicrosoft.com::ca38e7f8-9ace-4d94-b37a-86e65e91f2b0" providerId="AD" clId="Web-{BCBC7DAA-9194-4E0F-B355-1B8AC41DDAA0}" dt="2022-01-07T12:44:35.767" v="2"/>
        <pc:sldMkLst>
          <pc:docMk/>
          <pc:sldMk cId="3512342733" sldId="337"/>
        </pc:sldMkLst>
      </pc:sldChg>
      <pc:sldChg chg="add del replId">
        <pc:chgData name="wei yuan" userId="S::pwy_92_hotmail.com#ext#@risebcg.onmicrosoft.com::ca38e7f8-9ace-4d94-b37a-86e65e91f2b0" providerId="AD" clId="Web-{BCBC7DAA-9194-4E0F-B355-1B8AC41DDAA0}" dt="2022-01-07T12:44:39.048" v="3"/>
        <pc:sldMkLst>
          <pc:docMk/>
          <pc:sldMk cId="1930631681" sldId="338"/>
        </pc:sldMkLst>
      </pc:sldChg>
    </pc:docChg>
  </pc:docChgLst>
  <pc:docChgLst>
    <pc:chgData name="WONGYONGLIN91" userId="S::wongyonglin91_gmail.com#ext#@risebcg.onmicrosoft.com::b2d94f93-e580-4f0d-9dda-2138509d25ae" providerId="AD" clId="Web-{819DFFEC-4326-43C8-95FF-064276E98504}"/>
    <pc:docChg chg="addSld delSld modSld sldOrd">
      <pc:chgData name="WONGYONGLIN91" userId="S::wongyonglin91_gmail.com#ext#@risebcg.onmicrosoft.com::b2d94f93-e580-4f0d-9dda-2138509d25ae" providerId="AD" clId="Web-{819DFFEC-4326-43C8-95FF-064276E98504}" dt="2022-01-07T21:32:37.885" v="317" actId="14100"/>
      <pc:docMkLst>
        <pc:docMk/>
      </pc:docMkLst>
      <pc:sldChg chg="del">
        <pc:chgData name="WONGYONGLIN91" userId="S::wongyonglin91_gmail.com#ext#@risebcg.onmicrosoft.com::b2d94f93-e580-4f0d-9dda-2138509d25ae" providerId="AD" clId="Web-{819DFFEC-4326-43C8-95FF-064276E98504}" dt="2022-01-07T15:24:42.470" v="29"/>
        <pc:sldMkLst>
          <pc:docMk/>
          <pc:sldMk cId="4276505800" sldId="329"/>
        </pc:sldMkLst>
      </pc:sldChg>
      <pc:sldChg chg="modSp del">
        <pc:chgData name="WONGYONGLIN91" userId="S::wongyonglin91_gmail.com#ext#@risebcg.onmicrosoft.com::b2d94f93-e580-4f0d-9dda-2138509d25ae" providerId="AD" clId="Web-{819DFFEC-4326-43C8-95FF-064276E98504}" dt="2022-01-07T15:25:44.534" v="36"/>
        <pc:sldMkLst>
          <pc:docMk/>
          <pc:sldMk cId="2728944561" sldId="333"/>
        </pc:sldMkLst>
        <pc:spChg chg="mod">
          <ac:chgData name="WONGYONGLIN91" userId="S::wongyonglin91_gmail.com#ext#@risebcg.onmicrosoft.com::b2d94f93-e580-4f0d-9dda-2138509d25ae" providerId="AD" clId="Web-{819DFFEC-4326-43C8-95FF-064276E98504}" dt="2022-01-07T15:20:14.338" v="9" actId="20577"/>
          <ac:spMkLst>
            <pc:docMk/>
            <pc:sldMk cId="2728944561" sldId="333"/>
            <ac:spMk id="3" creationId="{9C545F2D-9E52-4C81-8BAE-363F523739FD}"/>
          </ac:spMkLst>
        </pc:spChg>
        <pc:picChg chg="mod">
          <ac:chgData name="WONGYONGLIN91" userId="S::wongyonglin91_gmail.com#ext#@risebcg.onmicrosoft.com::b2d94f93-e580-4f0d-9dda-2138509d25ae" providerId="AD" clId="Web-{819DFFEC-4326-43C8-95FF-064276E98504}" dt="2022-01-07T15:22:25.045" v="20" actId="14100"/>
          <ac:picMkLst>
            <pc:docMk/>
            <pc:sldMk cId="2728944561" sldId="333"/>
            <ac:picMk id="6" creationId="{5C7BC333-AC07-4C92-9439-0C248DD469B7}"/>
          </ac:picMkLst>
        </pc:picChg>
        <pc:picChg chg="mod">
          <ac:chgData name="WONGYONGLIN91" userId="S::wongyonglin91_gmail.com#ext#@risebcg.onmicrosoft.com::b2d94f93-e580-4f0d-9dda-2138509d25ae" providerId="AD" clId="Web-{819DFFEC-4326-43C8-95FF-064276E98504}" dt="2022-01-07T15:22:17.247" v="18" actId="14100"/>
          <ac:picMkLst>
            <pc:docMk/>
            <pc:sldMk cId="2728944561" sldId="333"/>
            <ac:picMk id="7" creationId="{5DBECBC5-E506-4844-9DFC-8CEEA581E35F}"/>
          </ac:picMkLst>
        </pc:picChg>
      </pc:sldChg>
      <pc:sldChg chg="addSp delSp modSp add replId">
        <pc:chgData name="WONGYONGLIN91" userId="S::wongyonglin91_gmail.com#ext#@risebcg.onmicrosoft.com::b2d94f93-e580-4f0d-9dda-2138509d25ae" providerId="AD" clId="Web-{819DFFEC-4326-43C8-95FF-064276E98504}" dt="2022-01-07T21:29:42.802" v="304" actId="14100"/>
        <pc:sldMkLst>
          <pc:docMk/>
          <pc:sldMk cId="3266031372" sldId="340"/>
        </pc:sldMkLst>
        <pc:spChg chg="mod">
          <ac:chgData name="WONGYONGLIN91" userId="S::wongyonglin91_gmail.com#ext#@risebcg.onmicrosoft.com::b2d94f93-e580-4f0d-9dda-2138509d25ae" providerId="AD" clId="Web-{819DFFEC-4326-43C8-95FF-064276E98504}" dt="2022-01-07T15:23:37.156" v="24" actId="20577"/>
          <ac:spMkLst>
            <pc:docMk/>
            <pc:sldMk cId="3266031372" sldId="340"/>
            <ac:spMk id="2" creationId="{ED14AA63-35D8-4136-8B2F-DE1837A583A2}"/>
          </ac:spMkLst>
        </pc:spChg>
        <pc:spChg chg="del mod">
          <ac:chgData name="WONGYONGLIN91" userId="S::wongyonglin91_gmail.com#ext#@risebcg.onmicrosoft.com::b2d94f93-e580-4f0d-9dda-2138509d25ae" providerId="AD" clId="Web-{819DFFEC-4326-43C8-95FF-064276E98504}" dt="2022-01-07T15:23:52.078" v="27"/>
          <ac:spMkLst>
            <pc:docMk/>
            <pc:sldMk cId="3266031372" sldId="340"/>
            <ac:spMk id="3" creationId="{2A938E9D-39F3-463F-BEAD-B91F6168A34D}"/>
          </ac:spMkLst>
        </pc:spChg>
        <pc:spChg chg="del">
          <ac:chgData name="WONGYONGLIN91" userId="S::wongyonglin91_gmail.com#ext#@risebcg.onmicrosoft.com::b2d94f93-e580-4f0d-9dda-2138509d25ae" providerId="AD" clId="Web-{819DFFEC-4326-43C8-95FF-064276E98504}" dt="2022-01-07T15:23:40.375" v="25"/>
          <ac:spMkLst>
            <pc:docMk/>
            <pc:sldMk cId="3266031372" sldId="340"/>
            <ac:spMk id="15" creationId="{AAF3EE67-387A-430E-A8DA-4FF50FD506BC}"/>
          </ac:spMkLst>
        </pc:spChg>
        <pc:picChg chg="add mod">
          <ac:chgData name="WONGYONGLIN91" userId="S::wongyonglin91_gmail.com#ext#@risebcg.onmicrosoft.com::b2d94f93-e580-4f0d-9dda-2138509d25ae" providerId="AD" clId="Web-{819DFFEC-4326-43C8-95FF-064276E98504}" dt="2022-01-07T21:18:14.447" v="273" actId="14100"/>
          <ac:picMkLst>
            <pc:docMk/>
            <pc:sldMk cId="3266031372" sldId="340"/>
            <ac:picMk id="3" creationId="{461DA40E-97F6-445B-B8F4-50294D61B847}"/>
          </ac:picMkLst>
        </pc:picChg>
        <pc:picChg chg="add mod">
          <ac:chgData name="WONGYONGLIN91" userId="S::wongyonglin91_gmail.com#ext#@risebcg.onmicrosoft.com::b2d94f93-e580-4f0d-9dda-2138509d25ae" providerId="AD" clId="Web-{819DFFEC-4326-43C8-95FF-064276E98504}" dt="2022-01-07T21:19:30.418" v="280" actId="14100"/>
          <ac:picMkLst>
            <pc:docMk/>
            <pc:sldMk cId="3266031372" sldId="340"/>
            <ac:picMk id="5" creationId="{037BEBE0-D6CC-43A0-8E28-C42D326CE726}"/>
          </ac:picMkLst>
        </pc:picChg>
        <pc:picChg chg="add del mod">
          <ac:chgData name="WONGYONGLIN91" userId="S::wongyonglin91_gmail.com#ext#@risebcg.onmicrosoft.com::b2d94f93-e580-4f0d-9dda-2138509d25ae" providerId="AD" clId="Web-{819DFFEC-4326-43C8-95FF-064276E98504}" dt="2022-01-07T15:35:25.207" v="134"/>
          <ac:picMkLst>
            <pc:docMk/>
            <pc:sldMk cId="3266031372" sldId="340"/>
            <ac:picMk id="5" creationId="{CFAA75FE-4DB7-4740-A206-5FB12363D930}"/>
          </ac:picMkLst>
        </pc:picChg>
        <pc:picChg chg="add mod">
          <ac:chgData name="WONGYONGLIN91" userId="S::wongyonglin91_gmail.com#ext#@risebcg.onmicrosoft.com::b2d94f93-e580-4f0d-9dda-2138509d25ae" providerId="AD" clId="Web-{819DFFEC-4326-43C8-95FF-064276E98504}" dt="2022-01-07T21:29:42.802" v="304" actId="14100"/>
          <ac:picMkLst>
            <pc:docMk/>
            <pc:sldMk cId="3266031372" sldId="340"/>
            <ac:picMk id="6" creationId="{81A150AC-B222-471E-A118-CD198FBC5BA7}"/>
          </ac:picMkLst>
        </pc:picChg>
        <pc:picChg chg="add del mod">
          <ac:chgData name="WONGYONGLIN91" userId="S::wongyonglin91_gmail.com#ext#@risebcg.onmicrosoft.com::b2d94f93-e580-4f0d-9dda-2138509d25ae" providerId="AD" clId="Web-{819DFFEC-4326-43C8-95FF-064276E98504}" dt="2022-01-07T15:35:37.270" v="141"/>
          <ac:picMkLst>
            <pc:docMk/>
            <pc:sldMk cId="3266031372" sldId="340"/>
            <ac:picMk id="6" creationId="{F448AC28-191F-43F5-8166-388DCB83D6EE}"/>
          </ac:picMkLst>
        </pc:picChg>
        <pc:picChg chg="add del mod">
          <ac:chgData name="WONGYONGLIN91" userId="S::wongyonglin91_gmail.com#ext#@risebcg.onmicrosoft.com::b2d94f93-e580-4f0d-9dda-2138509d25ae" providerId="AD" clId="Web-{819DFFEC-4326-43C8-95FF-064276E98504}" dt="2022-01-07T15:35:31.582" v="139"/>
          <ac:picMkLst>
            <pc:docMk/>
            <pc:sldMk cId="3266031372" sldId="340"/>
            <ac:picMk id="7" creationId="{8B1DA149-833C-40D7-9F00-BA4B16317DAF}"/>
          </ac:picMkLst>
        </pc:picChg>
        <pc:picChg chg="add mod">
          <ac:chgData name="WONGYONGLIN91" userId="S::wongyonglin91_gmail.com#ext#@risebcg.onmicrosoft.com::b2d94f93-e580-4f0d-9dda-2138509d25ae" providerId="AD" clId="Web-{819DFFEC-4326-43C8-95FF-064276E98504}" dt="2022-01-07T21:29:33.443" v="303" actId="14100"/>
          <ac:picMkLst>
            <pc:docMk/>
            <pc:sldMk cId="3266031372" sldId="340"/>
            <ac:picMk id="7" creationId="{C197F6B9-4CBB-4B39-8C04-6C1CE7632C8C}"/>
          </ac:picMkLst>
        </pc:picChg>
        <pc:picChg chg="add del mod">
          <ac:chgData name="WONGYONGLIN91" userId="S::wongyonglin91_gmail.com#ext#@risebcg.onmicrosoft.com::b2d94f93-e580-4f0d-9dda-2138509d25ae" providerId="AD" clId="Web-{819DFFEC-4326-43C8-95FF-064276E98504}" dt="2022-01-07T15:35:31.582" v="138"/>
          <ac:picMkLst>
            <pc:docMk/>
            <pc:sldMk cId="3266031372" sldId="340"/>
            <ac:picMk id="8" creationId="{17E09966-BADB-4BDA-9C22-19001B053817}"/>
          </ac:picMkLst>
        </pc:picChg>
        <pc:picChg chg="add del mod">
          <ac:chgData name="WONGYONGLIN91" userId="S::wongyonglin91_gmail.com#ext#@risebcg.onmicrosoft.com::b2d94f93-e580-4f0d-9dda-2138509d25ae" providerId="AD" clId="Web-{819DFFEC-4326-43C8-95FF-064276E98504}" dt="2022-01-07T15:36:09.646" v="144"/>
          <ac:picMkLst>
            <pc:docMk/>
            <pc:sldMk cId="3266031372" sldId="340"/>
            <ac:picMk id="9" creationId="{57A4BC46-D2E3-4D93-9A1A-9FB7E14E1B53}"/>
          </ac:picMkLst>
        </pc:picChg>
        <pc:picChg chg="add del mod">
          <ac:chgData name="WONGYONGLIN91" userId="S::wongyonglin91_gmail.com#ext#@risebcg.onmicrosoft.com::b2d94f93-e580-4f0d-9dda-2138509d25ae" providerId="AD" clId="Web-{819DFFEC-4326-43C8-95FF-064276E98504}" dt="2022-01-07T21:28:08.769" v="292"/>
          <ac:picMkLst>
            <pc:docMk/>
            <pc:sldMk cId="3266031372" sldId="340"/>
            <ac:picMk id="10" creationId="{F3AB1250-20FB-493D-93FC-5B329EE240CD}"/>
          </ac:picMkLst>
        </pc:picChg>
        <pc:picChg chg="add del mod">
          <ac:chgData name="WONGYONGLIN91" userId="S::wongyonglin91_gmail.com#ext#@risebcg.onmicrosoft.com::b2d94f93-e580-4f0d-9dda-2138509d25ae" providerId="AD" clId="Web-{819DFFEC-4326-43C8-95FF-064276E98504}" dt="2022-01-07T21:28:11.519" v="293"/>
          <ac:picMkLst>
            <pc:docMk/>
            <pc:sldMk cId="3266031372" sldId="340"/>
            <ac:picMk id="11" creationId="{3FF94910-E085-4232-A0C5-6B4A45798560}"/>
          </ac:picMkLst>
        </pc:picChg>
      </pc:sldChg>
      <pc:sldChg chg="addSp delSp modSp add ord replId">
        <pc:chgData name="WONGYONGLIN91" userId="S::wongyonglin91_gmail.com#ext#@risebcg.onmicrosoft.com::b2d94f93-e580-4f0d-9dda-2138509d25ae" providerId="AD" clId="Web-{819DFFEC-4326-43C8-95FF-064276E98504}" dt="2022-01-07T21:32:37.885" v="317" actId="14100"/>
        <pc:sldMkLst>
          <pc:docMk/>
          <pc:sldMk cId="2497075168" sldId="341"/>
        </pc:sldMkLst>
        <pc:spChg chg="mod">
          <ac:chgData name="WONGYONGLIN91" userId="S::wongyonglin91_gmail.com#ext#@risebcg.onmicrosoft.com::b2d94f93-e580-4f0d-9dda-2138509d25ae" providerId="AD" clId="Web-{819DFFEC-4326-43C8-95FF-064276E98504}" dt="2022-01-07T15:24:56.096" v="33" actId="20577"/>
          <ac:spMkLst>
            <pc:docMk/>
            <pc:sldMk cId="2497075168" sldId="341"/>
            <ac:spMk id="2" creationId="{ED14AA63-35D8-4136-8B2F-DE1837A583A2}"/>
          </ac:spMkLst>
        </pc:spChg>
        <pc:spChg chg="mod">
          <ac:chgData name="WONGYONGLIN91" userId="S::wongyonglin91_gmail.com#ext#@risebcg.onmicrosoft.com::b2d94f93-e580-4f0d-9dda-2138509d25ae" providerId="AD" clId="Web-{819DFFEC-4326-43C8-95FF-064276E98504}" dt="2022-01-07T21:17:02.258" v="270" actId="20577"/>
          <ac:spMkLst>
            <pc:docMk/>
            <pc:sldMk cId="2497075168" sldId="341"/>
            <ac:spMk id="4" creationId="{215644EC-E1A2-4B5F-BA53-79EB189605EC}"/>
          </ac:spMkLst>
        </pc:spChg>
        <pc:picChg chg="add del mod">
          <ac:chgData name="WONGYONGLIN91" userId="S::wongyonglin91_gmail.com#ext#@risebcg.onmicrosoft.com::b2d94f93-e580-4f0d-9dda-2138509d25ae" providerId="AD" clId="Web-{819DFFEC-4326-43C8-95FF-064276E98504}" dt="2022-01-07T21:31:08.633" v="306"/>
          <ac:picMkLst>
            <pc:docMk/>
            <pc:sldMk cId="2497075168" sldId="341"/>
            <ac:picMk id="3" creationId="{AB70BD17-A739-4311-B5FF-430BDCC3A91C}"/>
          </ac:picMkLst>
        </pc:picChg>
        <pc:picChg chg="add del mod">
          <ac:chgData name="WONGYONGLIN91" userId="S::wongyonglin91_gmail.com#ext#@risebcg.onmicrosoft.com::b2d94f93-e580-4f0d-9dda-2138509d25ae" providerId="AD" clId="Web-{819DFFEC-4326-43C8-95FF-064276E98504}" dt="2022-01-07T21:31:05.851" v="305"/>
          <ac:picMkLst>
            <pc:docMk/>
            <pc:sldMk cId="2497075168" sldId="341"/>
            <ac:picMk id="5" creationId="{2CC643E4-FEE3-429B-A6F3-6AAD3C24EF78}"/>
          </ac:picMkLst>
        </pc:picChg>
        <pc:picChg chg="add del mod">
          <ac:chgData name="WONGYONGLIN91" userId="S::wongyonglin91_gmail.com#ext#@risebcg.onmicrosoft.com::b2d94f93-e580-4f0d-9dda-2138509d25ae" providerId="AD" clId="Web-{819DFFEC-4326-43C8-95FF-064276E98504}" dt="2022-01-07T21:21:01.438" v="281"/>
          <ac:picMkLst>
            <pc:docMk/>
            <pc:sldMk cId="2497075168" sldId="341"/>
            <ac:picMk id="6" creationId="{5589EBA5-EDF9-4738-9CC3-C48A9A67DBA9}"/>
          </ac:picMkLst>
        </pc:picChg>
        <pc:picChg chg="add del mod">
          <ac:chgData name="WONGYONGLIN91" userId="S::wongyonglin91_gmail.com#ext#@risebcg.onmicrosoft.com::b2d94f93-e580-4f0d-9dda-2138509d25ae" providerId="AD" clId="Web-{819DFFEC-4326-43C8-95FF-064276E98504}" dt="2022-01-07T21:21:03.954" v="282"/>
          <ac:picMkLst>
            <pc:docMk/>
            <pc:sldMk cId="2497075168" sldId="341"/>
            <ac:picMk id="7" creationId="{6E622914-CD8C-4CC2-87E5-6C5308AE102A}"/>
          </ac:picMkLst>
        </pc:picChg>
        <pc:picChg chg="add del mod">
          <ac:chgData name="WONGYONGLIN91" userId="S::wongyonglin91_gmail.com#ext#@risebcg.onmicrosoft.com::b2d94f93-e580-4f0d-9dda-2138509d25ae" providerId="AD" clId="Web-{819DFFEC-4326-43C8-95FF-064276E98504}" dt="2022-01-07T15:35:22.691" v="133"/>
          <ac:picMkLst>
            <pc:docMk/>
            <pc:sldMk cId="2497075168" sldId="341"/>
            <ac:picMk id="7" creationId="{BB6C21D1-9499-4CAA-B7C2-7B2F2D19C7FB}"/>
          </ac:picMkLst>
        </pc:picChg>
        <pc:picChg chg="add mod">
          <ac:chgData name="WONGYONGLIN91" userId="S::wongyonglin91_gmail.com#ext#@risebcg.onmicrosoft.com::b2d94f93-e580-4f0d-9dda-2138509d25ae" providerId="AD" clId="Web-{819DFFEC-4326-43C8-95FF-064276E98504}" dt="2022-01-07T21:32:02.494" v="313" actId="14100"/>
          <ac:picMkLst>
            <pc:docMk/>
            <pc:sldMk cId="2497075168" sldId="341"/>
            <ac:picMk id="8" creationId="{43C821D0-E8DD-4E0C-918F-E8AFE57FBD79}"/>
          </ac:picMkLst>
        </pc:picChg>
        <pc:picChg chg="add mod">
          <ac:chgData name="WONGYONGLIN91" userId="S::wongyonglin91_gmail.com#ext#@risebcg.onmicrosoft.com::b2d94f93-e580-4f0d-9dda-2138509d25ae" providerId="AD" clId="Web-{819DFFEC-4326-43C8-95FF-064276E98504}" dt="2022-01-07T21:31:14.914" v="307" actId="14100"/>
          <ac:picMkLst>
            <pc:docMk/>
            <pc:sldMk cId="2497075168" sldId="341"/>
            <ac:picMk id="9" creationId="{7E7137EB-EB04-47D4-ADDE-3138CAD2FE22}"/>
          </ac:picMkLst>
        </pc:picChg>
        <pc:picChg chg="add del mod">
          <ac:chgData name="WONGYONGLIN91" userId="S::wongyonglin91_gmail.com#ext#@risebcg.onmicrosoft.com::b2d94f93-e580-4f0d-9dda-2138509d25ae" providerId="AD" clId="Web-{819DFFEC-4326-43C8-95FF-064276E98504}" dt="2022-01-07T15:35:22.691" v="132"/>
          <ac:picMkLst>
            <pc:docMk/>
            <pc:sldMk cId="2497075168" sldId="341"/>
            <ac:picMk id="9" creationId="{A8D3C84B-EF0A-4F3E-B5A5-D88E37323E19}"/>
          </ac:picMkLst>
        </pc:picChg>
        <pc:picChg chg="add mod">
          <ac:chgData name="WONGYONGLIN91" userId="S::wongyonglin91_gmail.com#ext#@risebcg.onmicrosoft.com::b2d94f93-e580-4f0d-9dda-2138509d25ae" providerId="AD" clId="Web-{819DFFEC-4326-43C8-95FF-064276E98504}" dt="2022-01-07T21:31:53.790" v="312" actId="14100"/>
          <ac:picMkLst>
            <pc:docMk/>
            <pc:sldMk cId="2497075168" sldId="341"/>
            <ac:picMk id="10" creationId="{5C5BFFE9-19E0-4AAC-BCA1-0A74C6D93C5F}"/>
          </ac:picMkLst>
        </pc:picChg>
        <pc:picChg chg="add del mod">
          <ac:chgData name="WONGYONGLIN91" userId="S::wongyonglin91_gmail.com#ext#@risebcg.onmicrosoft.com::b2d94f93-e580-4f0d-9dda-2138509d25ae" providerId="AD" clId="Web-{819DFFEC-4326-43C8-95FF-064276E98504}" dt="2022-01-07T15:36:49.194" v="149"/>
          <ac:picMkLst>
            <pc:docMk/>
            <pc:sldMk cId="2497075168" sldId="341"/>
            <ac:picMk id="11" creationId="{867EBD1E-93AC-4D5A-84C4-8C004632D8A2}"/>
          </ac:picMkLst>
        </pc:picChg>
        <pc:picChg chg="add mod">
          <ac:chgData name="WONGYONGLIN91" userId="S::wongyonglin91_gmail.com#ext#@risebcg.onmicrosoft.com::b2d94f93-e580-4f0d-9dda-2138509d25ae" providerId="AD" clId="Web-{819DFFEC-4326-43C8-95FF-064276E98504}" dt="2022-01-07T21:32:37.885" v="317" actId="14100"/>
          <ac:picMkLst>
            <pc:docMk/>
            <pc:sldMk cId="2497075168" sldId="341"/>
            <ac:picMk id="11" creationId="{A57CFE02-5F8C-4E5D-85E3-23A246851199}"/>
          </ac:picMkLst>
        </pc:picChg>
        <pc:picChg chg="add del mod">
          <ac:chgData name="WONGYONGLIN91" userId="S::wongyonglin91_gmail.com#ext#@risebcg.onmicrosoft.com::b2d94f93-e580-4f0d-9dda-2138509d25ae" providerId="AD" clId="Web-{819DFFEC-4326-43C8-95FF-064276E98504}" dt="2022-01-07T15:39:30.979" v="173"/>
          <ac:picMkLst>
            <pc:docMk/>
            <pc:sldMk cId="2497075168" sldId="341"/>
            <ac:picMk id="13" creationId="{5FA4B6B0-C151-4256-AD7B-269E3760DD6F}"/>
          </ac:picMkLst>
        </pc:picChg>
        <pc:picChg chg="add del mod">
          <ac:chgData name="WONGYONGLIN91" userId="S::wongyonglin91_gmail.com#ext#@risebcg.onmicrosoft.com::b2d94f93-e580-4f0d-9dda-2138509d25ae" providerId="AD" clId="Web-{819DFFEC-4326-43C8-95FF-064276E98504}" dt="2022-01-07T15:39:30.979" v="172"/>
          <ac:picMkLst>
            <pc:docMk/>
            <pc:sldMk cId="2497075168" sldId="341"/>
            <ac:picMk id="14" creationId="{FFF4152E-A2B7-45D5-86BB-136BF8186565}"/>
          </ac:picMkLst>
        </pc:picChg>
      </pc:sldChg>
    </pc:docChg>
  </pc:docChgLst>
  <pc:docChgLst>
    <pc:chgData name="EVELYNSM.YONG" userId="S::evelynsm.yong_gmail.com#ext#@risebcg.onmicrosoft.com::67a27a72-2420-4d38-b745-316a53f4b99a" providerId="AD" clId="Web-{E369CB37-3068-47E4-AD90-1DEAD92C8B6F}"/>
    <pc:docChg chg="addSld delSld modSld sldOrd">
      <pc:chgData name="EVELYNSM.YONG" userId="S::evelynsm.yong_gmail.com#ext#@risebcg.onmicrosoft.com::67a27a72-2420-4d38-b745-316a53f4b99a" providerId="AD" clId="Web-{E369CB37-3068-47E4-AD90-1DEAD92C8B6F}" dt="2022-01-08T16:39:17.078" v="2651" actId="1076"/>
      <pc:docMkLst>
        <pc:docMk/>
      </pc:docMkLst>
      <pc:sldChg chg="addSp delSp modSp modNotes">
        <pc:chgData name="EVELYNSM.YONG" userId="S::evelynsm.yong_gmail.com#ext#@risebcg.onmicrosoft.com::67a27a72-2420-4d38-b745-316a53f4b99a" providerId="AD" clId="Web-{E369CB37-3068-47E4-AD90-1DEAD92C8B6F}" dt="2022-01-08T15:58:03.738" v="2302" actId="20577"/>
        <pc:sldMkLst>
          <pc:docMk/>
          <pc:sldMk cId="2256265757" sldId="315"/>
        </pc:sldMkLst>
        <pc:graphicFrameChg chg="add del mod modGraphic">
          <ac:chgData name="EVELYNSM.YONG" userId="S::evelynsm.yong_gmail.com#ext#@risebcg.onmicrosoft.com::67a27a72-2420-4d38-b745-316a53f4b99a" providerId="AD" clId="Web-{E369CB37-3068-47E4-AD90-1DEAD92C8B6F}" dt="2022-01-08T15:58:03.738" v="2302" actId="20577"/>
          <ac:graphicFrameMkLst>
            <pc:docMk/>
            <pc:sldMk cId="2256265757" sldId="315"/>
            <ac:graphicFrameMk id="18" creationId="{2289CFB1-4EE4-43EC-A8B5-4E5FC402B3C5}"/>
          </ac:graphicFrameMkLst>
        </pc:graphicFrameChg>
      </pc:sldChg>
      <pc:sldChg chg="addSp delSp modSp">
        <pc:chgData name="EVELYNSM.YONG" userId="S::evelynsm.yong_gmail.com#ext#@risebcg.onmicrosoft.com::67a27a72-2420-4d38-b745-316a53f4b99a" providerId="AD" clId="Web-{E369CB37-3068-47E4-AD90-1DEAD92C8B6F}" dt="2022-01-08T16:01:52.916" v="2310" actId="14100"/>
        <pc:sldMkLst>
          <pc:docMk/>
          <pc:sldMk cId="4084366951" sldId="318"/>
        </pc:sldMkLst>
        <pc:spChg chg="del mod">
          <ac:chgData name="EVELYNSM.YONG" userId="S::evelynsm.yong_gmail.com#ext#@risebcg.onmicrosoft.com::67a27a72-2420-4d38-b745-316a53f4b99a" providerId="AD" clId="Web-{E369CB37-3068-47E4-AD90-1DEAD92C8B6F}" dt="2022-01-08T11:57:02.168" v="48"/>
          <ac:spMkLst>
            <pc:docMk/>
            <pc:sldMk cId="4084366951" sldId="318"/>
            <ac:spMk id="2" creationId="{1CAEE4F4-60D4-46CA-A79F-1CD22235EEA0}"/>
          </ac:spMkLst>
        </pc:spChg>
        <pc:spChg chg="add mod">
          <ac:chgData name="EVELYNSM.YONG" userId="S::evelynsm.yong_gmail.com#ext#@risebcg.onmicrosoft.com::67a27a72-2420-4d38-b745-316a53f4b99a" providerId="AD" clId="Web-{E369CB37-3068-47E4-AD90-1DEAD92C8B6F}" dt="2022-01-08T11:56:59.558" v="47" actId="20577"/>
          <ac:spMkLst>
            <pc:docMk/>
            <pc:sldMk cId="4084366951" sldId="318"/>
            <ac:spMk id="4" creationId="{513CAA53-13D7-4313-8D45-14F4147EA5D0}"/>
          </ac:spMkLst>
        </pc:spChg>
        <pc:spChg chg="add del mod">
          <ac:chgData name="EVELYNSM.YONG" userId="S::evelynsm.yong_gmail.com#ext#@risebcg.onmicrosoft.com::67a27a72-2420-4d38-b745-316a53f4b99a" providerId="AD" clId="Web-{E369CB37-3068-47E4-AD90-1DEAD92C8B6F}" dt="2022-01-08T11:56:21.260" v="40"/>
          <ac:spMkLst>
            <pc:docMk/>
            <pc:sldMk cId="4084366951" sldId="318"/>
            <ac:spMk id="5" creationId="{195C82AC-3781-474A-8F77-6B2F0F0E9E03}"/>
          </ac:spMkLst>
        </pc:spChg>
        <pc:spChg chg="del mod">
          <ac:chgData name="EVELYNSM.YONG" userId="S::evelynsm.yong_gmail.com#ext#@risebcg.onmicrosoft.com::67a27a72-2420-4d38-b745-316a53f4b99a" providerId="AD" clId="Web-{E369CB37-3068-47E4-AD90-1DEAD92C8B6F}" dt="2022-01-08T12:21:19.858" v="191"/>
          <ac:spMkLst>
            <pc:docMk/>
            <pc:sldMk cId="4084366951" sldId="318"/>
            <ac:spMk id="7" creationId="{B3BF61C1-43C3-4800-B5DD-5D8A55C1B3E9}"/>
          </ac:spMkLst>
        </pc:spChg>
        <pc:spChg chg="del">
          <ac:chgData name="EVELYNSM.YONG" userId="S::evelynsm.yong_gmail.com#ext#@risebcg.onmicrosoft.com::67a27a72-2420-4d38-b745-316a53f4b99a" providerId="AD" clId="Web-{E369CB37-3068-47E4-AD90-1DEAD92C8B6F}" dt="2022-01-08T12:21:21.702" v="192"/>
          <ac:spMkLst>
            <pc:docMk/>
            <pc:sldMk cId="4084366951" sldId="318"/>
            <ac:spMk id="8" creationId="{B4102324-67C0-4946-A006-7D0AB358D531}"/>
          </ac:spMkLst>
        </pc:spChg>
        <pc:spChg chg="add del">
          <ac:chgData name="EVELYNSM.YONG" userId="S::evelynsm.yong_gmail.com#ext#@risebcg.onmicrosoft.com::67a27a72-2420-4d38-b745-316a53f4b99a" providerId="AD" clId="Web-{E369CB37-3068-47E4-AD90-1DEAD92C8B6F}" dt="2022-01-08T11:56:13.276" v="36"/>
          <ac:spMkLst>
            <pc:docMk/>
            <pc:sldMk cId="4084366951" sldId="318"/>
            <ac:spMk id="10" creationId="{C17085B1-9EA2-4B4B-8E23-8EB09F9C693F}"/>
          </ac:spMkLst>
        </pc:spChg>
        <pc:spChg chg="del mod">
          <ac:chgData name="EVELYNSM.YONG" userId="S::evelynsm.yong_gmail.com#ext#@risebcg.onmicrosoft.com::67a27a72-2420-4d38-b745-316a53f4b99a" providerId="AD" clId="Web-{E369CB37-3068-47E4-AD90-1DEAD92C8B6F}" dt="2022-01-08T12:10:06.030" v="138"/>
          <ac:spMkLst>
            <pc:docMk/>
            <pc:sldMk cId="4084366951" sldId="318"/>
            <ac:spMk id="19" creationId="{40F287F0-B118-4CB9-ACBF-1E5B0A5817A5}"/>
          </ac:spMkLst>
        </pc:spChg>
        <pc:spChg chg="del mod">
          <ac:chgData name="EVELYNSM.YONG" userId="S::evelynsm.yong_gmail.com#ext#@risebcg.onmicrosoft.com::67a27a72-2420-4d38-b745-316a53f4b99a" providerId="AD" clId="Web-{E369CB37-3068-47E4-AD90-1DEAD92C8B6F}" dt="2022-01-08T12:10:04.358" v="137"/>
          <ac:spMkLst>
            <pc:docMk/>
            <pc:sldMk cId="4084366951" sldId="318"/>
            <ac:spMk id="20" creationId="{FD3BCB8E-6B17-4F0A-A7A8-AA17BE71B8A2}"/>
          </ac:spMkLst>
        </pc:spChg>
        <pc:spChg chg="del mod">
          <ac:chgData name="EVELYNSM.YONG" userId="S::evelynsm.yong_gmail.com#ext#@risebcg.onmicrosoft.com::67a27a72-2420-4d38-b745-316a53f4b99a" providerId="AD" clId="Web-{E369CB37-3068-47E4-AD90-1DEAD92C8B6F}" dt="2022-01-08T12:10:03.045" v="136"/>
          <ac:spMkLst>
            <pc:docMk/>
            <pc:sldMk cId="4084366951" sldId="318"/>
            <ac:spMk id="21" creationId="{35D5CD39-ED1A-4202-9FEE-144C7FF14574}"/>
          </ac:spMkLst>
        </pc:spChg>
        <pc:spChg chg="add del mod">
          <ac:chgData name="EVELYNSM.YONG" userId="S::evelynsm.yong_gmail.com#ext#@risebcg.onmicrosoft.com::67a27a72-2420-4d38-b745-316a53f4b99a" providerId="AD" clId="Web-{E369CB37-3068-47E4-AD90-1DEAD92C8B6F}" dt="2022-01-08T11:57:05.965" v="49"/>
          <ac:spMkLst>
            <pc:docMk/>
            <pc:sldMk cId="4084366951" sldId="318"/>
            <ac:spMk id="25" creationId="{D8E2CB21-A832-458E-B0D8-463B2179D04D}"/>
          </ac:spMkLst>
        </pc:spChg>
        <pc:spChg chg="add mod">
          <ac:chgData name="EVELYNSM.YONG" userId="S::evelynsm.yong_gmail.com#ext#@risebcg.onmicrosoft.com::67a27a72-2420-4d38-b745-316a53f4b99a" providerId="AD" clId="Web-{E369CB37-3068-47E4-AD90-1DEAD92C8B6F}" dt="2022-01-08T14:10:48.455" v="753" actId="14100"/>
          <ac:spMkLst>
            <pc:docMk/>
            <pc:sldMk cId="4084366951" sldId="318"/>
            <ac:spMk id="27" creationId="{1085EEA4-0F74-4601-B0CF-FE2599EB9A10}"/>
          </ac:spMkLst>
        </pc:spChg>
        <pc:spChg chg="add mod">
          <ac:chgData name="EVELYNSM.YONG" userId="S::evelynsm.yong_gmail.com#ext#@risebcg.onmicrosoft.com::67a27a72-2420-4d38-b745-316a53f4b99a" providerId="AD" clId="Web-{E369CB37-3068-47E4-AD90-1DEAD92C8B6F}" dt="2022-01-08T12:10:08.280" v="139" actId="1076"/>
          <ac:spMkLst>
            <pc:docMk/>
            <pc:sldMk cId="4084366951" sldId="318"/>
            <ac:spMk id="28" creationId="{28FDC5A9-3EE3-4145-B1B8-3B46F9314E01}"/>
          </ac:spMkLst>
        </pc:spChg>
        <pc:spChg chg="add mod">
          <ac:chgData name="EVELYNSM.YONG" userId="S::evelynsm.yong_gmail.com#ext#@risebcg.onmicrosoft.com::67a27a72-2420-4d38-b745-316a53f4b99a" providerId="AD" clId="Web-{E369CB37-3068-47E4-AD90-1DEAD92C8B6F}" dt="2022-01-08T12:10:29.421" v="144" actId="1076"/>
          <ac:spMkLst>
            <pc:docMk/>
            <pc:sldMk cId="4084366951" sldId="318"/>
            <ac:spMk id="29" creationId="{A24DC5B5-6F7A-4616-BD21-B8AEE8EC67D9}"/>
          </ac:spMkLst>
        </pc:spChg>
        <pc:spChg chg="add mod">
          <ac:chgData name="EVELYNSM.YONG" userId="S::evelynsm.yong_gmail.com#ext#@risebcg.onmicrosoft.com::67a27a72-2420-4d38-b745-316a53f4b99a" providerId="AD" clId="Web-{E369CB37-3068-47E4-AD90-1DEAD92C8B6F}" dt="2022-01-08T12:01:59.581" v="88" actId="14100"/>
          <ac:spMkLst>
            <pc:docMk/>
            <pc:sldMk cId="4084366951" sldId="318"/>
            <ac:spMk id="30" creationId="{39B859B5-CE34-419F-BA1D-82EA5502A6AE}"/>
          </ac:spMkLst>
        </pc:spChg>
        <pc:spChg chg="add mod">
          <ac:chgData name="EVELYNSM.YONG" userId="S::evelynsm.yong_gmail.com#ext#@risebcg.onmicrosoft.com::67a27a72-2420-4d38-b745-316a53f4b99a" providerId="AD" clId="Web-{E369CB37-3068-47E4-AD90-1DEAD92C8B6F}" dt="2022-01-08T16:01:52.916" v="2310" actId="14100"/>
          <ac:spMkLst>
            <pc:docMk/>
            <pc:sldMk cId="4084366951" sldId="318"/>
            <ac:spMk id="32" creationId="{41E099E5-F68B-4939-9F7A-B9CC2E5F333A}"/>
          </ac:spMkLst>
        </pc:spChg>
        <pc:spChg chg="add mod">
          <ac:chgData name="EVELYNSM.YONG" userId="S::evelynsm.yong_gmail.com#ext#@risebcg.onmicrosoft.com::67a27a72-2420-4d38-b745-316a53f4b99a" providerId="AD" clId="Web-{E369CB37-3068-47E4-AD90-1DEAD92C8B6F}" dt="2022-01-08T16:01:35.634" v="2306" actId="1076"/>
          <ac:spMkLst>
            <pc:docMk/>
            <pc:sldMk cId="4084366951" sldId="318"/>
            <ac:spMk id="36" creationId="{F7D95DB6-AB55-4004-B0F3-E52A8FA9E4EF}"/>
          </ac:spMkLst>
        </pc:spChg>
        <pc:grpChg chg="add mod">
          <ac:chgData name="EVELYNSM.YONG" userId="S::evelynsm.yong_gmail.com#ext#@risebcg.onmicrosoft.com::67a27a72-2420-4d38-b745-316a53f4b99a" providerId="AD" clId="Web-{E369CB37-3068-47E4-AD90-1DEAD92C8B6F}" dt="2022-01-08T13:52:21.289" v="577" actId="1076"/>
          <ac:grpSpMkLst>
            <pc:docMk/>
            <pc:sldMk cId="4084366951" sldId="318"/>
            <ac:grpSpMk id="33" creationId="{1A60CE19-5118-4A2B-9381-1DE6CC5D1F64}"/>
          </ac:grpSpMkLst>
        </pc:grpChg>
        <pc:grpChg chg="add mod">
          <ac:chgData name="EVELYNSM.YONG" userId="S::evelynsm.yong_gmail.com#ext#@risebcg.onmicrosoft.com::67a27a72-2420-4d38-b745-316a53f4b99a" providerId="AD" clId="Web-{E369CB37-3068-47E4-AD90-1DEAD92C8B6F}" dt="2022-01-08T12:21:38.733" v="202" actId="1076"/>
          <ac:grpSpMkLst>
            <pc:docMk/>
            <pc:sldMk cId="4084366951" sldId="318"/>
            <ac:grpSpMk id="34" creationId="{05607143-7AC4-4585-8FF1-3A1245EE3DDE}"/>
          </ac:grpSpMkLst>
        </pc:grpChg>
        <pc:picChg chg="mod">
          <ac:chgData name="EVELYNSM.YONG" userId="S::evelynsm.yong_gmail.com#ext#@risebcg.onmicrosoft.com::67a27a72-2420-4d38-b745-316a53f4b99a" providerId="AD" clId="Web-{E369CB37-3068-47E4-AD90-1DEAD92C8B6F}" dt="2022-01-08T14:10:39.346" v="751" actId="1076"/>
          <ac:picMkLst>
            <pc:docMk/>
            <pc:sldMk cId="4084366951" sldId="318"/>
            <ac:picMk id="2" creationId="{A614BDB2-A87C-4D6E-B961-198BF7854FE2}"/>
          </ac:picMkLst>
        </pc:picChg>
        <pc:picChg chg="mod">
          <ac:chgData name="EVELYNSM.YONG" userId="S::evelynsm.yong_gmail.com#ext#@risebcg.onmicrosoft.com::67a27a72-2420-4d38-b745-316a53f4b99a" providerId="AD" clId="Web-{E369CB37-3068-47E4-AD90-1DEAD92C8B6F}" dt="2022-01-08T12:21:38.655" v="199" actId="1076"/>
          <ac:picMkLst>
            <pc:docMk/>
            <pc:sldMk cId="4084366951" sldId="318"/>
            <ac:picMk id="3" creationId="{4EA9D4D3-D6BE-4DD3-A185-A6287A9302E7}"/>
          </ac:picMkLst>
        </pc:picChg>
        <pc:picChg chg="mod">
          <ac:chgData name="EVELYNSM.YONG" userId="S::evelynsm.yong_gmail.com#ext#@risebcg.onmicrosoft.com::67a27a72-2420-4d38-b745-316a53f4b99a" providerId="AD" clId="Web-{E369CB37-3068-47E4-AD90-1DEAD92C8B6F}" dt="2022-01-08T11:57:30.840" v="54" actId="1076"/>
          <ac:picMkLst>
            <pc:docMk/>
            <pc:sldMk cId="4084366951" sldId="318"/>
            <ac:picMk id="9" creationId="{329F3741-BB5B-4CA9-80DC-60382768BE40}"/>
          </ac:picMkLst>
        </pc:picChg>
        <pc:picChg chg="mod">
          <ac:chgData name="EVELYNSM.YONG" userId="S::evelynsm.yong_gmail.com#ext#@risebcg.onmicrosoft.com::67a27a72-2420-4d38-b745-316a53f4b99a" providerId="AD" clId="Web-{E369CB37-3068-47E4-AD90-1DEAD92C8B6F}" dt="2022-01-08T12:21:38.687" v="200" actId="1076"/>
          <ac:picMkLst>
            <pc:docMk/>
            <pc:sldMk cId="4084366951" sldId="318"/>
            <ac:picMk id="11" creationId="{079CE0C2-D9FF-4DFE-967B-E9EFC7681473}"/>
          </ac:picMkLst>
        </pc:picChg>
        <pc:picChg chg="mod">
          <ac:chgData name="EVELYNSM.YONG" userId="S::evelynsm.yong_gmail.com#ext#@risebcg.onmicrosoft.com::67a27a72-2420-4d38-b745-316a53f4b99a" providerId="AD" clId="Web-{E369CB37-3068-47E4-AD90-1DEAD92C8B6F}" dt="2022-01-08T13:52:13.179" v="575"/>
          <ac:picMkLst>
            <pc:docMk/>
            <pc:sldMk cId="4084366951" sldId="318"/>
            <ac:picMk id="18" creationId="{01844450-929B-4C6F-8685-6FF3118F02E2}"/>
          </ac:picMkLst>
        </pc:picChg>
      </pc:sldChg>
      <pc:sldChg chg="addSp delSp modSp modNotes">
        <pc:chgData name="EVELYNSM.YONG" userId="S::evelynsm.yong_gmail.com#ext#@risebcg.onmicrosoft.com::67a27a72-2420-4d38-b745-316a53f4b99a" providerId="AD" clId="Web-{E369CB37-3068-47E4-AD90-1DEAD92C8B6F}" dt="2022-01-08T14:51:56.935" v="1315" actId="1076"/>
        <pc:sldMkLst>
          <pc:docMk/>
          <pc:sldMk cId="3666302761" sldId="324"/>
        </pc:sldMkLst>
        <pc:spChg chg="mod">
          <ac:chgData name="EVELYNSM.YONG" userId="S::evelynsm.yong_gmail.com#ext#@risebcg.onmicrosoft.com::67a27a72-2420-4d38-b745-316a53f4b99a" providerId="AD" clId="Web-{E369CB37-3068-47E4-AD90-1DEAD92C8B6F}" dt="2022-01-08T14:51:56.935" v="1315" actId="1076"/>
          <ac:spMkLst>
            <pc:docMk/>
            <pc:sldMk cId="3666302761" sldId="324"/>
            <ac:spMk id="5" creationId="{0A784A15-5CA4-4DDF-B588-22BE7AFBC9A8}"/>
          </ac:spMkLst>
        </pc:spChg>
        <pc:spChg chg="add mod">
          <ac:chgData name="EVELYNSM.YONG" userId="S::evelynsm.yong_gmail.com#ext#@risebcg.onmicrosoft.com::67a27a72-2420-4d38-b745-316a53f4b99a" providerId="AD" clId="Web-{E369CB37-3068-47E4-AD90-1DEAD92C8B6F}" dt="2022-01-08T14:49:39.463" v="1306" actId="1076"/>
          <ac:spMkLst>
            <pc:docMk/>
            <pc:sldMk cId="3666302761" sldId="324"/>
            <ac:spMk id="6" creationId="{2421FA36-AD2A-4740-8B15-775BD01D9062}"/>
          </ac:spMkLst>
        </pc:spChg>
        <pc:spChg chg="mod">
          <ac:chgData name="EVELYNSM.YONG" userId="S::evelynsm.yong_gmail.com#ext#@risebcg.onmicrosoft.com::67a27a72-2420-4d38-b745-316a53f4b99a" providerId="AD" clId="Web-{E369CB37-3068-47E4-AD90-1DEAD92C8B6F}" dt="2022-01-08T14:35:42.709" v="985" actId="20577"/>
          <ac:spMkLst>
            <pc:docMk/>
            <pc:sldMk cId="3666302761" sldId="324"/>
            <ac:spMk id="7" creationId="{5040411B-0A54-429E-94AB-0F4DA7C1917E}"/>
          </ac:spMkLst>
        </pc:spChg>
        <pc:spChg chg="del mod">
          <ac:chgData name="EVELYNSM.YONG" userId="S::evelynsm.yong_gmail.com#ext#@risebcg.onmicrosoft.com::67a27a72-2420-4d38-b745-316a53f4b99a" providerId="AD" clId="Web-{E369CB37-3068-47E4-AD90-1DEAD92C8B6F}" dt="2022-01-08T14:32:22.704" v="980"/>
          <ac:spMkLst>
            <pc:docMk/>
            <pc:sldMk cId="3666302761" sldId="324"/>
            <ac:spMk id="12" creationId="{844D08C5-3EE5-4BAC-9392-6CA8001CAD4E}"/>
          </ac:spMkLst>
        </pc:spChg>
        <pc:spChg chg="mod">
          <ac:chgData name="EVELYNSM.YONG" userId="S::evelynsm.yong_gmail.com#ext#@risebcg.onmicrosoft.com::67a27a72-2420-4d38-b745-316a53f4b99a" providerId="AD" clId="Web-{E369CB37-3068-47E4-AD90-1DEAD92C8B6F}" dt="2022-01-08T12:02:55.004" v="94"/>
          <ac:spMkLst>
            <pc:docMk/>
            <pc:sldMk cId="3666302761" sldId="324"/>
            <ac:spMk id="13" creationId="{003E35E4-DB87-4D35-8663-60FF12DD7B69}"/>
          </ac:spMkLst>
        </pc:spChg>
        <pc:spChg chg="mod">
          <ac:chgData name="EVELYNSM.YONG" userId="S::evelynsm.yong_gmail.com#ext#@risebcg.onmicrosoft.com::67a27a72-2420-4d38-b745-316a53f4b99a" providerId="AD" clId="Web-{E369CB37-3068-47E4-AD90-1DEAD92C8B6F}" dt="2022-01-08T12:03:27.286" v="99" actId="20577"/>
          <ac:spMkLst>
            <pc:docMk/>
            <pc:sldMk cId="3666302761" sldId="324"/>
            <ac:spMk id="14" creationId="{CD92118D-BCDA-4C90-B9D2-09972FA65EE3}"/>
          </ac:spMkLst>
        </pc:spChg>
        <pc:spChg chg="mod">
          <ac:chgData name="EVELYNSM.YONG" userId="S::evelynsm.yong_gmail.com#ext#@risebcg.onmicrosoft.com::67a27a72-2420-4d38-b745-316a53f4b99a" providerId="AD" clId="Web-{E369CB37-3068-47E4-AD90-1DEAD92C8B6F}" dt="2022-01-08T12:02:58.864" v="96"/>
          <ac:spMkLst>
            <pc:docMk/>
            <pc:sldMk cId="3666302761" sldId="324"/>
            <ac:spMk id="21" creationId="{46156451-ECB4-4520-895C-009D1F9E8343}"/>
          </ac:spMkLst>
        </pc:spChg>
        <pc:spChg chg="mod">
          <ac:chgData name="EVELYNSM.YONG" userId="S::evelynsm.yong_gmail.com#ext#@risebcg.onmicrosoft.com::67a27a72-2420-4d38-b745-316a53f4b99a" providerId="AD" clId="Web-{E369CB37-3068-47E4-AD90-1DEAD92C8B6F}" dt="2022-01-08T12:03:00.848" v="97"/>
          <ac:spMkLst>
            <pc:docMk/>
            <pc:sldMk cId="3666302761" sldId="324"/>
            <ac:spMk id="22" creationId="{C16AF6E1-B243-4B07-9F33-544B588862C6}"/>
          </ac:spMkLst>
        </pc:spChg>
        <pc:spChg chg="mod">
          <ac:chgData name="EVELYNSM.YONG" userId="S::evelynsm.yong_gmail.com#ext#@risebcg.onmicrosoft.com::67a27a72-2420-4d38-b745-316a53f4b99a" providerId="AD" clId="Web-{E369CB37-3068-47E4-AD90-1DEAD92C8B6F}" dt="2022-01-08T12:03:45.021" v="101" actId="20577"/>
          <ac:spMkLst>
            <pc:docMk/>
            <pc:sldMk cId="3666302761" sldId="324"/>
            <ac:spMk id="23" creationId="{437837FB-28C6-4D49-A0CB-199C96E6B187}"/>
          </ac:spMkLst>
        </pc:spChg>
        <pc:spChg chg="mod">
          <ac:chgData name="EVELYNSM.YONG" userId="S::evelynsm.yong_gmail.com#ext#@risebcg.onmicrosoft.com::67a27a72-2420-4d38-b745-316a53f4b99a" providerId="AD" clId="Web-{E369CB37-3068-47E4-AD90-1DEAD92C8B6F}" dt="2022-01-08T12:03:47.927" v="102" actId="20577"/>
          <ac:spMkLst>
            <pc:docMk/>
            <pc:sldMk cId="3666302761" sldId="324"/>
            <ac:spMk id="24" creationId="{3A5B42D3-2732-4D38-8D3A-233FB4F41BD0}"/>
          </ac:spMkLst>
        </pc:spChg>
        <pc:spChg chg="mod ord">
          <ac:chgData name="EVELYNSM.YONG" userId="S::evelynsm.yong_gmail.com#ext#@risebcg.onmicrosoft.com::67a27a72-2420-4d38-b745-316a53f4b99a" providerId="AD" clId="Web-{E369CB37-3068-47E4-AD90-1DEAD92C8B6F}" dt="2022-01-08T14:46:00.552" v="1235" actId="1076"/>
          <ac:spMkLst>
            <pc:docMk/>
            <pc:sldMk cId="3666302761" sldId="324"/>
            <ac:spMk id="25" creationId="{A72C66DB-3DFA-4DD0-BB16-94A4A31F5E94}"/>
          </ac:spMkLst>
        </pc:spChg>
        <pc:spChg chg="mod">
          <ac:chgData name="EVELYNSM.YONG" userId="S::evelynsm.yong_gmail.com#ext#@risebcg.onmicrosoft.com::67a27a72-2420-4d38-b745-316a53f4b99a" providerId="AD" clId="Web-{E369CB37-3068-47E4-AD90-1DEAD92C8B6F}" dt="2022-01-08T12:02:56.957" v="95"/>
          <ac:spMkLst>
            <pc:docMk/>
            <pc:sldMk cId="3666302761" sldId="324"/>
            <ac:spMk id="26" creationId="{22DD1760-D9EC-405F-9AAD-63EC690DC033}"/>
          </ac:spMkLst>
        </pc:spChg>
        <pc:spChg chg="mod">
          <ac:chgData name="EVELYNSM.YONG" userId="S::evelynsm.yong_gmail.com#ext#@risebcg.onmicrosoft.com::67a27a72-2420-4d38-b745-316a53f4b99a" providerId="AD" clId="Web-{E369CB37-3068-47E4-AD90-1DEAD92C8B6F}" dt="2022-01-08T12:03:39.302" v="100" actId="20577"/>
          <ac:spMkLst>
            <pc:docMk/>
            <pc:sldMk cId="3666302761" sldId="324"/>
            <ac:spMk id="27" creationId="{B2BF4484-08EE-483A-BA89-BC8EDC410538}"/>
          </ac:spMkLst>
        </pc:spChg>
        <pc:spChg chg="mod">
          <ac:chgData name="EVELYNSM.YONG" userId="S::evelynsm.yong_gmail.com#ext#@risebcg.onmicrosoft.com::67a27a72-2420-4d38-b745-316a53f4b99a" providerId="AD" clId="Web-{E369CB37-3068-47E4-AD90-1DEAD92C8B6F}" dt="2022-01-08T14:49:22.385" v="1303" actId="1076"/>
          <ac:spMkLst>
            <pc:docMk/>
            <pc:sldMk cId="3666302761" sldId="324"/>
            <ac:spMk id="28" creationId="{5BEF8CBE-6A99-4BE1-8789-ABAC27A176FF}"/>
          </ac:spMkLst>
        </pc:spChg>
        <pc:picChg chg="mod">
          <ac:chgData name="EVELYNSM.YONG" userId="S::evelynsm.yong_gmail.com#ext#@risebcg.onmicrosoft.com::67a27a72-2420-4d38-b745-316a53f4b99a" providerId="AD" clId="Web-{E369CB37-3068-47E4-AD90-1DEAD92C8B6F}" dt="2022-01-08T14:49:35.557" v="1304" actId="1076"/>
          <ac:picMkLst>
            <pc:docMk/>
            <pc:sldMk cId="3666302761" sldId="324"/>
            <ac:picMk id="15" creationId="{5D59DB1C-172C-47ED-95FD-1E3F001466CE}"/>
          </ac:picMkLst>
        </pc:picChg>
      </pc:sldChg>
      <pc:sldChg chg="addSp delSp modSp modNotes">
        <pc:chgData name="EVELYNSM.YONG" userId="S::evelynsm.yong_gmail.com#ext#@risebcg.onmicrosoft.com::67a27a72-2420-4d38-b745-316a53f4b99a" providerId="AD" clId="Web-{E369CB37-3068-47E4-AD90-1DEAD92C8B6F}" dt="2022-01-08T14:54:02.922" v="1327" actId="1076"/>
        <pc:sldMkLst>
          <pc:docMk/>
          <pc:sldMk cId="2316358039" sldId="325"/>
        </pc:sldMkLst>
        <pc:spChg chg="mod">
          <ac:chgData name="EVELYNSM.YONG" userId="S::evelynsm.yong_gmail.com#ext#@risebcg.onmicrosoft.com::67a27a72-2420-4d38-b745-316a53f4b99a" providerId="AD" clId="Web-{E369CB37-3068-47E4-AD90-1DEAD92C8B6F}" dt="2022-01-08T12:02:13.628" v="89"/>
          <ac:spMkLst>
            <pc:docMk/>
            <pc:sldMk cId="2316358039" sldId="325"/>
            <ac:spMk id="3" creationId="{424AF61A-30BE-4BE9-9F56-D2497C21C355}"/>
          </ac:spMkLst>
        </pc:spChg>
        <pc:spChg chg="mod">
          <ac:chgData name="EVELYNSM.YONG" userId="S::evelynsm.yong_gmail.com#ext#@risebcg.onmicrosoft.com::67a27a72-2420-4d38-b745-316a53f4b99a" providerId="AD" clId="Web-{E369CB37-3068-47E4-AD90-1DEAD92C8B6F}" dt="2022-01-08T14:15:55.572" v="855" actId="14100"/>
          <ac:spMkLst>
            <pc:docMk/>
            <pc:sldMk cId="2316358039" sldId="325"/>
            <ac:spMk id="5" creationId="{66362E8C-07A8-4B97-87C8-091A9FDB599A}"/>
          </ac:spMkLst>
        </pc:spChg>
        <pc:spChg chg="add mod">
          <ac:chgData name="EVELYNSM.YONG" userId="S::evelynsm.yong_gmail.com#ext#@risebcg.onmicrosoft.com::67a27a72-2420-4d38-b745-316a53f4b99a" providerId="AD" clId="Web-{E369CB37-3068-47E4-AD90-1DEAD92C8B6F}" dt="2022-01-08T14:53:49.781" v="1325" actId="14100"/>
          <ac:spMkLst>
            <pc:docMk/>
            <pc:sldMk cId="2316358039" sldId="325"/>
            <ac:spMk id="6" creationId="{208993E5-B009-40A8-BC89-286E139EA12D}"/>
          </ac:spMkLst>
        </pc:spChg>
        <pc:spChg chg="add mod">
          <ac:chgData name="EVELYNSM.YONG" userId="S::evelynsm.yong_gmail.com#ext#@risebcg.onmicrosoft.com::67a27a72-2420-4d38-b745-316a53f4b99a" providerId="AD" clId="Web-{E369CB37-3068-47E4-AD90-1DEAD92C8B6F}" dt="2022-01-08T14:54:02.922" v="1327" actId="1076"/>
          <ac:spMkLst>
            <pc:docMk/>
            <pc:sldMk cId="2316358039" sldId="325"/>
            <ac:spMk id="7" creationId="{94FE5CC3-34DB-4563-9D82-37FBEA4166BF}"/>
          </ac:spMkLst>
        </pc:spChg>
        <pc:spChg chg="del mod">
          <ac:chgData name="EVELYNSM.YONG" userId="S::evelynsm.yong_gmail.com#ext#@risebcg.onmicrosoft.com::67a27a72-2420-4d38-b745-316a53f4b99a" providerId="AD" clId="Web-{E369CB37-3068-47E4-AD90-1DEAD92C8B6F}" dt="2022-01-08T14:53:31.375" v="1321"/>
          <ac:spMkLst>
            <pc:docMk/>
            <pc:sldMk cId="2316358039" sldId="325"/>
            <ac:spMk id="9" creationId="{CE26EE87-2792-4EC3-8D5C-A7F50F434726}"/>
          </ac:spMkLst>
        </pc:spChg>
        <pc:picChg chg="mod modCrop">
          <ac:chgData name="EVELYNSM.YONG" userId="S::evelynsm.yong_gmail.com#ext#@risebcg.onmicrosoft.com::67a27a72-2420-4d38-b745-316a53f4b99a" providerId="AD" clId="Web-{E369CB37-3068-47E4-AD90-1DEAD92C8B6F}" dt="2022-01-08T14:53:39.219" v="1323" actId="14100"/>
          <ac:picMkLst>
            <pc:docMk/>
            <pc:sldMk cId="2316358039" sldId="325"/>
            <ac:picMk id="2" creationId="{69CF128B-0B09-4BF1-B2CA-1BA877B1F78B}"/>
          </ac:picMkLst>
        </pc:picChg>
      </pc:sldChg>
      <pc:sldChg chg="addSp delSp modSp">
        <pc:chgData name="EVELYNSM.YONG" userId="S::evelynsm.yong_gmail.com#ext#@risebcg.onmicrosoft.com::67a27a72-2420-4d38-b745-316a53f4b99a" providerId="AD" clId="Web-{E369CB37-3068-47E4-AD90-1DEAD92C8B6F}" dt="2022-01-08T14:59:25.367" v="1331" actId="20577"/>
        <pc:sldMkLst>
          <pc:docMk/>
          <pc:sldMk cId="2160415509" sldId="326"/>
        </pc:sldMkLst>
        <pc:spChg chg="mod">
          <ac:chgData name="EVELYNSM.YONG" userId="S::evelynsm.yong_gmail.com#ext#@risebcg.onmicrosoft.com::67a27a72-2420-4d38-b745-316a53f4b99a" providerId="AD" clId="Web-{E369CB37-3068-47E4-AD90-1DEAD92C8B6F}" dt="2022-01-08T14:41:25.623" v="1137" actId="20577"/>
          <ac:spMkLst>
            <pc:docMk/>
            <pc:sldMk cId="2160415509" sldId="326"/>
            <ac:spMk id="2" creationId="{ED14AA63-35D8-4136-8B2F-DE1837A583A2}"/>
          </ac:spMkLst>
        </pc:spChg>
        <pc:spChg chg="del">
          <ac:chgData name="EVELYNSM.YONG" userId="S::evelynsm.yong_gmail.com#ext#@risebcg.onmicrosoft.com::67a27a72-2420-4d38-b745-316a53f4b99a" providerId="AD" clId="Web-{E369CB37-3068-47E4-AD90-1DEAD92C8B6F}" dt="2022-01-08T14:39:42.793" v="1105"/>
          <ac:spMkLst>
            <pc:docMk/>
            <pc:sldMk cId="2160415509" sldId="326"/>
            <ac:spMk id="3" creationId="{2A938E9D-39F3-463F-BEAD-B91F6168A34D}"/>
          </ac:spMkLst>
        </pc:spChg>
        <pc:spChg chg="mod">
          <ac:chgData name="EVELYNSM.YONG" userId="S::evelynsm.yong_gmail.com#ext#@risebcg.onmicrosoft.com::67a27a72-2420-4d38-b745-316a53f4b99a" providerId="AD" clId="Web-{E369CB37-3068-47E4-AD90-1DEAD92C8B6F}" dt="2022-01-08T14:59:25.367" v="1331" actId="20577"/>
          <ac:spMkLst>
            <pc:docMk/>
            <pc:sldMk cId="2160415509" sldId="326"/>
            <ac:spMk id="4" creationId="{215644EC-E1A2-4B5F-BA53-79EB189605EC}"/>
          </ac:spMkLst>
        </pc:spChg>
        <pc:spChg chg="add mod">
          <ac:chgData name="EVELYNSM.YONG" userId="S::evelynsm.yong_gmail.com#ext#@risebcg.onmicrosoft.com::67a27a72-2420-4d38-b745-316a53f4b99a" providerId="AD" clId="Web-{E369CB37-3068-47E4-AD90-1DEAD92C8B6F}" dt="2022-01-08T14:41:07.920" v="1129" actId="14100"/>
          <ac:spMkLst>
            <pc:docMk/>
            <pc:sldMk cId="2160415509" sldId="326"/>
            <ac:spMk id="7" creationId="{EE72E06D-8EAE-4242-B1FE-DB5A60BCC68C}"/>
          </ac:spMkLst>
        </pc:spChg>
        <pc:spChg chg="add del">
          <ac:chgData name="EVELYNSM.YONG" userId="S::evelynsm.yong_gmail.com#ext#@risebcg.onmicrosoft.com::67a27a72-2420-4d38-b745-316a53f4b99a" providerId="AD" clId="Web-{E369CB37-3068-47E4-AD90-1DEAD92C8B6F}" dt="2022-01-08T14:43:27.736" v="1203"/>
          <ac:spMkLst>
            <pc:docMk/>
            <pc:sldMk cId="2160415509" sldId="326"/>
            <ac:spMk id="9" creationId="{D8A1EB4B-7628-48A8-9C65-8800363A8379}"/>
          </ac:spMkLst>
        </pc:spChg>
        <pc:spChg chg="add mod">
          <ac:chgData name="EVELYNSM.YONG" userId="S::evelynsm.yong_gmail.com#ext#@risebcg.onmicrosoft.com::67a27a72-2420-4d38-b745-316a53f4b99a" providerId="AD" clId="Web-{E369CB37-3068-47E4-AD90-1DEAD92C8B6F}" dt="2022-01-08T14:43:50.392" v="1207" actId="1076"/>
          <ac:spMkLst>
            <pc:docMk/>
            <pc:sldMk cId="2160415509" sldId="326"/>
            <ac:spMk id="11" creationId="{7A860165-0B15-49E4-A7ED-826D9540D919}"/>
          </ac:spMkLst>
        </pc:spChg>
        <pc:spChg chg="del">
          <ac:chgData name="EVELYNSM.YONG" userId="S::evelynsm.yong_gmail.com#ext#@risebcg.onmicrosoft.com::67a27a72-2420-4d38-b745-316a53f4b99a" providerId="AD" clId="Web-{E369CB37-3068-47E4-AD90-1DEAD92C8B6F}" dt="2022-01-08T14:16:19.869" v="858"/>
          <ac:spMkLst>
            <pc:docMk/>
            <pc:sldMk cId="2160415509" sldId="326"/>
            <ac:spMk id="15" creationId="{AAF3EE67-387A-430E-A8DA-4FF50FD506BC}"/>
          </ac:spMkLst>
        </pc:spChg>
        <pc:picChg chg="mod">
          <ac:chgData name="EVELYNSM.YONG" userId="S::evelynsm.yong_gmail.com#ext#@risebcg.onmicrosoft.com::67a27a72-2420-4d38-b745-316a53f4b99a" providerId="AD" clId="Web-{E369CB37-3068-47E4-AD90-1DEAD92C8B6F}" dt="2022-01-08T14:16:34.495" v="860"/>
          <ac:picMkLst>
            <pc:docMk/>
            <pc:sldMk cId="2160415509" sldId="326"/>
            <ac:picMk id="5" creationId="{8D9C3E5E-0B98-4B88-BFAE-486A9BD232FA}"/>
          </ac:picMkLst>
        </pc:picChg>
        <pc:picChg chg="mod">
          <ac:chgData name="EVELYNSM.YONG" userId="S::evelynsm.yong_gmail.com#ext#@risebcg.onmicrosoft.com::67a27a72-2420-4d38-b745-316a53f4b99a" providerId="AD" clId="Web-{E369CB37-3068-47E4-AD90-1DEAD92C8B6F}" dt="2022-01-08T14:55:20.893" v="1329" actId="14100"/>
          <ac:picMkLst>
            <pc:docMk/>
            <pc:sldMk cId="2160415509" sldId="326"/>
            <ac:picMk id="6" creationId="{BFC712DB-8FC7-4ACB-AF6D-D3D38470A4A2}"/>
          </ac:picMkLst>
        </pc:picChg>
        <pc:picChg chg="add del">
          <ac:chgData name="EVELYNSM.YONG" userId="S::evelynsm.yong_gmail.com#ext#@risebcg.onmicrosoft.com::67a27a72-2420-4d38-b745-316a53f4b99a" providerId="AD" clId="Web-{E369CB37-3068-47E4-AD90-1DEAD92C8B6F}" dt="2022-01-08T14:43:27.736" v="1204"/>
          <ac:picMkLst>
            <pc:docMk/>
            <pc:sldMk cId="2160415509" sldId="326"/>
            <ac:picMk id="8" creationId="{8EAC5815-EFDC-4BD8-8A2C-464345035089}"/>
          </ac:picMkLst>
        </pc:picChg>
      </pc:sldChg>
      <pc:sldChg chg="modSp">
        <pc:chgData name="EVELYNSM.YONG" userId="S::evelynsm.yong_gmail.com#ext#@risebcg.onmicrosoft.com::67a27a72-2420-4d38-b745-316a53f4b99a" providerId="AD" clId="Web-{E369CB37-3068-47E4-AD90-1DEAD92C8B6F}" dt="2022-01-08T16:32:10.989" v="2640" actId="14100"/>
        <pc:sldMkLst>
          <pc:docMk/>
          <pc:sldMk cId="416007632" sldId="327"/>
        </pc:sldMkLst>
        <pc:spChg chg="mod">
          <ac:chgData name="EVELYNSM.YONG" userId="S::evelynsm.yong_gmail.com#ext#@risebcg.onmicrosoft.com::67a27a72-2420-4d38-b745-316a53f4b99a" providerId="AD" clId="Web-{E369CB37-3068-47E4-AD90-1DEAD92C8B6F}" dt="2022-01-08T16:32:10.989" v="2640" actId="14100"/>
          <ac:spMkLst>
            <pc:docMk/>
            <pc:sldMk cId="416007632" sldId="327"/>
            <ac:spMk id="37" creationId="{1AA86EF9-D1F2-488E-902B-9C25FAEFDD52}"/>
          </ac:spMkLst>
        </pc:spChg>
      </pc:sldChg>
      <pc:sldChg chg="addSp delSp modSp">
        <pc:chgData name="EVELYNSM.YONG" userId="S::evelynsm.yong_gmail.com#ext#@risebcg.onmicrosoft.com::67a27a72-2420-4d38-b745-316a53f4b99a" providerId="AD" clId="Web-{E369CB37-3068-47E4-AD90-1DEAD92C8B6F}" dt="2022-01-08T16:23:17.852" v="2547" actId="14100"/>
        <pc:sldMkLst>
          <pc:docMk/>
          <pc:sldMk cId="1249418479" sldId="334"/>
        </pc:sldMkLst>
        <pc:spChg chg="mod">
          <ac:chgData name="EVELYNSM.YONG" userId="S::evelynsm.yong_gmail.com#ext#@risebcg.onmicrosoft.com::67a27a72-2420-4d38-b745-316a53f4b99a" providerId="AD" clId="Web-{E369CB37-3068-47E4-AD90-1DEAD92C8B6F}" dt="2022-01-08T12:22:59.392" v="226" actId="20577"/>
          <ac:spMkLst>
            <pc:docMk/>
            <pc:sldMk cId="1249418479" sldId="334"/>
            <ac:spMk id="2" creationId="{1CAEE4F4-60D4-46CA-A79F-1CD22235EEA0}"/>
          </ac:spMkLst>
        </pc:spChg>
        <pc:spChg chg="mod">
          <ac:chgData name="EVELYNSM.YONG" userId="S::evelynsm.yong_gmail.com#ext#@risebcg.onmicrosoft.com::67a27a72-2420-4d38-b745-316a53f4b99a" providerId="AD" clId="Web-{E369CB37-3068-47E4-AD90-1DEAD92C8B6F}" dt="2022-01-08T16:23:05.977" v="2544" actId="1076"/>
          <ac:spMkLst>
            <pc:docMk/>
            <pc:sldMk cId="1249418479" sldId="334"/>
            <ac:spMk id="4" creationId="{E46E2F92-A159-4912-84AA-DB46BFE3D9EB}"/>
          </ac:spMkLst>
        </pc:spChg>
        <pc:spChg chg="del mod">
          <ac:chgData name="EVELYNSM.YONG" userId="S::evelynsm.yong_gmail.com#ext#@risebcg.onmicrosoft.com::67a27a72-2420-4d38-b745-316a53f4b99a" providerId="AD" clId="Web-{E369CB37-3068-47E4-AD90-1DEAD92C8B6F}" dt="2022-01-08T13:45:56.967" v="432"/>
          <ac:spMkLst>
            <pc:docMk/>
            <pc:sldMk cId="1249418479" sldId="334"/>
            <ac:spMk id="11" creationId="{662CF00E-7074-47A1-AC23-D8720DE006B4}"/>
          </ac:spMkLst>
        </pc:spChg>
        <pc:spChg chg="add mod">
          <ac:chgData name="EVELYNSM.YONG" userId="S::evelynsm.yong_gmail.com#ext#@risebcg.onmicrosoft.com::67a27a72-2420-4d38-b745-316a53f4b99a" providerId="AD" clId="Web-{E369CB37-3068-47E4-AD90-1DEAD92C8B6F}" dt="2022-01-08T16:23:02.508" v="2543" actId="14100"/>
          <ac:spMkLst>
            <pc:docMk/>
            <pc:sldMk cId="1249418479" sldId="334"/>
            <ac:spMk id="13" creationId="{FBC020E8-35CC-4608-825A-F2C3D7F17A69}"/>
          </ac:spMkLst>
        </pc:spChg>
        <pc:spChg chg="add mod ord">
          <ac:chgData name="EVELYNSM.YONG" userId="S::evelynsm.yong_gmail.com#ext#@risebcg.onmicrosoft.com::67a27a72-2420-4d38-b745-316a53f4b99a" providerId="AD" clId="Web-{E369CB37-3068-47E4-AD90-1DEAD92C8B6F}" dt="2022-01-08T16:18:16.548" v="2511"/>
          <ac:spMkLst>
            <pc:docMk/>
            <pc:sldMk cId="1249418479" sldId="334"/>
            <ac:spMk id="14" creationId="{DE96116D-A890-4EBF-BAFB-3F4B23F0096C}"/>
          </ac:spMkLst>
        </pc:spChg>
        <pc:spChg chg="add mod">
          <ac:chgData name="EVELYNSM.YONG" userId="S::evelynsm.yong_gmail.com#ext#@risebcg.onmicrosoft.com::67a27a72-2420-4d38-b745-316a53f4b99a" providerId="AD" clId="Web-{E369CB37-3068-47E4-AD90-1DEAD92C8B6F}" dt="2022-01-08T16:05:13.514" v="2352" actId="14100"/>
          <ac:spMkLst>
            <pc:docMk/>
            <pc:sldMk cId="1249418479" sldId="334"/>
            <ac:spMk id="19" creationId="{ED181DE7-5237-45A4-9F61-2873C0724F7B}"/>
          </ac:spMkLst>
        </pc:spChg>
        <pc:picChg chg="add del mod">
          <ac:chgData name="EVELYNSM.YONG" userId="S::evelynsm.yong_gmail.com#ext#@risebcg.onmicrosoft.com::67a27a72-2420-4d38-b745-316a53f4b99a" providerId="AD" clId="Web-{E369CB37-3068-47E4-AD90-1DEAD92C8B6F}" dt="2022-01-08T16:14:21.324" v="2483"/>
          <ac:picMkLst>
            <pc:docMk/>
            <pc:sldMk cId="1249418479" sldId="334"/>
            <ac:picMk id="3" creationId="{B278469D-20E4-4736-BDFE-B98D25197628}"/>
          </ac:picMkLst>
        </pc:picChg>
        <pc:picChg chg="add mod ord">
          <ac:chgData name="EVELYNSM.YONG" userId="S::evelynsm.yong_gmail.com#ext#@risebcg.onmicrosoft.com::67a27a72-2420-4d38-b745-316a53f4b99a" providerId="AD" clId="Web-{E369CB37-3068-47E4-AD90-1DEAD92C8B6F}" dt="2022-01-08T16:22:52.429" v="2542"/>
          <ac:picMkLst>
            <pc:docMk/>
            <pc:sldMk cId="1249418479" sldId="334"/>
            <ac:picMk id="3" creationId="{BB0FEA3F-D819-4B77-A827-0CADCE750344}"/>
          </ac:picMkLst>
        </pc:picChg>
        <pc:picChg chg="add del mod">
          <ac:chgData name="EVELYNSM.YONG" userId="S::evelynsm.yong_gmail.com#ext#@risebcg.onmicrosoft.com::67a27a72-2420-4d38-b745-316a53f4b99a" providerId="AD" clId="Web-{E369CB37-3068-47E4-AD90-1DEAD92C8B6F}" dt="2022-01-08T13:53:01.196" v="578"/>
          <ac:picMkLst>
            <pc:docMk/>
            <pc:sldMk cId="1249418479" sldId="334"/>
            <ac:picMk id="9" creationId="{09C03CC9-3D6E-45D8-905A-C71744F36B23}"/>
          </ac:picMkLst>
        </pc:picChg>
        <pc:picChg chg="add mod ord">
          <ac:chgData name="EVELYNSM.YONG" userId="S::evelynsm.yong_gmail.com#ext#@risebcg.onmicrosoft.com::67a27a72-2420-4d38-b745-316a53f4b99a" providerId="AD" clId="Web-{E369CB37-3068-47E4-AD90-1DEAD92C8B6F}" dt="2022-01-08T16:22:46.507" v="2541" actId="14100"/>
          <ac:picMkLst>
            <pc:docMk/>
            <pc:sldMk cId="1249418479" sldId="334"/>
            <ac:picMk id="9" creationId="{4808EF87-719E-4DC9-AB3F-F94B7F635A80}"/>
          </ac:picMkLst>
        </pc:picChg>
        <pc:picChg chg="add del mod ord">
          <ac:chgData name="EVELYNSM.YONG" userId="S::evelynsm.yong_gmail.com#ext#@risebcg.onmicrosoft.com::67a27a72-2420-4d38-b745-316a53f4b99a" providerId="AD" clId="Web-{E369CB37-3068-47E4-AD90-1DEAD92C8B6F}" dt="2022-01-08T14:18:53.232" v="890"/>
          <ac:picMkLst>
            <pc:docMk/>
            <pc:sldMk cId="1249418479" sldId="334"/>
            <ac:picMk id="10" creationId="{2FBA1C46-B222-4317-9257-B60D86080B83}"/>
          </ac:picMkLst>
        </pc:picChg>
        <pc:picChg chg="add del mod ord modCrop">
          <ac:chgData name="EVELYNSM.YONG" userId="S::evelynsm.yong_gmail.com#ext#@risebcg.onmicrosoft.com::67a27a72-2420-4d38-b745-316a53f4b99a" providerId="AD" clId="Web-{E369CB37-3068-47E4-AD90-1DEAD92C8B6F}" dt="2022-01-08T16:18:07.595" v="2509"/>
          <ac:picMkLst>
            <pc:docMk/>
            <pc:sldMk cId="1249418479" sldId="334"/>
            <ac:picMk id="18" creationId="{F58E345A-8639-400C-A429-D1DBBE0490BA}"/>
          </ac:picMkLst>
        </pc:picChg>
        <pc:picChg chg="add del mod ord">
          <ac:chgData name="EVELYNSM.YONG" userId="S::evelynsm.yong_gmail.com#ext#@risebcg.onmicrosoft.com::67a27a72-2420-4d38-b745-316a53f4b99a" providerId="AD" clId="Web-{E369CB37-3068-47E4-AD90-1DEAD92C8B6F}" dt="2022-01-08T16:21:00.161" v="2518"/>
          <ac:picMkLst>
            <pc:docMk/>
            <pc:sldMk cId="1249418479" sldId="334"/>
            <ac:picMk id="20" creationId="{1CC4F72F-73CC-4B65-8E6F-143B225F52E6}"/>
          </ac:picMkLst>
        </pc:picChg>
        <pc:picChg chg="add del mod">
          <ac:chgData name="EVELYNSM.YONG" userId="S::evelynsm.yong_gmail.com#ext#@risebcg.onmicrosoft.com::67a27a72-2420-4d38-b745-316a53f4b99a" providerId="AD" clId="Web-{E369CB37-3068-47E4-AD90-1DEAD92C8B6F}" dt="2022-01-08T16:19:01.018" v="2515"/>
          <ac:picMkLst>
            <pc:docMk/>
            <pc:sldMk cId="1249418479" sldId="334"/>
            <ac:picMk id="21" creationId="{043D9F2E-E3D3-4AFE-B0B4-4932315FF355}"/>
          </ac:picMkLst>
        </pc:picChg>
        <pc:cxnChg chg="add mod">
          <ac:chgData name="EVELYNSM.YONG" userId="S::evelynsm.yong_gmail.com#ext#@risebcg.onmicrosoft.com::67a27a72-2420-4d38-b745-316a53f4b99a" providerId="AD" clId="Web-{E369CB37-3068-47E4-AD90-1DEAD92C8B6F}" dt="2022-01-08T16:23:17.852" v="2547" actId="14100"/>
          <ac:cxnSpMkLst>
            <pc:docMk/>
            <pc:sldMk cId="1249418479" sldId="334"/>
            <ac:cxnSpMk id="15" creationId="{2522F95F-F659-4F93-A324-7ADD484F38A6}"/>
          </ac:cxnSpMkLst>
        </pc:cxnChg>
        <pc:cxnChg chg="add del mod">
          <ac:chgData name="EVELYNSM.YONG" userId="S::evelynsm.yong_gmail.com#ext#@risebcg.onmicrosoft.com::67a27a72-2420-4d38-b745-316a53f4b99a" providerId="AD" clId="Web-{E369CB37-3068-47E4-AD90-1DEAD92C8B6F}" dt="2022-01-08T13:58:52.345" v="637"/>
          <ac:cxnSpMkLst>
            <pc:docMk/>
            <pc:sldMk cId="1249418479" sldId="334"/>
            <ac:cxnSpMk id="16" creationId="{889435DC-0012-4D64-AF5F-7313A0EC512A}"/>
          </ac:cxnSpMkLst>
        </pc:cxnChg>
        <pc:cxnChg chg="add mod">
          <ac:chgData name="EVELYNSM.YONG" userId="S::evelynsm.yong_gmail.com#ext#@risebcg.onmicrosoft.com::67a27a72-2420-4d38-b745-316a53f4b99a" providerId="AD" clId="Web-{E369CB37-3068-47E4-AD90-1DEAD92C8B6F}" dt="2022-01-08T16:23:13.227" v="2546" actId="14100"/>
          <ac:cxnSpMkLst>
            <pc:docMk/>
            <pc:sldMk cId="1249418479" sldId="334"/>
            <ac:cxnSpMk id="17" creationId="{D1E24D10-25A9-42F6-B4A4-852E1CB8541C}"/>
          </ac:cxnSpMkLst>
        </pc:cxnChg>
      </pc:sldChg>
      <pc:sldChg chg="delSp modSp">
        <pc:chgData name="EVELYNSM.YONG" userId="S::evelynsm.yong_gmail.com#ext#@risebcg.onmicrosoft.com::67a27a72-2420-4d38-b745-316a53f4b99a" providerId="AD" clId="Web-{E369CB37-3068-47E4-AD90-1DEAD92C8B6F}" dt="2022-01-08T16:09:51.942" v="2464" actId="14100"/>
        <pc:sldMkLst>
          <pc:docMk/>
          <pc:sldMk cId="3391215681" sldId="339"/>
        </pc:sldMkLst>
        <pc:spChg chg="mod">
          <ac:chgData name="EVELYNSM.YONG" userId="S::evelynsm.yong_gmail.com#ext#@risebcg.onmicrosoft.com::67a27a72-2420-4d38-b745-316a53f4b99a" providerId="AD" clId="Web-{E369CB37-3068-47E4-AD90-1DEAD92C8B6F}" dt="2022-01-08T16:09:51.942" v="2464"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E369CB37-3068-47E4-AD90-1DEAD92C8B6F}" dt="2022-01-08T16:00:19.257" v="2305" actId="20577"/>
          <ac:spMkLst>
            <pc:docMk/>
            <pc:sldMk cId="3391215681" sldId="339"/>
            <ac:spMk id="49" creationId="{1A40ECD8-EC71-4C0D-A629-C5042C9FBE1B}"/>
          </ac:spMkLst>
        </pc:spChg>
        <pc:spChg chg="mod">
          <ac:chgData name="EVELYNSM.YONG" userId="S::evelynsm.yong_gmail.com#ext#@risebcg.onmicrosoft.com::67a27a72-2420-4d38-b745-316a53f4b99a" providerId="AD" clId="Web-{E369CB37-3068-47E4-AD90-1DEAD92C8B6F}" dt="2022-01-08T16:09:41.989" v="2460" actId="1076"/>
          <ac:spMkLst>
            <pc:docMk/>
            <pc:sldMk cId="3391215681" sldId="339"/>
            <ac:spMk id="124" creationId="{C91A31F3-23FB-421F-8BC0-FD3F5F868D91}"/>
          </ac:spMkLst>
        </pc:spChg>
        <pc:spChg chg="del">
          <ac:chgData name="EVELYNSM.YONG" userId="S::evelynsm.yong_gmail.com#ext#@risebcg.onmicrosoft.com::67a27a72-2420-4d38-b745-316a53f4b99a" providerId="AD" clId="Web-{E369CB37-3068-47E4-AD90-1DEAD92C8B6F}" dt="2022-01-08T16:09:47.302" v="2462"/>
          <ac:spMkLst>
            <pc:docMk/>
            <pc:sldMk cId="3391215681" sldId="339"/>
            <ac:spMk id="126" creationId="{B0791398-D0B2-4A5B-9918-DABD658B5B39}"/>
          </ac:spMkLst>
        </pc:spChg>
        <pc:graphicFrameChg chg="mod modGraphic">
          <ac:chgData name="EVELYNSM.YONG" userId="S::evelynsm.yong_gmail.com#ext#@risebcg.onmicrosoft.com::67a27a72-2420-4d38-b745-316a53f4b99a" providerId="AD" clId="Web-{E369CB37-3068-47E4-AD90-1DEAD92C8B6F}" dt="2022-01-08T16:09:45.692" v="2461" actId="1076"/>
          <ac:graphicFrameMkLst>
            <pc:docMk/>
            <pc:sldMk cId="3391215681" sldId="339"/>
            <ac:graphicFrameMk id="28" creationId="{9D58B7B4-DE29-4DDF-BB8A-729D2B705659}"/>
          </ac:graphicFrameMkLst>
        </pc:graphicFrameChg>
      </pc:sldChg>
      <pc:sldChg chg="addSp delSp modSp modNotes">
        <pc:chgData name="EVELYNSM.YONG" userId="S::evelynsm.yong_gmail.com#ext#@risebcg.onmicrosoft.com::67a27a72-2420-4d38-b745-316a53f4b99a" providerId="AD" clId="Web-{E369CB37-3068-47E4-AD90-1DEAD92C8B6F}" dt="2022-01-08T16:24:44.557" v="2634"/>
        <pc:sldMkLst>
          <pc:docMk/>
          <pc:sldMk cId="4159389698" sldId="342"/>
        </pc:sldMkLst>
        <pc:spChg chg="mod">
          <ac:chgData name="EVELYNSM.YONG" userId="S::evelynsm.yong_gmail.com#ext#@risebcg.onmicrosoft.com::67a27a72-2420-4d38-b745-316a53f4b99a" providerId="AD" clId="Web-{E369CB37-3068-47E4-AD90-1DEAD92C8B6F}" dt="2022-01-08T13:44:34.778" v="397" actId="20577"/>
          <ac:spMkLst>
            <pc:docMk/>
            <pc:sldMk cId="4159389698" sldId="342"/>
            <ac:spMk id="2" creationId="{080435EA-AD4F-4934-83BC-D5D53AFD93E9}"/>
          </ac:spMkLst>
        </pc:spChg>
        <pc:spChg chg="del">
          <ac:chgData name="EVELYNSM.YONG" userId="S::evelynsm.yong_gmail.com#ext#@risebcg.onmicrosoft.com::67a27a72-2420-4d38-b745-316a53f4b99a" providerId="AD" clId="Web-{E369CB37-3068-47E4-AD90-1DEAD92C8B6F}" dt="2022-01-08T13:41:14.648" v="342"/>
          <ac:spMkLst>
            <pc:docMk/>
            <pc:sldMk cId="4159389698" sldId="342"/>
            <ac:spMk id="3" creationId="{1EADC3E2-9A88-4CFF-8CDC-C7B034C116B1}"/>
          </ac:spMkLst>
        </pc:spChg>
        <pc:spChg chg="add del mod">
          <ac:chgData name="EVELYNSM.YONG" userId="S::evelynsm.yong_gmail.com#ext#@risebcg.onmicrosoft.com::67a27a72-2420-4d38-b745-316a53f4b99a" providerId="AD" clId="Web-{E369CB37-3068-47E4-AD90-1DEAD92C8B6F}" dt="2022-01-08T13:41:18.476" v="343"/>
          <ac:spMkLst>
            <pc:docMk/>
            <pc:sldMk cId="4159389698" sldId="342"/>
            <ac:spMk id="6" creationId="{0CF8DD85-3546-480F-A3E7-2F8A294A8CE2}"/>
          </ac:spMkLst>
        </pc:spChg>
        <pc:spChg chg="add mod topLvl">
          <ac:chgData name="EVELYNSM.YONG" userId="S::evelynsm.yong_gmail.com#ext#@risebcg.onmicrosoft.com::67a27a72-2420-4d38-b745-316a53f4b99a" providerId="AD" clId="Web-{E369CB37-3068-47E4-AD90-1DEAD92C8B6F}" dt="2022-01-08T16:13:08.619" v="2479" actId="20577"/>
          <ac:spMkLst>
            <pc:docMk/>
            <pc:sldMk cId="4159389698" sldId="342"/>
            <ac:spMk id="9" creationId="{E953D56B-E197-4EF3-86AC-EB83FF562830}"/>
          </ac:spMkLst>
        </pc:spChg>
        <pc:spChg chg="add mod topLvl">
          <ac:chgData name="EVELYNSM.YONG" userId="S::evelynsm.yong_gmail.com#ext#@risebcg.onmicrosoft.com::67a27a72-2420-4d38-b745-316a53f4b99a" providerId="AD" clId="Web-{E369CB37-3068-47E4-AD90-1DEAD92C8B6F}" dt="2022-01-08T15:13:21.481" v="1668" actId="1076"/>
          <ac:spMkLst>
            <pc:docMk/>
            <pc:sldMk cId="4159389698" sldId="342"/>
            <ac:spMk id="10" creationId="{A949E116-7148-4CA9-A41F-83DB47255D80}"/>
          </ac:spMkLst>
        </pc:spChg>
        <pc:spChg chg="add mod ord topLvl">
          <ac:chgData name="EVELYNSM.YONG" userId="S::evelynsm.yong_gmail.com#ext#@risebcg.onmicrosoft.com::67a27a72-2420-4d38-b745-316a53f4b99a" providerId="AD" clId="Web-{E369CB37-3068-47E4-AD90-1DEAD92C8B6F}" dt="2022-01-08T15:13:21.496" v="1669" actId="1076"/>
          <ac:spMkLst>
            <pc:docMk/>
            <pc:sldMk cId="4159389698" sldId="342"/>
            <ac:spMk id="12" creationId="{AAEC2426-37C0-4083-9090-89DDF94F295F}"/>
          </ac:spMkLst>
        </pc:spChg>
        <pc:spChg chg="add del mod topLvl">
          <ac:chgData name="EVELYNSM.YONG" userId="S::evelynsm.yong_gmail.com#ext#@risebcg.onmicrosoft.com::67a27a72-2420-4d38-b745-316a53f4b99a" providerId="AD" clId="Web-{E369CB37-3068-47E4-AD90-1DEAD92C8B6F}" dt="2022-01-08T15:11:43.228" v="1642"/>
          <ac:spMkLst>
            <pc:docMk/>
            <pc:sldMk cId="4159389698" sldId="342"/>
            <ac:spMk id="13" creationId="{ED8EE41F-595D-4D3B-AFFB-AD8E358FCB34}"/>
          </ac:spMkLst>
        </pc:spChg>
        <pc:spChg chg="add del mod">
          <ac:chgData name="EVELYNSM.YONG" userId="S::evelynsm.yong_gmail.com#ext#@risebcg.onmicrosoft.com::67a27a72-2420-4d38-b745-316a53f4b99a" providerId="AD" clId="Web-{E369CB37-3068-47E4-AD90-1DEAD92C8B6F}" dt="2022-01-08T14:12:17.770" v="772"/>
          <ac:spMkLst>
            <pc:docMk/>
            <pc:sldMk cId="4159389698" sldId="342"/>
            <ac:spMk id="14" creationId="{3923CDFF-CE1D-4A54-A36B-AC25EBE97063}"/>
          </ac:spMkLst>
        </pc:spChg>
        <pc:spChg chg="add del mod">
          <ac:chgData name="EVELYNSM.YONG" userId="S::evelynsm.yong_gmail.com#ext#@risebcg.onmicrosoft.com::67a27a72-2420-4d38-b745-316a53f4b99a" providerId="AD" clId="Web-{E369CB37-3068-47E4-AD90-1DEAD92C8B6F}" dt="2022-01-08T15:07:26.254" v="1415"/>
          <ac:spMkLst>
            <pc:docMk/>
            <pc:sldMk cId="4159389698" sldId="342"/>
            <ac:spMk id="16" creationId="{B574E0FD-7D16-4BED-9AC6-92EC20DE76CD}"/>
          </ac:spMkLst>
        </pc:spChg>
        <pc:grpChg chg="add del mod">
          <ac:chgData name="EVELYNSM.YONG" userId="S::evelynsm.yong_gmail.com#ext#@risebcg.onmicrosoft.com::67a27a72-2420-4d38-b745-316a53f4b99a" providerId="AD" clId="Web-{E369CB37-3068-47E4-AD90-1DEAD92C8B6F}" dt="2022-01-08T15:11:33.166" v="1640"/>
          <ac:grpSpMkLst>
            <pc:docMk/>
            <pc:sldMk cId="4159389698" sldId="342"/>
            <ac:grpSpMk id="17" creationId="{BFBA0225-E50F-4BD0-BC31-808174CE9B31}"/>
          </ac:grpSpMkLst>
        </pc:grpChg>
        <pc:picChg chg="add del mod">
          <ac:chgData name="EVELYNSM.YONG" userId="S::evelynsm.yong_gmail.com#ext#@risebcg.onmicrosoft.com::67a27a72-2420-4d38-b745-316a53f4b99a" providerId="AD" clId="Web-{E369CB37-3068-47E4-AD90-1DEAD92C8B6F}" dt="2022-01-08T13:41:12.695" v="341"/>
          <ac:picMkLst>
            <pc:docMk/>
            <pc:sldMk cId="4159389698" sldId="342"/>
            <ac:picMk id="4" creationId="{568AA943-6E16-41F5-9469-C3A8C31A3592}"/>
          </ac:picMkLst>
        </pc:picChg>
        <pc:picChg chg="add del mod">
          <ac:chgData name="EVELYNSM.YONG" userId="S::evelynsm.yong_gmail.com#ext#@risebcg.onmicrosoft.com::67a27a72-2420-4d38-b745-316a53f4b99a" providerId="AD" clId="Web-{E369CB37-3068-47E4-AD90-1DEAD92C8B6F}" dt="2022-01-08T13:43:12.244" v="351"/>
          <ac:picMkLst>
            <pc:docMk/>
            <pc:sldMk cId="4159389698" sldId="342"/>
            <ac:picMk id="7" creationId="{E16B2329-7614-4FB4-ACBF-BFE445CE8B82}"/>
          </ac:picMkLst>
        </pc:picChg>
        <pc:picChg chg="add mod">
          <ac:chgData name="EVELYNSM.YONG" userId="S::evelynsm.yong_gmail.com#ext#@risebcg.onmicrosoft.com::67a27a72-2420-4d38-b745-316a53f4b99a" providerId="AD" clId="Web-{E369CB37-3068-47E4-AD90-1DEAD92C8B6F}" dt="2022-01-08T15:13:17.824" v="1666" actId="14100"/>
          <ac:picMkLst>
            <pc:docMk/>
            <pc:sldMk cId="4159389698" sldId="342"/>
            <ac:picMk id="8" creationId="{6B01C6A5-3C80-4889-B1DA-40342676F95C}"/>
          </ac:picMkLst>
        </pc:picChg>
      </pc:sldChg>
      <pc:sldChg chg="addSp delSp modSp del">
        <pc:chgData name="EVELYNSM.YONG" userId="S::evelynsm.yong_gmail.com#ext#@risebcg.onmicrosoft.com::67a27a72-2420-4d38-b745-316a53f4b99a" providerId="AD" clId="Web-{E369CB37-3068-47E4-AD90-1DEAD92C8B6F}" dt="2022-01-08T15:04:22.499" v="1334"/>
        <pc:sldMkLst>
          <pc:docMk/>
          <pc:sldMk cId="2403985300" sldId="343"/>
        </pc:sldMkLst>
        <pc:spChg chg="mod">
          <ac:chgData name="EVELYNSM.YONG" userId="S::evelynsm.yong_gmail.com#ext#@risebcg.onmicrosoft.com::67a27a72-2420-4d38-b745-316a53f4b99a" providerId="AD" clId="Web-{E369CB37-3068-47E4-AD90-1DEAD92C8B6F}" dt="2022-01-08T12:26:12.724" v="288" actId="20577"/>
          <ac:spMkLst>
            <pc:docMk/>
            <pc:sldMk cId="2403985300" sldId="343"/>
            <ac:spMk id="2" creationId="{53DDB4C4-01BA-4E62-BA0A-56A56EB4019B}"/>
          </ac:spMkLst>
        </pc:spChg>
        <pc:spChg chg="del mod">
          <ac:chgData name="EVELYNSM.YONG" userId="S::evelynsm.yong_gmail.com#ext#@risebcg.onmicrosoft.com::67a27a72-2420-4d38-b745-316a53f4b99a" providerId="AD" clId="Web-{E369CB37-3068-47E4-AD90-1DEAD92C8B6F}" dt="2022-01-08T12:25:41.583" v="277"/>
          <ac:spMkLst>
            <pc:docMk/>
            <pc:sldMk cId="2403985300" sldId="343"/>
            <ac:spMk id="3" creationId="{BD97DE7E-DDAB-4647-A467-DCE4D740C6EC}"/>
          </ac:spMkLst>
        </pc:spChg>
        <pc:spChg chg="add mod">
          <ac:chgData name="EVELYNSM.YONG" userId="S::evelynsm.yong_gmail.com#ext#@risebcg.onmicrosoft.com::67a27a72-2420-4d38-b745-316a53f4b99a" providerId="AD" clId="Web-{E369CB37-3068-47E4-AD90-1DEAD92C8B6F}" dt="2022-01-08T12:27:51.023" v="333" actId="1076"/>
          <ac:spMkLst>
            <pc:docMk/>
            <pc:sldMk cId="2403985300" sldId="343"/>
            <ac:spMk id="7" creationId="{32E4FEEF-88A9-451E-8BF8-0EF0F5AB7D42}"/>
          </ac:spMkLst>
        </pc:spChg>
        <pc:spChg chg="add mod">
          <ac:chgData name="EVELYNSM.YONG" userId="S::evelynsm.yong_gmail.com#ext#@risebcg.onmicrosoft.com::67a27a72-2420-4d38-b745-316a53f4b99a" providerId="AD" clId="Web-{E369CB37-3068-47E4-AD90-1DEAD92C8B6F}" dt="2022-01-08T12:27:52.867" v="334" actId="1076"/>
          <ac:spMkLst>
            <pc:docMk/>
            <pc:sldMk cId="2403985300" sldId="343"/>
            <ac:spMk id="8" creationId="{9BD2C1EA-7C83-44C6-B2FB-0D84F210DFF7}"/>
          </ac:spMkLst>
        </pc:spChg>
        <pc:spChg chg="add del mod">
          <ac:chgData name="EVELYNSM.YONG" userId="S::evelynsm.yong_gmail.com#ext#@risebcg.onmicrosoft.com::67a27a72-2420-4d38-b745-316a53f4b99a" providerId="AD" clId="Web-{E369CB37-3068-47E4-AD90-1DEAD92C8B6F}" dt="2022-01-08T12:26:00.177" v="278"/>
          <ac:spMkLst>
            <pc:docMk/>
            <pc:sldMk cId="2403985300" sldId="343"/>
            <ac:spMk id="10" creationId="{F114AE77-6064-4066-B778-7383DDDCE1DF}"/>
          </ac:spMkLst>
        </pc:spChg>
        <pc:spChg chg="add mod">
          <ac:chgData name="EVELYNSM.YONG" userId="S::evelynsm.yong_gmail.com#ext#@risebcg.onmicrosoft.com::67a27a72-2420-4d38-b745-316a53f4b99a" providerId="AD" clId="Web-{E369CB37-3068-47E4-AD90-1DEAD92C8B6F}" dt="2022-01-08T12:27:41.164" v="330" actId="1076"/>
          <ac:spMkLst>
            <pc:docMk/>
            <pc:sldMk cId="2403985300" sldId="343"/>
            <ac:spMk id="11" creationId="{9853CF2D-36A6-403A-A0DE-C7507BCFED32}"/>
          </ac:spMkLst>
        </pc:spChg>
        <pc:spChg chg="add mod">
          <ac:chgData name="EVELYNSM.YONG" userId="S::evelynsm.yong_gmail.com#ext#@risebcg.onmicrosoft.com::67a27a72-2420-4d38-b745-316a53f4b99a" providerId="AD" clId="Web-{E369CB37-3068-47E4-AD90-1DEAD92C8B6F}" dt="2022-01-08T12:27:38.336" v="329" actId="1076"/>
          <ac:spMkLst>
            <pc:docMk/>
            <pc:sldMk cId="2403985300" sldId="343"/>
            <ac:spMk id="12" creationId="{A165D514-EEF8-48A3-8ABA-C03F2CD74E02}"/>
          </ac:spMkLst>
        </pc:spChg>
        <pc:cxnChg chg="add mod">
          <ac:chgData name="EVELYNSM.YONG" userId="S::evelynsm.yong_gmail.com#ext#@risebcg.onmicrosoft.com::67a27a72-2420-4d38-b745-316a53f4b99a" providerId="AD" clId="Web-{E369CB37-3068-47E4-AD90-1DEAD92C8B6F}" dt="2022-01-08T12:28:04.727" v="336" actId="14100"/>
          <ac:cxnSpMkLst>
            <pc:docMk/>
            <pc:sldMk cId="2403985300" sldId="343"/>
            <ac:cxnSpMk id="5" creationId="{3DE7334B-F984-4BBE-91B9-E1663A755988}"/>
          </ac:cxnSpMkLst>
        </pc:cxnChg>
      </pc:sldChg>
      <pc:sldChg chg="modSp">
        <pc:chgData name="EVELYNSM.YONG" userId="S::evelynsm.yong_gmail.com#ext#@risebcg.onmicrosoft.com::67a27a72-2420-4d38-b745-316a53f4b99a" providerId="AD" clId="Web-{E369CB37-3068-47E4-AD90-1DEAD92C8B6F}" dt="2022-01-08T12:07:07.526" v="107" actId="14100"/>
        <pc:sldMkLst>
          <pc:docMk/>
          <pc:sldMk cId="3971465157" sldId="345"/>
        </pc:sldMkLst>
        <pc:spChg chg="mod">
          <ac:chgData name="EVELYNSM.YONG" userId="S::evelynsm.yong_gmail.com#ext#@risebcg.onmicrosoft.com::67a27a72-2420-4d38-b745-316a53f4b99a" providerId="AD" clId="Web-{E369CB37-3068-47E4-AD90-1DEAD92C8B6F}" dt="2022-01-08T12:07:07.526" v="107" actId="14100"/>
          <ac:spMkLst>
            <pc:docMk/>
            <pc:sldMk cId="3971465157" sldId="345"/>
            <ac:spMk id="4" creationId="{215644EC-E1A2-4B5F-BA53-79EB189605EC}"/>
          </ac:spMkLst>
        </pc:spChg>
      </pc:sldChg>
      <pc:sldChg chg="addSp delSp modSp ord">
        <pc:chgData name="EVELYNSM.YONG" userId="S::evelynsm.yong_gmail.com#ext#@risebcg.onmicrosoft.com::67a27a72-2420-4d38-b745-316a53f4b99a" providerId="AD" clId="Web-{E369CB37-3068-47E4-AD90-1DEAD92C8B6F}" dt="2022-01-08T12:06:52.791" v="106" actId="14100"/>
        <pc:sldMkLst>
          <pc:docMk/>
          <pc:sldMk cId="2149037765" sldId="346"/>
        </pc:sldMkLst>
        <pc:spChg chg="mod">
          <ac:chgData name="EVELYNSM.YONG" userId="S::evelynsm.yong_gmail.com#ext#@risebcg.onmicrosoft.com::67a27a72-2420-4d38-b745-316a53f4b99a" providerId="AD" clId="Web-{E369CB37-3068-47E4-AD90-1DEAD92C8B6F}" dt="2022-01-08T12:06:52.791" v="106" actId="14100"/>
          <ac:spMkLst>
            <pc:docMk/>
            <pc:sldMk cId="2149037765" sldId="346"/>
            <ac:spMk id="4" creationId="{215644EC-E1A2-4B5F-BA53-79EB189605EC}"/>
          </ac:spMkLst>
        </pc:spChg>
        <pc:spChg chg="add del mod">
          <ac:chgData name="EVELYNSM.YONG" userId="S::evelynsm.yong_gmail.com#ext#@risebcg.onmicrosoft.com::67a27a72-2420-4d38-b745-316a53f4b99a" providerId="AD" clId="Web-{E369CB37-3068-47E4-AD90-1DEAD92C8B6F}" dt="2022-01-08T11:55:23.775" v="25"/>
          <ac:spMkLst>
            <pc:docMk/>
            <pc:sldMk cId="2149037765" sldId="346"/>
            <ac:spMk id="10" creationId="{D3951B2B-A8B9-4014-9A6B-C2F181DF23F2}"/>
          </ac:spMkLst>
        </pc:spChg>
        <pc:spChg chg="add del mod">
          <ac:chgData name="EVELYNSM.YONG" userId="S::evelynsm.yong_gmail.com#ext#@risebcg.onmicrosoft.com::67a27a72-2420-4d38-b745-316a53f4b99a" providerId="AD" clId="Web-{E369CB37-3068-47E4-AD90-1DEAD92C8B6F}" dt="2022-01-08T11:55:25.384" v="26"/>
          <ac:spMkLst>
            <pc:docMk/>
            <pc:sldMk cId="2149037765" sldId="346"/>
            <ac:spMk id="15" creationId="{5801D3E9-70D7-4D50-AE16-0CD6E891A846}"/>
          </ac:spMkLst>
        </pc:spChg>
      </pc:sldChg>
      <pc:sldChg chg="addSp delSp modSp modNotes">
        <pc:chgData name="EVELYNSM.YONG" userId="S::evelynsm.yong_gmail.com#ext#@risebcg.onmicrosoft.com::67a27a72-2420-4d38-b745-316a53f4b99a" providerId="AD" clId="Web-{E369CB37-3068-47E4-AD90-1DEAD92C8B6F}" dt="2022-01-08T15:54:36.437" v="2262"/>
        <pc:sldMkLst>
          <pc:docMk/>
          <pc:sldMk cId="1227236751" sldId="356"/>
        </pc:sldMkLst>
        <pc:spChg chg="mod">
          <ac:chgData name="EVELYNSM.YONG" userId="S::evelynsm.yong_gmail.com#ext#@risebcg.onmicrosoft.com::67a27a72-2420-4d38-b745-316a53f4b99a" providerId="AD" clId="Web-{E369CB37-3068-47E4-AD90-1DEAD92C8B6F}" dt="2022-01-08T15:16:03.375" v="1726" actId="20577"/>
          <ac:spMkLst>
            <pc:docMk/>
            <pc:sldMk cId="1227236751" sldId="356"/>
            <ac:spMk id="2" creationId="{ED14AA63-35D8-4136-8B2F-DE1837A583A2}"/>
          </ac:spMkLst>
        </pc:spChg>
        <pc:spChg chg="mod">
          <ac:chgData name="EVELYNSM.YONG" userId="S::evelynsm.yong_gmail.com#ext#@risebcg.onmicrosoft.com::67a27a72-2420-4d38-b745-316a53f4b99a" providerId="AD" clId="Web-{E369CB37-3068-47E4-AD90-1DEAD92C8B6F}" dt="2022-01-08T15:14:04.419" v="1680"/>
          <ac:spMkLst>
            <pc:docMk/>
            <pc:sldMk cId="1227236751" sldId="356"/>
            <ac:spMk id="3" creationId="{2321500F-B116-49E9-B713-1C89E59A92D6}"/>
          </ac:spMkLst>
        </pc:spChg>
        <pc:spChg chg="mod">
          <ac:chgData name="EVELYNSM.YONG" userId="S::evelynsm.yong_gmail.com#ext#@risebcg.onmicrosoft.com::67a27a72-2420-4d38-b745-316a53f4b99a" providerId="AD" clId="Web-{E369CB37-3068-47E4-AD90-1DEAD92C8B6F}" dt="2022-01-08T15:15:42.172" v="1709" actId="20577"/>
          <ac:spMkLst>
            <pc:docMk/>
            <pc:sldMk cId="1227236751" sldId="356"/>
            <ac:spMk id="4" creationId="{215644EC-E1A2-4B5F-BA53-79EB189605EC}"/>
          </ac:spMkLst>
        </pc:spChg>
        <pc:spChg chg="add mod">
          <ac:chgData name="EVELYNSM.YONG" userId="S::evelynsm.yong_gmail.com#ext#@risebcg.onmicrosoft.com::67a27a72-2420-4d38-b745-316a53f4b99a" providerId="AD" clId="Web-{E369CB37-3068-47E4-AD90-1DEAD92C8B6F}" dt="2022-01-08T15:15:06.608" v="1692" actId="1076"/>
          <ac:spMkLst>
            <pc:docMk/>
            <pc:sldMk cId="1227236751" sldId="356"/>
            <ac:spMk id="10" creationId="{42FB9C20-3D6F-40FF-ABFC-89E5858742B1}"/>
          </ac:spMkLst>
        </pc:spChg>
        <pc:spChg chg="mod">
          <ac:chgData name="EVELYNSM.YONG" userId="S::evelynsm.yong_gmail.com#ext#@risebcg.onmicrosoft.com::67a27a72-2420-4d38-b745-316a53f4b99a" providerId="AD" clId="Web-{E369CB37-3068-47E4-AD90-1DEAD92C8B6F}" dt="2022-01-08T15:14:20.373" v="1684"/>
          <ac:spMkLst>
            <pc:docMk/>
            <pc:sldMk cId="1227236751" sldId="356"/>
            <ac:spMk id="12" creationId="{95E46411-4A0C-41AA-9250-790D71323EA7}"/>
          </ac:spMkLst>
        </pc:spChg>
        <pc:spChg chg="add del mod">
          <ac:chgData name="EVELYNSM.YONG" userId="S::evelynsm.yong_gmail.com#ext#@risebcg.onmicrosoft.com::67a27a72-2420-4d38-b745-316a53f4b99a" providerId="AD" clId="Web-{E369CB37-3068-47E4-AD90-1DEAD92C8B6F}" dt="2022-01-08T15:16:32.032" v="1728"/>
          <ac:spMkLst>
            <pc:docMk/>
            <pc:sldMk cId="1227236751" sldId="356"/>
            <ac:spMk id="16" creationId="{B6F7D705-C532-4B5C-B512-1BBCBA043185}"/>
          </ac:spMkLst>
        </pc:spChg>
        <pc:spChg chg="add del mod">
          <ac:chgData name="EVELYNSM.YONG" userId="S::evelynsm.yong_gmail.com#ext#@risebcg.onmicrosoft.com::67a27a72-2420-4d38-b745-316a53f4b99a" providerId="AD" clId="Web-{E369CB37-3068-47E4-AD90-1DEAD92C8B6F}" dt="2022-01-08T15:54:36.437" v="2262"/>
          <ac:spMkLst>
            <pc:docMk/>
            <pc:sldMk cId="1227236751" sldId="356"/>
            <ac:spMk id="17" creationId="{815F3179-193A-4F5E-A1A9-12297C608458}"/>
          </ac:spMkLst>
        </pc:spChg>
        <pc:picChg chg="mod">
          <ac:chgData name="EVELYNSM.YONG" userId="S::evelynsm.yong_gmail.com#ext#@risebcg.onmicrosoft.com::67a27a72-2420-4d38-b745-316a53f4b99a" providerId="AD" clId="Web-{E369CB37-3068-47E4-AD90-1DEAD92C8B6F}" dt="2022-01-08T15:14:23.857" v="1685" actId="1076"/>
          <ac:picMkLst>
            <pc:docMk/>
            <pc:sldMk cId="1227236751" sldId="356"/>
            <ac:picMk id="7" creationId="{F2806C6D-F724-4DED-AEF0-61ECCAB05DB6}"/>
          </ac:picMkLst>
        </pc:picChg>
        <pc:picChg chg="mod">
          <ac:chgData name="EVELYNSM.YONG" userId="S::evelynsm.yong_gmail.com#ext#@risebcg.onmicrosoft.com::67a27a72-2420-4d38-b745-316a53f4b99a" providerId="AD" clId="Web-{E369CB37-3068-47E4-AD90-1DEAD92C8B6F}" dt="2022-01-08T15:14:40.639" v="1688" actId="1076"/>
          <ac:picMkLst>
            <pc:docMk/>
            <pc:sldMk cId="1227236751" sldId="356"/>
            <ac:picMk id="8" creationId="{1C37FA25-553F-4164-8C97-7E76EEDF8003}"/>
          </ac:picMkLst>
        </pc:picChg>
        <pc:picChg chg="mod">
          <ac:chgData name="EVELYNSM.YONG" userId="S::evelynsm.yong_gmail.com#ext#@risebcg.onmicrosoft.com::67a27a72-2420-4d38-b745-316a53f4b99a" providerId="AD" clId="Web-{E369CB37-3068-47E4-AD90-1DEAD92C8B6F}" dt="2022-01-08T15:14:07.404" v="1681" actId="1076"/>
          <ac:picMkLst>
            <pc:docMk/>
            <pc:sldMk cId="1227236751" sldId="356"/>
            <ac:picMk id="11" creationId="{B9CA3DF6-D1DE-4B59-9A07-B34CE4EC9917}"/>
          </ac:picMkLst>
        </pc:picChg>
        <pc:picChg chg="mod">
          <ac:chgData name="EVELYNSM.YONG" userId="S::evelynsm.yong_gmail.com#ext#@risebcg.onmicrosoft.com::67a27a72-2420-4d38-b745-316a53f4b99a" providerId="AD" clId="Web-{E369CB37-3068-47E4-AD90-1DEAD92C8B6F}" dt="2022-01-08T15:14:38.623" v="1687" actId="1076"/>
          <ac:picMkLst>
            <pc:docMk/>
            <pc:sldMk cId="1227236751" sldId="356"/>
            <ac:picMk id="13" creationId="{6031EC29-FB42-4498-A4A9-E35C4E061CC4}"/>
          </ac:picMkLst>
        </pc:picChg>
        <pc:cxnChg chg="mod">
          <ac:chgData name="EVELYNSM.YONG" userId="S::evelynsm.yong_gmail.com#ext#@risebcg.onmicrosoft.com::67a27a72-2420-4d38-b745-316a53f4b99a" providerId="AD" clId="Web-{E369CB37-3068-47E4-AD90-1DEAD92C8B6F}" dt="2022-01-08T15:14:56.280" v="1690" actId="14100"/>
          <ac:cxnSpMkLst>
            <pc:docMk/>
            <pc:sldMk cId="1227236751" sldId="356"/>
            <ac:cxnSpMk id="5" creationId="{7650244C-E06B-41BA-A77C-2D20639EA927}"/>
          </ac:cxnSpMkLst>
        </pc:cxnChg>
      </pc:sldChg>
      <pc:sldChg chg="delSp modSp add replId">
        <pc:chgData name="EVELYNSM.YONG" userId="S::evelynsm.yong_gmail.com#ext#@risebcg.onmicrosoft.com::67a27a72-2420-4d38-b745-316a53f4b99a" providerId="AD" clId="Web-{E369CB37-3068-47E4-AD90-1DEAD92C8B6F}" dt="2022-01-08T16:39:17.078" v="2651" actId="1076"/>
        <pc:sldMkLst>
          <pc:docMk/>
          <pc:sldMk cId="1894441827" sldId="358"/>
        </pc:sldMkLst>
        <pc:spChg chg="del">
          <ac:chgData name="EVELYNSM.YONG" userId="S::evelynsm.yong_gmail.com#ext#@risebcg.onmicrosoft.com::67a27a72-2420-4d38-b745-316a53f4b99a" providerId="AD" clId="Web-{E369CB37-3068-47E4-AD90-1DEAD92C8B6F}" dt="2022-01-08T15:52:37.464" v="2251"/>
          <ac:spMkLst>
            <pc:docMk/>
            <pc:sldMk cId="1894441827" sldId="358"/>
            <ac:spMk id="4" creationId="{215644EC-E1A2-4B5F-BA53-79EB189605EC}"/>
          </ac:spMkLst>
        </pc:spChg>
        <pc:spChg chg="mod">
          <ac:chgData name="EVELYNSM.YONG" userId="S::evelynsm.yong_gmail.com#ext#@risebcg.onmicrosoft.com::67a27a72-2420-4d38-b745-316a53f4b99a" providerId="AD" clId="Web-{E369CB37-3068-47E4-AD90-1DEAD92C8B6F}" dt="2022-01-08T16:39:12.906" v="2650" actId="1076"/>
          <ac:spMkLst>
            <pc:docMk/>
            <pc:sldMk cId="1894441827" sldId="358"/>
            <ac:spMk id="10" creationId="{42FB9C20-3D6F-40FF-ABFC-89E5858742B1}"/>
          </ac:spMkLst>
        </pc:spChg>
        <pc:spChg chg="mod">
          <ac:chgData name="EVELYNSM.YONG" userId="S::evelynsm.yong_gmail.com#ext#@risebcg.onmicrosoft.com::67a27a72-2420-4d38-b745-316a53f4b99a" providerId="AD" clId="Web-{E369CB37-3068-47E4-AD90-1DEAD92C8B6F}" dt="2022-01-08T16:39:17.078" v="2651" actId="1076"/>
          <ac:spMkLst>
            <pc:docMk/>
            <pc:sldMk cId="1894441827" sldId="358"/>
            <ac:spMk id="17" creationId="{815F3179-193A-4F5E-A1A9-12297C608458}"/>
          </ac:spMkLst>
        </pc:spChg>
        <pc:picChg chg="mod">
          <ac:chgData name="EVELYNSM.YONG" userId="S::evelynsm.yong_gmail.com#ext#@risebcg.onmicrosoft.com::67a27a72-2420-4d38-b745-316a53f4b99a" providerId="AD" clId="Web-{E369CB37-3068-47E4-AD90-1DEAD92C8B6F}" dt="2022-01-08T16:37:11.356" v="2646" actId="1076"/>
          <ac:picMkLst>
            <pc:docMk/>
            <pc:sldMk cId="1894441827" sldId="358"/>
            <ac:picMk id="4" creationId="{0A2CEA9C-3B44-4930-8C81-9261CEA29D54}"/>
          </ac:picMkLst>
        </pc:picChg>
        <pc:picChg chg="mod">
          <ac:chgData name="EVELYNSM.YONG" userId="S::evelynsm.yong_gmail.com#ext#@risebcg.onmicrosoft.com::67a27a72-2420-4d38-b745-316a53f4b99a" providerId="AD" clId="Web-{E369CB37-3068-47E4-AD90-1DEAD92C8B6F}" dt="2022-01-08T16:37:17.372" v="2648" actId="1076"/>
          <ac:picMkLst>
            <pc:docMk/>
            <pc:sldMk cId="1894441827" sldId="358"/>
            <ac:picMk id="7" creationId="{F2806C6D-F724-4DED-AEF0-61ECCAB05DB6}"/>
          </ac:picMkLst>
        </pc:picChg>
        <pc:picChg chg="mod">
          <ac:chgData name="EVELYNSM.YONG" userId="S::evelynsm.yong_gmail.com#ext#@risebcg.onmicrosoft.com::67a27a72-2420-4d38-b745-316a53f4b99a" providerId="AD" clId="Web-{E369CB37-3068-47E4-AD90-1DEAD92C8B6F}" dt="2022-01-08T15:52:43.449" v="2253" actId="1076"/>
          <ac:picMkLst>
            <pc:docMk/>
            <pc:sldMk cId="1894441827" sldId="358"/>
            <ac:picMk id="8" creationId="{1C37FA25-553F-4164-8C97-7E76EEDF8003}"/>
          </ac:picMkLst>
        </pc:picChg>
        <pc:cxnChg chg="mod">
          <ac:chgData name="EVELYNSM.YONG" userId="S::evelynsm.yong_gmail.com#ext#@risebcg.onmicrosoft.com::67a27a72-2420-4d38-b745-316a53f4b99a" providerId="AD" clId="Web-{E369CB37-3068-47E4-AD90-1DEAD92C8B6F}" dt="2022-01-08T16:37:15.559" v="2647" actId="1076"/>
          <ac:cxnSpMkLst>
            <pc:docMk/>
            <pc:sldMk cId="1894441827" sldId="358"/>
            <ac:cxnSpMk id="5" creationId="{7650244C-E06B-41BA-A77C-2D20639EA927}"/>
          </ac:cxnSpMkLst>
        </pc:cxnChg>
      </pc:sldChg>
      <pc:sldChg chg="modSp">
        <pc:chgData name="EVELYNSM.YONG" userId="S::evelynsm.yong_gmail.com#ext#@risebcg.onmicrosoft.com::67a27a72-2420-4d38-b745-316a53f4b99a" providerId="AD" clId="Web-{E369CB37-3068-47E4-AD90-1DEAD92C8B6F}" dt="2022-01-08T16:31:39.067" v="2638" actId="20577"/>
        <pc:sldMkLst>
          <pc:docMk/>
          <pc:sldMk cId="373009354" sldId="360"/>
        </pc:sldMkLst>
        <pc:spChg chg="mod">
          <ac:chgData name="EVELYNSM.YONG" userId="S::evelynsm.yong_gmail.com#ext#@risebcg.onmicrosoft.com::67a27a72-2420-4d38-b745-316a53f4b99a" providerId="AD" clId="Web-{E369CB37-3068-47E4-AD90-1DEAD92C8B6F}" dt="2022-01-08T16:31:39.067" v="2638" actId="20577"/>
          <ac:spMkLst>
            <pc:docMk/>
            <pc:sldMk cId="373009354" sldId="360"/>
            <ac:spMk id="17" creationId="{815F3179-193A-4F5E-A1A9-12297C608458}"/>
          </ac:spMkLst>
        </pc:spChg>
      </pc:sldChg>
    </pc:docChg>
  </pc:docChgLst>
  <pc:docChgLst>
    <pc:chgData name="COSMOSFREN" userId="S::cosmosfren_yahoo.com#ext#@risebcg.onmicrosoft.com::5462f5f4-f618-47aa-abd8-fd504e002570" providerId="AD" clId="Web-{DCEE5406-83BB-48F0-AF89-99663C2BD9DB}"/>
    <pc:docChg chg="addSld delSld modSld sldOrd">
      <pc:chgData name="COSMOSFREN" userId="S::cosmosfren_yahoo.com#ext#@risebcg.onmicrosoft.com::5462f5f4-f618-47aa-abd8-fd504e002570" providerId="AD" clId="Web-{DCEE5406-83BB-48F0-AF89-99663C2BD9DB}" dt="2022-01-08T16:29:50.092" v="2212" actId="1076"/>
      <pc:docMkLst>
        <pc:docMk/>
      </pc:docMkLst>
      <pc:sldChg chg="ord">
        <pc:chgData name="COSMOSFREN" userId="S::cosmosfren_yahoo.com#ext#@risebcg.onmicrosoft.com::5462f5f4-f618-47aa-abd8-fd504e002570" providerId="AD" clId="Web-{DCEE5406-83BB-48F0-AF89-99663C2BD9DB}" dt="2022-01-08T16:11:32.085" v="1152"/>
        <pc:sldMkLst>
          <pc:docMk/>
          <pc:sldMk cId="2997843956" sldId="282"/>
        </pc:sldMkLst>
      </pc:sldChg>
      <pc:sldChg chg="delSp modSp ord">
        <pc:chgData name="COSMOSFREN" userId="S::cosmosfren_yahoo.com#ext#@risebcg.onmicrosoft.com::5462f5f4-f618-47aa-abd8-fd504e002570" providerId="AD" clId="Web-{DCEE5406-83BB-48F0-AF89-99663C2BD9DB}" dt="2022-01-08T16:20:46.579" v="1538" actId="1076"/>
        <pc:sldMkLst>
          <pc:docMk/>
          <pc:sldMk cId="2651815169" sldId="283"/>
        </pc:sldMkLst>
        <pc:spChg chg="mod">
          <ac:chgData name="COSMOSFREN" userId="S::cosmosfren_yahoo.com#ext#@risebcg.onmicrosoft.com::5462f5f4-f618-47aa-abd8-fd504e002570" providerId="AD" clId="Web-{DCEE5406-83BB-48F0-AF89-99663C2BD9DB}" dt="2022-01-08T15:42:31.851" v="943" actId="20577"/>
          <ac:spMkLst>
            <pc:docMk/>
            <pc:sldMk cId="2651815169" sldId="283"/>
            <ac:spMk id="4" creationId="{C3F6C5B1-254F-4FE6-BDCC-5FB9103008E3}"/>
          </ac:spMkLst>
        </pc:spChg>
        <pc:spChg chg="del">
          <ac:chgData name="COSMOSFREN" userId="S::cosmosfren_yahoo.com#ext#@risebcg.onmicrosoft.com::5462f5f4-f618-47aa-abd8-fd504e002570" providerId="AD" clId="Web-{DCEE5406-83BB-48F0-AF89-99663C2BD9DB}" dt="2022-01-08T16:19:38.703" v="1522"/>
          <ac:spMkLst>
            <pc:docMk/>
            <pc:sldMk cId="2651815169" sldId="283"/>
            <ac:spMk id="5" creationId="{860E882A-0BA4-44D6-AAB6-065F26C5A510}"/>
          </ac:spMkLst>
        </pc:spChg>
        <pc:spChg chg="del">
          <ac:chgData name="COSMOSFREN" userId="S::cosmosfren_yahoo.com#ext#@risebcg.onmicrosoft.com::5462f5f4-f618-47aa-abd8-fd504e002570" providerId="AD" clId="Web-{DCEE5406-83BB-48F0-AF89-99663C2BD9DB}" dt="2022-01-08T16:19:44.781" v="1524"/>
          <ac:spMkLst>
            <pc:docMk/>
            <pc:sldMk cId="2651815169" sldId="283"/>
            <ac:spMk id="6" creationId="{C19CDE0B-BC03-436C-B994-4E622170A517}"/>
          </ac:spMkLst>
        </pc:spChg>
        <pc:spChg chg="mod">
          <ac:chgData name="COSMOSFREN" userId="S::cosmosfren_yahoo.com#ext#@risebcg.onmicrosoft.com::5462f5f4-f618-47aa-abd8-fd504e002570" providerId="AD" clId="Web-{DCEE5406-83BB-48F0-AF89-99663C2BD9DB}" dt="2022-01-08T16:20:46.579" v="1538" actId="1076"/>
          <ac:spMkLst>
            <pc:docMk/>
            <pc:sldMk cId="2651815169" sldId="283"/>
            <ac:spMk id="7" creationId="{E61FCFC1-D89A-45B3-AC51-C90F2B6D8A09}"/>
          </ac:spMkLst>
        </pc:spChg>
        <pc:spChg chg="mod">
          <ac:chgData name="COSMOSFREN" userId="S::cosmosfren_yahoo.com#ext#@risebcg.onmicrosoft.com::5462f5f4-f618-47aa-abd8-fd504e002570" providerId="AD" clId="Web-{DCEE5406-83BB-48F0-AF89-99663C2BD9DB}" dt="2022-01-08T16:20:43.517" v="1537" actId="1076"/>
          <ac:spMkLst>
            <pc:docMk/>
            <pc:sldMk cId="2651815169" sldId="283"/>
            <ac:spMk id="8" creationId="{0B2D1DB4-275D-4442-B3F2-C378D29324DA}"/>
          </ac:spMkLst>
        </pc:spChg>
        <pc:spChg chg="del">
          <ac:chgData name="COSMOSFREN" userId="S::cosmosfren_yahoo.com#ext#@risebcg.onmicrosoft.com::5462f5f4-f618-47aa-abd8-fd504e002570" providerId="AD" clId="Web-{DCEE5406-83BB-48F0-AF89-99663C2BD9DB}" dt="2022-01-08T16:20:38.548" v="1535"/>
          <ac:spMkLst>
            <pc:docMk/>
            <pc:sldMk cId="2651815169" sldId="283"/>
            <ac:spMk id="9" creationId="{266A93B1-3355-4627-BD3B-DFC8B5544E1F}"/>
          </ac:spMkLst>
        </pc:spChg>
        <pc:spChg chg="mod">
          <ac:chgData name="COSMOSFREN" userId="S::cosmosfren_yahoo.com#ext#@risebcg.onmicrosoft.com::5462f5f4-f618-47aa-abd8-fd504e002570" providerId="AD" clId="Web-{DCEE5406-83BB-48F0-AF89-99663C2BD9DB}" dt="2022-01-08T16:20:41.188" v="1536" actId="1076"/>
          <ac:spMkLst>
            <pc:docMk/>
            <pc:sldMk cId="2651815169" sldId="283"/>
            <ac:spMk id="12" creationId="{325314B2-7B51-4562-8DBD-8B937B7D6B5C}"/>
          </ac:spMkLst>
        </pc:spChg>
        <pc:spChg chg="del">
          <ac:chgData name="COSMOSFREN" userId="S::cosmosfren_yahoo.com#ext#@risebcg.onmicrosoft.com::5462f5f4-f618-47aa-abd8-fd504e002570" providerId="AD" clId="Web-{DCEE5406-83BB-48F0-AF89-99663C2BD9DB}" dt="2022-01-08T16:19:47.859" v="1525"/>
          <ac:spMkLst>
            <pc:docMk/>
            <pc:sldMk cId="2651815169" sldId="283"/>
            <ac:spMk id="38" creationId="{17452DE5-A056-4E6A-8B53-E5726A915E05}"/>
          </ac:spMkLst>
        </pc:spChg>
        <pc:grpChg chg="del">
          <ac:chgData name="COSMOSFREN" userId="S::cosmosfren_yahoo.com#ext#@risebcg.onmicrosoft.com::5462f5f4-f618-47aa-abd8-fd504e002570" providerId="AD" clId="Web-{DCEE5406-83BB-48F0-AF89-99663C2BD9DB}" dt="2022-01-08T16:19:43.078" v="1523"/>
          <ac:grpSpMkLst>
            <pc:docMk/>
            <pc:sldMk cId="2651815169" sldId="283"/>
            <ac:grpSpMk id="29" creationId="{CD4A0C46-304C-4267-88B8-C4CD5B48E36C}"/>
          </ac:grpSpMkLst>
        </pc:grpChg>
        <pc:grpChg chg="del">
          <ac:chgData name="COSMOSFREN" userId="S::cosmosfren_yahoo.com#ext#@risebcg.onmicrosoft.com::5462f5f4-f618-47aa-abd8-fd504e002570" providerId="AD" clId="Web-{DCEE5406-83BB-48F0-AF89-99663C2BD9DB}" dt="2022-01-08T16:20:35.860" v="1534"/>
          <ac:grpSpMkLst>
            <pc:docMk/>
            <pc:sldMk cId="2651815169" sldId="283"/>
            <ac:grpSpMk id="34" creationId="{4087CC36-C158-47EB-BAF4-D71516D3E5DA}"/>
          </ac:grpSpMkLst>
        </pc:grpChg>
      </pc:sldChg>
      <pc:sldChg chg="ord">
        <pc:chgData name="COSMOSFREN" userId="S::cosmosfren_yahoo.com#ext#@risebcg.onmicrosoft.com::5462f5f4-f618-47aa-abd8-fd504e002570" providerId="AD" clId="Web-{DCEE5406-83BB-48F0-AF89-99663C2BD9DB}" dt="2022-01-08T16:10:11.006" v="1150"/>
        <pc:sldMkLst>
          <pc:docMk/>
          <pc:sldMk cId="2307665363" sldId="309"/>
        </pc:sldMkLst>
      </pc:sldChg>
      <pc:sldChg chg="modSp modNotes">
        <pc:chgData name="COSMOSFREN" userId="S::cosmosfren_yahoo.com#ext#@risebcg.onmicrosoft.com::5462f5f4-f618-47aa-abd8-fd504e002570" providerId="AD" clId="Web-{DCEE5406-83BB-48F0-AF89-99663C2BD9DB}" dt="2022-01-08T16:01:25.355" v="1146" actId="20577"/>
        <pc:sldMkLst>
          <pc:docMk/>
          <pc:sldMk cId="4084366951" sldId="318"/>
        </pc:sldMkLst>
        <pc:spChg chg="mod">
          <ac:chgData name="COSMOSFREN" userId="S::cosmosfren_yahoo.com#ext#@risebcg.onmicrosoft.com::5462f5f4-f618-47aa-abd8-fd504e002570" providerId="AD" clId="Web-{DCEE5406-83BB-48F0-AF89-99663C2BD9DB}" dt="2022-01-08T16:01:25.355" v="1146" actId="20577"/>
          <ac:spMkLst>
            <pc:docMk/>
            <pc:sldMk cId="4084366951" sldId="318"/>
            <ac:spMk id="32" creationId="{41E099E5-F68B-4939-9F7A-B9CC2E5F333A}"/>
          </ac:spMkLst>
        </pc:spChg>
      </pc:sldChg>
      <pc:sldChg chg="ord">
        <pc:chgData name="COSMOSFREN" userId="S::cosmosfren_yahoo.com#ext#@risebcg.onmicrosoft.com::5462f5f4-f618-47aa-abd8-fd504e002570" providerId="AD" clId="Web-{DCEE5406-83BB-48F0-AF89-99663C2BD9DB}" dt="2022-01-08T16:10:14.662" v="1151"/>
        <pc:sldMkLst>
          <pc:docMk/>
          <pc:sldMk cId="1791060006" sldId="319"/>
        </pc:sldMkLst>
      </pc:sldChg>
      <pc:sldChg chg="addSp delSp modSp">
        <pc:chgData name="COSMOSFREN" userId="S::cosmosfren_yahoo.com#ext#@risebcg.onmicrosoft.com::5462f5f4-f618-47aa-abd8-fd504e002570" providerId="AD" clId="Web-{DCEE5406-83BB-48F0-AF89-99663C2BD9DB}" dt="2022-01-08T14:47:15.587" v="547" actId="14100"/>
        <pc:sldMkLst>
          <pc:docMk/>
          <pc:sldMk cId="3666302761" sldId="324"/>
        </pc:sldMkLst>
        <pc:spChg chg="del">
          <ac:chgData name="COSMOSFREN" userId="S::cosmosfren_yahoo.com#ext#@risebcg.onmicrosoft.com::5462f5f4-f618-47aa-abd8-fd504e002570" providerId="AD" clId="Web-{DCEE5406-83BB-48F0-AF89-99663C2BD9DB}" dt="2022-01-08T14:21:04.279" v="78"/>
          <ac:spMkLst>
            <pc:docMk/>
            <pc:sldMk cId="3666302761" sldId="324"/>
            <ac:spMk id="4" creationId="{19708EDC-3A90-4EC0-A789-51301070BDC6}"/>
          </ac:spMkLst>
        </pc:spChg>
        <pc:spChg chg="add mod">
          <ac:chgData name="COSMOSFREN" userId="S::cosmosfren_yahoo.com#ext#@risebcg.onmicrosoft.com::5462f5f4-f618-47aa-abd8-fd504e002570" providerId="AD" clId="Web-{DCEE5406-83BB-48F0-AF89-99663C2BD9DB}" dt="2022-01-08T14:25:40.190" v="208" actId="1076"/>
          <ac:spMkLst>
            <pc:docMk/>
            <pc:sldMk cId="3666302761" sldId="324"/>
            <ac:spMk id="5" creationId="{0A784A15-5CA4-4DDF-B588-22BE7AFBC9A8}"/>
          </ac:spMkLst>
        </pc:spChg>
        <pc:spChg chg="mod">
          <ac:chgData name="COSMOSFREN" userId="S::cosmosfren_yahoo.com#ext#@risebcg.onmicrosoft.com::5462f5f4-f618-47aa-abd8-fd504e002570" providerId="AD" clId="Web-{DCEE5406-83BB-48F0-AF89-99663C2BD9DB}" dt="2022-01-08T14:43:04.349" v="482" actId="1076"/>
          <ac:spMkLst>
            <pc:docMk/>
            <pc:sldMk cId="3666302761" sldId="324"/>
            <ac:spMk id="6" creationId="{2421FA36-AD2A-4740-8B15-775BD01D9062}"/>
          </ac:spMkLst>
        </pc:spChg>
        <pc:spChg chg="mod">
          <ac:chgData name="COSMOSFREN" userId="S::cosmosfren_yahoo.com#ext#@risebcg.onmicrosoft.com::5462f5f4-f618-47aa-abd8-fd504e002570" providerId="AD" clId="Web-{DCEE5406-83BB-48F0-AF89-99663C2BD9DB}" dt="2022-01-08T14:18:28.870" v="64" actId="1076"/>
          <ac:spMkLst>
            <pc:docMk/>
            <pc:sldMk cId="3666302761" sldId="324"/>
            <ac:spMk id="7" creationId="{5040411B-0A54-429E-94AB-0F4DA7C1917E}"/>
          </ac:spMkLst>
        </pc:spChg>
        <pc:spChg chg="add del mod">
          <ac:chgData name="COSMOSFREN" userId="S::cosmosfren_yahoo.com#ext#@risebcg.onmicrosoft.com::5462f5f4-f618-47aa-abd8-fd504e002570" providerId="AD" clId="Web-{DCEE5406-83BB-48F0-AF89-99663C2BD9DB}" dt="2022-01-08T14:42:33.645" v="481"/>
          <ac:spMkLst>
            <pc:docMk/>
            <pc:sldMk cId="3666302761" sldId="324"/>
            <ac:spMk id="10" creationId="{BA5A4344-237C-4981-843D-17E5A74D5601}"/>
          </ac:spMkLst>
        </pc:spChg>
        <pc:spChg chg="mod">
          <ac:chgData name="COSMOSFREN" userId="S::cosmosfren_yahoo.com#ext#@risebcg.onmicrosoft.com::5462f5f4-f618-47aa-abd8-fd504e002570" providerId="AD" clId="Web-{DCEE5406-83BB-48F0-AF89-99663C2BD9DB}" dt="2022-01-08T14:18:30.886" v="65" actId="1076"/>
          <ac:spMkLst>
            <pc:docMk/>
            <pc:sldMk cId="3666302761" sldId="324"/>
            <ac:spMk id="12" creationId="{844D08C5-3EE5-4BAC-9392-6CA8001CAD4E}"/>
          </ac:spMkLst>
        </pc:spChg>
        <pc:spChg chg="del">
          <ac:chgData name="COSMOSFREN" userId="S::cosmosfren_yahoo.com#ext#@risebcg.onmicrosoft.com::5462f5f4-f618-47aa-abd8-fd504e002570" providerId="AD" clId="Web-{DCEE5406-83BB-48F0-AF89-99663C2BD9DB}" dt="2022-01-08T14:17:52.667" v="60"/>
          <ac:spMkLst>
            <pc:docMk/>
            <pc:sldMk cId="3666302761" sldId="324"/>
            <ac:spMk id="13" creationId="{003E35E4-DB87-4D35-8663-60FF12DD7B69}"/>
          </ac:spMkLst>
        </pc:spChg>
        <pc:spChg chg="del mod">
          <ac:chgData name="COSMOSFREN" userId="S::cosmosfren_yahoo.com#ext#@risebcg.onmicrosoft.com::5462f5f4-f618-47aa-abd8-fd504e002570" providerId="AD" clId="Web-{DCEE5406-83BB-48F0-AF89-99663C2BD9DB}" dt="2022-01-08T14:17:49.963" v="59"/>
          <ac:spMkLst>
            <pc:docMk/>
            <pc:sldMk cId="3666302761" sldId="324"/>
            <ac:spMk id="14" creationId="{CD92118D-BCDA-4C90-B9D2-09972FA65EE3}"/>
          </ac:spMkLst>
        </pc:spChg>
        <pc:spChg chg="del">
          <ac:chgData name="COSMOSFREN" userId="S::cosmosfren_yahoo.com#ext#@risebcg.onmicrosoft.com::5462f5f4-f618-47aa-abd8-fd504e002570" providerId="AD" clId="Web-{DCEE5406-83BB-48F0-AF89-99663C2BD9DB}" dt="2022-01-08T14:17:56.839" v="62"/>
          <ac:spMkLst>
            <pc:docMk/>
            <pc:sldMk cId="3666302761" sldId="324"/>
            <ac:spMk id="21" creationId="{46156451-ECB4-4520-895C-009D1F9E8343}"/>
          </ac:spMkLst>
        </pc:spChg>
        <pc:spChg chg="del">
          <ac:chgData name="COSMOSFREN" userId="S::cosmosfren_yahoo.com#ext#@risebcg.onmicrosoft.com::5462f5f4-f618-47aa-abd8-fd504e002570" providerId="AD" clId="Web-{DCEE5406-83BB-48F0-AF89-99663C2BD9DB}" dt="2022-01-08T14:14:26.241" v="3"/>
          <ac:spMkLst>
            <pc:docMk/>
            <pc:sldMk cId="3666302761" sldId="324"/>
            <ac:spMk id="22" creationId="{C16AF6E1-B243-4B07-9F33-544B588862C6}"/>
          </ac:spMkLst>
        </pc:spChg>
        <pc:spChg chg="del mod">
          <ac:chgData name="COSMOSFREN" userId="S::cosmosfren_yahoo.com#ext#@risebcg.onmicrosoft.com::5462f5f4-f618-47aa-abd8-fd504e002570" providerId="AD" clId="Web-{DCEE5406-83BB-48F0-AF89-99663C2BD9DB}" dt="2022-01-08T14:17:55.604" v="61"/>
          <ac:spMkLst>
            <pc:docMk/>
            <pc:sldMk cId="3666302761" sldId="324"/>
            <ac:spMk id="23" creationId="{437837FB-28C6-4D49-A0CB-199C96E6B187}"/>
          </ac:spMkLst>
        </pc:spChg>
        <pc:spChg chg="del">
          <ac:chgData name="COSMOSFREN" userId="S::cosmosfren_yahoo.com#ext#@risebcg.onmicrosoft.com::5462f5f4-f618-47aa-abd8-fd504e002570" providerId="AD" clId="Web-{DCEE5406-83BB-48F0-AF89-99663C2BD9DB}" dt="2022-01-08T14:14:24.366" v="2"/>
          <ac:spMkLst>
            <pc:docMk/>
            <pc:sldMk cId="3666302761" sldId="324"/>
            <ac:spMk id="24" creationId="{3A5B42D3-2732-4D38-8D3A-233FB4F41BD0}"/>
          </ac:spMkLst>
        </pc:spChg>
        <pc:spChg chg="del mod">
          <ac:chgData name="COSMOSFREN" userId="S::cosmosfren_yahoo.com#ext#@risebcg.onmicrosoft.com::5462f5f4-f618-47aa-abd8-fd504e002570" providerId="AD" clId="Web-{DCEE5406-83BB-48F0-AF89-99663C2BD9DB}" dt="2022-01-08T14:46:28.118" v="540"/>
          <ac:spMkLst>
            <pc:docMk/>
            <pc:sldMk cId="3666302761" sldId="324"/>
            <ac:spMk id="25" creationId="{A72C66DB-3DFA-4DD0-BB16-94A4A31F5E94}"/>
          </ac:spMkLst>
        </pc:spChg>
        <pc:spChg chg="del">
          <ac:chgData name="COSMOSFREN" userId="S::cosmosfren_yahoo.com#ext#@risebcg.onmicrosoft.com::5462f5f4-f618-47aa-abd8-fd504e002570" providerId="AD" clId="Web-{DCEE5406-83BB-48F0-AF89-99663C2BD9DB}" dt="2022-01-08T14:17:39.307" v="57"/>
          <ac:spMkLst>
            <pc:docMk/>
            <pc:sldMk cId="3666302761" sldId="324"/>
            <ac:spMk id="26" creationId="{22DD1760-D9EC-405F-9AAD-63EC690DC033}"/>
          </ac:spMkLst>
        </pc:spChg>
        <pc:spChg chg="del mod">
          <ac:chgData name="COSMOSFREN" userId="S::cosmosfren_yahoo.com#ext#@risebcg.onmicrosoft.com::5462f5f4-f618-47aa-abd8-fd504e002570" providerId="AD" clId="Web-{DCEE5406-83BB-48F0-AF89-99663C2BD9DB}" dt="2022-01-08T14:17:40.995" v="58"/>
          <ac:spMkLst>
            <pc:docMk/>
            <pc:sldMk cId="3666302761" sldId="324"/>
            <ac:spMk id="27" creationId="{B2BF4484-08EE-483A-BA89-BC8EDC410538}"/>
          </ac:spMkLst>
        </pc:spChg>
        <pc:spChg chg="add mod">
          <ac:chgData name="COSMOSFREN" userId="S::cosmosfren_yahoo.com#ext#@risebcg.onmicrosoft.com::5462f5f4-f618-47aa-abd8-fd504e002570" providerId="AD" clId="Web-{DCEE5406-83BB-48F0-AF89-99663C2BD9DB}" dt="2022-01-08T14:47:15.587" v="547" actId="14100"/>
          <ac:spMkLst>
            <pc:docMk/>
            <pc:sldMk cId="3666302761" sldId="324"/>
            <ac:spMk id="28" creationId="{5BEF8CBE-6A99-4BE1-8789-ABAC27A176FF}"/>
          </ac:spMkLst>
        </pc:spChg>
        <pc:picChg chg="add del mod">
          <ac:chgData name="COSMOSFREN" userId="S::cosmosfren_yahoo.com#ext#@risebcg.onmicrosoft.com::5462f5f4-f618-47aa-abd8-fd504e002570" providerId="AD" clId="Web-{DCEE5406-83BB-48F0-AF89-99663C2BD9DB}" dt="2022-01-08T14:23:28.172" v="147"/>
          <ac:picMkLst>
            <pc:docMk/>
            <pc:sldMk cId="3666302761" sldId="324"/>
            <ac:picMk id="2" creationId="{88762641-72FA-4693-B862-FC23B606047C}"/>
          </ac:picMkLst>
        </pc:picChg>
        <pc:picChg chg="add del mod">
          <ac:chgData name="COSMOSFREN" userId="S::cosmosfren_yahoo.com#ext#@risebcg.onmicrosoft.com::5462f5f4-f618-47aa-abd8-fd504e002570" providerId="AD" clId="Web-{DCEE5406-83BB-48F0-AF89-99663C2BD9DB}" dt="2022-01-08T14:24:42.939" v="196"/>
          <ac:picMkLst>
            <pc:docMk/>
            <pc:sldMk cId="3666302761" sldId="324"/>
            <ac:picMk id="3" creationId="{4E5F2E46-8730-40D6-B3BE-CE1B16367A34}"/>
          </ac:picMkLst>
        </pc:picChg>
        <pc:picChg chg="del">
          <ac:chgData name="COSMOSFREN" userId="S::cosmosfren_yahoo.com#ext#@risebcg.onmicrosoft.com::5462f5f4-f618-47aa-abd8-fd504e002570" providerId="AD" clId="Web-{DCEE5406-83BB-48F0-AF89-99663C2BD9DB}" dt="2022-01-08T14:17:35.135" v="56"/>
          <ac:picMkLst>
            <pc:docMk/>
            <pc:sldMk cId="3666302761" sldId="324"/>
            <ac:picMk id="11" creationId="{CD86A313-65D2-4D12-B76F-922156737525}"/>
          </ac:picMkLst>
        </pc:picChg>
        <pc:picChg chg="mod">
          <ac:chgData name="COSMOSFREN" userId="S::cosmosfren_yahoo.com#ext#@risebcg.onmicrosoft.com::5462f5f4-f618-47aa-abd8-fd504e002570" providerId="AD" clId="Web-{DCEE5406-83BB-48F0-AF89-99663C2BD9DB}" dt="2022-01-08T14:25:35.565" v="207" actId="14100"/>
          <ac:picMkLst>
            <pc:docMk/>
            <pc:sldMk cId="3666302761" sldId="324"/>
            <ac:picMk id="15" creationId="{5D59DB1C-172C-47ED-95FD-1E3F001466CE}"/>
          </ac:picMkLst>
        </pc:picChg>
        <pc:picChg chg="add del">
          <ac:chgData name="COSMOSFREN" userId="S::cosmosfren_yahoo.com#ext#@risebcg.onmicrosoft.com::5462f5f4-f618-47aa-abd8-fd504e002570" providerId="AD" clId="Web-{DCEE5406-83BB-48F0-AF89-99663C2BD9DB}" dt="2022-01-08T14:22:55.141" v="139"/>
          <ac:picMkLst>
            <pc:docMk/>
            <pc:sldMk cId="3666302761" sldId="324"/>
            <ac:picMk id="20" creationId="{AC1AE87E-05CA-4ABD-ADB8-D114BBAF3D4D}"/>
          </ac:picMkLst>
        </pc:picChg>
      </pc:sldChg>
      <pc:sldChg chg="delSp modSp ord">
        <pc:chgData name="COSMOSFREN" userId="S::cosmosfren_yahoo.com#ext#@risebcg.onmicrosoft.com::5462f5f4-f618-47aa-abd8-fd504e002570" providerId="AD" clId="Web-{DCEE5406-83BB-48F0-AF89-99663C2BD9DB}" dt="2022-01-08T14:58:13.583" v="564"/>
        <pc:sldMkLst>
          <pc:docMk/>
          <pc:sldMk cId="2316358039" sldId="325"/>
        </pc:sldMkLst>
        <pc:spChg chg="del mod">
          <ac:chgData name="COSMOSFREN" userId="S::cosmosfren_yahoo.com#ext#@risebcg.onmicrosoft.com::5462f5f4-f618-47aa-abd8-fd504e002570" providerId="AD" clId="Web-{DCEE5406-83BB-48F0-AF89-99663C2BD9DB}" dt="2022-01-08T14:13:47.662" v="1"/>
          <ac:spMkLst>
            <pc:docMk/>
            <pc:sldMk cId="2316358039" sldId="325"/>
            <ac:spMk id="3" creationId="{424AF61A-30BE-4BE9-9F56-D2497C21C355}"/>
          </ac:spMkLst>
        </pc:spChg>
        <pc:spChg chg="mod">
          <ac:chgData name="COSMOSFREN" userId="S::cosmosfren_yahoo.com#ext#@risebcg.onmicrosoft.com::5462f5f4-f618-47aa-abd8-fd504e002570" providerId="AD" clId="Web-{DCEE5406-83BB-48F0-AF89-99663C2BD9DB}" dt="2022-01-08T14:55:35.971" v="563" actId="14100"/>
          <ac:spMkLst>
            <pc:docMk/>
            <pc:sldMk cId="2316358039" sldId="325"/>
            <ac:spMk id="6" creationId="{208993E5-B009-40A8-BC89-286E139EA12D}"/>
          </ac:spMkLst>
        </pc:spChg>
        <pc:spChg chg="del mod">
          <ac:chgData name="COSMOSFREN" userId="S::cosmosfren_yahoo.com#ext#@risebcg.onmicrosoft.com::5462f5f4-f618-47aa-abd8-fd504e002570" providerId="AD" clId="Web-{DCEE5406-83BB-48F0-AF89-99663C2BD9DB}" dt="2022-01-08T14:52:17.155" v="557"/>
          <ac:spMkLst>
            <pc:docMk/>
            <pc:sldMk cId="2316358039" sldId="325"/>
            <ac:spMk id="11" creationId="{2EFF56F4-3D9E-4EE7-83BA-042A94F63CC3}"/>
          </ac:spMkLst>
        </pc:spChg>
        <pc:spChg chg="del mod">
          <ac:chgData name="COSMOSFREN" userId="S::cosmosfren_yahoo.com#ext#@risebcg.onmicrosoft.com::5462f5f4-f618-47aa-abd8-fd504e002570" providerId="AD" clId="Web-{DCEE5406-83BB-48F0-AF89-99663C2BD9DB}" dt="2022-01-08T14:52:13.639" v="556"/>
          <ac:spMkLst>
            <pc:docMk/>
            <pc:sldMk cId="2316358039" sldId="325"/>
            <ac:spMk id="21" creationId="{E9143E79-0358-464A-ACC6-31293226C369}"/>
          </ac:spMkLst>
        </pc:spChg>
        <pc:picChg chg="mod">
          <ac:chgData name="COSMOSFREN" userId="S::cosmosfren_yahoo.com#ext#@risebcg.onmicrosoft.com::5462f5f4-f618-47aa-abd8-fd504e002570" providerId="AD" clId="Web-{DCEE5406-83BB-48F0-AF89-99663C2BD9DB}" dt="2022-01-08T14:52:43.952" v="558" actId="14100"/>
          <ac:picMkLst>
            <pc:docMk/>
            <pc:sldMk cId="2316358039" sldId="325"/>
            <ac:picMk id="2" creationId="{69CF128B-0B09-4BF1-B2CA-1BA877B1F78B}"/>
          </ac:picMkLst>
        </pc:picChg>
      </pc:sldChg>
      <pc:sldChg chg="addSp delSp modSp ord modNotes">
        <pc:chgData name="COSMOSFREN" userId="S::cosmosfren_yahoo.com#ext#@risebcg.onmicrosoft.com::5462f5f4-f618-47aa-abd8-fd504e002570" providerId="AD" clId="Web-{DCEE5406-83BB-48F0-AF89-99663C2BD9DB}" dt="2022-01-08T16:29:50.092" v="2212" actId="1076"/>
        <pc:sldMkLst>
          <pc:docMk/>
          <pc:sldMk cId="2652119032" sldId="335"/>
        </pc:sldMkLst>
        <pc:spChg chg="del mod">
          <ac:chgData name="COSMOSFREN" userId="S::cosmosfren_yahoo.com#ext#@risebcg.onmicrosoft.com::5462f5f4-f618-47aa-abd8-fd504e002570" providerId="AD" clId="Web-{DCEE5406-83BB-48F0-AF89-99663C2BD9DB}" dt="2022-01-08T16:14:20.401" v="1163"/>
          <ac:spMkLst>
            <pc:docMk/>
            <pc:sldMk cId="2652119032" sldId="335"/>
            <ac:spMk id="3" creationId="{CB7BAFB0-445F-4F96-BCE3-50C0E2AB21AD}"/>
          </ac:spMkLst>
        </pc:spChg>
        <pc:spChg chg="mod">
          <ac:chgData name="COSMOSFREN" userId="S::cosmosfren_yahoo.com#ext#@risebcg.onmicrosoft.com::5462f5f4-f618-47aa-abd8-fd504e002570" providerId="AD" clId="Web-{DCEE5406-83BB-48F0-AF89-99663C2BD9DB}" dt="2022-01-08T16:25:38.928" v="1907" actId="20577"/>
          <ac:spMkLst>
            <pc:docMk/>
            <pc:sldMk cId="2652119032" sldId="335"/>
            <ac:spMk id="4" creationId="{7BCAFA08-4D06-4459-BDE0-CAB790C8CB40}"/>
          </ac:spMkLst>
        </pc:spChg>
        <pc:spChg chg="del mod">
          <ac:chgData name="COSMOSFREN" userId="S::cosmosfren_yahoo.com#ext#@risebcg.onmicrosoft.com::5462f5f4-f618-47aa-abd8-fd504e002570" providerId="AD" clId="Web-{DCEE5406-83BB-48F0-AF89-99663C2BD9DB}" dt="2022-01-08T16:20:51.032" v="1539"/>
          <ac:spMkLst>
            <pc:docMk/>
            <pc:sldMk cId="2652119032" sldId="335"/>
            <ac:spMk id="9" creationId="{7E2F8E19-F56B-4CB8-9CA2-A1277727EBFD}"/>
          </ac:spMkLst>
        </pc:spChg>
        <pc:spChg chg="add mod">
          <ac:chgData name="COSMOSFREN" userId="S::cosmosfren_yahoo.com#ext#@risebcg.onmicrosoft.com::5462f5f4-f618-47aa-abd8-fd504e002570" providerId="AD" clId="Web-{DCEE5406-83BB-48F0-AF89-99663C2BD9DB}" dt="2022-01-08T16:29:50.092" v="2212" actId="1076"/>
          <ac:spMkLst>
            <pc:docMk/>
            <pc:sldMk cId="2652119032" sldId="335"/>
            <ac:spMk id="10" creationId="{5B136050-0C52-4973-B00A-9438EBC773F2}"/>
          </ac:spMkLst>
        </pc:spChg>
      </pc:sldChg>
      <pc:sldChg chg="modSp">
        <pc:chgData name="COSMOSFREN" userId="S::cosmosfren_yahoo.com#ext#@risebcg.onmicrosoft.com::5462f5f4-f618-47aa-abd8-fd504e002570" providerId="AD" clId="Web-{DCEE5406-83BB-48F0-AF89-99663C2BD9DB}" dt="2022-01-08T16:12:22.274" v="1161" actId="20577"/>
        <pc:sldMkLst>
          <pc:docMk/>
          <pc:sldMk cId="2538826858" sldId="336"/>
        </pc:sldMkLst>
        <pc:spChg chg="mod">
          <ac:chgData name="COSMOSFREN" userId="S::cosmosfren_yahoo.com#ext#@risebcg.onmicrosoft.com::5462f5f4-f618-47aa-abd8-fd504e002570" providerId="AD" clId="Web-{DCEE5406-83BB-48F0-AF89-99663C2BD9DB}" dt="2022-01-08T16:12:22.274" v="1161" actId="20577"/>
          <ac:spMkLst>
            <pc:docMk/>
            <pc:sldMk cId="2538826858" sldId="336"/>
            <ac:spMk id="3" creationId="{164E3C0E-342F-4895-87DC-B14BCB7446FE}"/>
          </ac:spMkLst>
        </pc:spChg>
      </pc:sldChg>
      <pc:sldChg chg="addSp delSp modSp">
        <pc:chgData name="COSMOSFREN" userId="S::cosmosfren_yahoo.com#ext#@risebcg.onmicrosoft.com::5462f5f4-f618-47aa-abd8-fd504e002570" providerId="AD" clId="Web-{DCEE5406-83BB-48F0-AF89-99663C2BD9DB}" dt="2022-01-08T15:47:56.872" v="1082" actId="20577"/>
        <pc:sldMkLst>
          <pc:docMk/>
          <pc:sldMk cId="3391215681" sldId="339"/>
        </pc:sldMkLst>
        <pc:spChg chg="mod">
          <ac:chgData name="COSMOSFREN" userId="S::cosmosfren_yahoo.com#ext#@risebcg.onmicrosoft.com::5462f5f4-f618-47aa-abd8-fd504e002570" providerId="AD" clId="Web-{DCEE5406-83BB-48F0-AF89-99663C2BD9DB}" dt="2022-01-08T15:45:36.651" v="1008" actId="20577"/>
          <ac:spMkLst>
            <pc:docMk/>
            <pc:sldMk cId="3391215681" sldId="339"/>
            <ac:spMk id="49" creationId="{1A40ECD8-EC71-4C0D-A629-C5042C9FBE1B}"/>
          </ac:spMkLst>
        </pc:spChg>
        <pc:spChg chg="add mod">
          <ac:chgData name="COSMOSFREN" userId="S::cosmosfren_yahoo.com#ext#@risebcg.onmicrosoft.com::5462f5f4-f618-47aa-abd8-fd504e002570" providerId="AD" clId="Web-{DCEE5406-83BB-48F0-AF89-99663C2BD9DB}" dt="2022-01-08T15:44:55.666" v="985" actId="20577"/>
          <ac:spMkLst>
            <pc:docMk/>
            <pc:sldMk cId="3391215681" sldId="339"/>
            <ac:spMk id="124" creationId="{C91A31F3-23FB-421F-8BC0-FD3F5F868D91}"/>
          </ac:spMkLst>
        </pc:spChg>
        <pc:spChg chg="add del">
          <ac:chgData name="COSMOSFREN" userId="S::cosmosfren_yahoo.com#ext#@risebcg.onmicrosoft.com::5462f5f4-f618-47aa-abd8-fd504e002570" providerId="AD" clId="Web-{DCEE5406-83BB-48F0-AF89-99663C2BD9DB}" dt="2022-01-08T15:45:46.901" v="1010"/>
          <ac:spMkLst>
            <pc:docMk/>
            <pc:sldMk cId="3391215681" sldId="339"/>
            <ac:spMk id="125" creationId="{DE05C0AB-8DF0-47E3-A404-02FB6A737303}"/>
          </ac:spMkLst>
        </pc:spChg>
        <pc:spChg chg="add mod">
          <ac:chgData name="COSMOSFREN" userId="S::cosmosfren_yahoo.com#ext#@risebcg.onmicrosoft.com::5462f5f4-f618-47aa-abd8-fd504e002570" providerId="AD" clId="Web-{DCEE5406-83BB-48F0-AF89-99663C2BD9DB}" dt="2022-01-08T15:45:40.604" v="1009" actId="1076"/>
          <ac:spMkLst>
            <pc:docMk/>
            <pc:sldMk cId="3391215681" sldId="339"/>
            <ac:spMk id="126" creationId="{B0791398-D0B2-4A5B-9918-DABD658B5B39}"/>
          </ac:spMkLst>
        </pc:spChg>
        <pc:graphicFrameChg chg="modGraphic">
          <ac:chgData name="COSMOSFREN" userId="S::cosmosfren_yahoo.com#ext#@risebcg.onmicrosoft.com::5462f5f4-f618-47aa-abd8-fd504e002570" providerId="AD" clId="Web-{DCEE5406-83BB-48F0-AF89-99663C2BD9DB}" dt="2022-01-08T15:47:56.872" v="1082" actId="20577"/>
          <ac:graphicFrameMkLst>
            <pc:docMk/>
            <pc:sldMk cId="3391215681" sldId="339"/>
            <ac:graphicFrameMk id="28" creationId="{9D58B7B4-DE29-4DDF-BB8A-729D2B705659}"/>
          </ac:graphicFrameMkLst>
        </pc:graphicFrameChg>
      </pc:sldChg>
      <pc:sldChg chg="modSp ord">
        <pc:chgData name="COSMOSFREN" userId="S::cosmosfren_yahoo.com#ext#@risebcg.onmicrosoft.com::5462f5f4-f618-47aa-abd8-fd504e002570" providerId="AD" clId="Web-{DCEE5406-83BB-48F0-AF89-99663C2BD9DB}" dt="2022-01-08T16:09:03.911" v="1149"/>
        <pc:sldMkLst>
          <pc:docMk/>
          <pc:sldMk cId="3971465157" sldId="345"/>
        </pc:sldMkLst>
        <pc:spChg chg="mod">
          <ac:chgData name="COSMOSFREN" userId="S::cosmosfren_yahoo.com#ext#@risebcg.onmicrosoft.com::5462f5f4-f618-47aa-abd8-fd504e002570" providerId="AD" clId="Web-{DCEE5406-83BB-48F0-AF89-99663C2BD9DB}" dt="2022-01-08T15:01:04.695" v="581" actId="20577"/>
          <ac:spMkLst>
            <pc:docMk/>
            <pc:sldMk cId="3971465157" sldId="345"/>
            <ac:spMk id="2" creationId="{ED14AA63-35D8-4136-8B2F-DE1837A583A2}"/>
          </ac:spMkLst>
        </pc:spChg>
      </pc:sldChg>
      <pc:sldChg chg="ord">
        <pc:chgData name="COSMOSFREN" userId="S::cosmosfren_yahoo.com#ext#@risebcg.onmicrosoft.com::5462f5f4-f618-47aa-abd8-fd504e002570" providerId="AD" clId="Web-{DCEE5406-83BB-48F0-AF89-99663C2BD9DB}" dt="2022-01-08T16:08:22.691" v="1147"/>
        <pc:sldMkLst>
          <pc:docMk/>
          <pc:sldMk cId="2149037765" sldId="346"/>
        </pc:sldMkLst>
      </pc:sldChg>
      <pc:sldChg chg="new del">
        <pc:chgData name="COSMOSFREN" userId="S::cosmosfren_yahoo.com#ext#@risebcg.onmicrosoft.com::5462f5f4-f618-47aa-abd8-fd504e002570" providerId="AD" clId="Web-{DCEE5406-83BB-48F0-AF89-99663C2BD9DB}" dt="2022-01-08T14:17:15.604" v="55"/>
        <pc:sldMkLst>
          <pc:docMk/>
          <pc:sldMk cId="618635901" sldId="354"/>
        </pc:sldMkLst>
      </pc:sldChg>
      <pc:sldChg chg="addSp add ord replId">
        <pc:chgData name="COSMOSFREN" userId="S::cosmosfren_yahoo.com#ext#@risebcg.onmicrosoft.com::5462f5f4-f618-47aa-abd8-fd504e002570" providerId="AD" clId="Web-{DCEE5406-83BB-48F0-AF89-99663C2BD9DB}" dt="2022-01-08T14:43:38.224" v="485"/>
        <pc:sldMkLst>
          <pc:docMk/>
          <pc:sldMk cId="165658709" sldId="355"/>
        </pc:sldMkLst>
        <pc:picChg chg="add">
          <ac:chgData name="COSMOSFREN" userId="S::cosmosfren_yahoo.com#ext#@risebcg.onmicrosoft.com::5462f5f4-f618-47aa-abd8-fd504e002570" providerId="AD" clId="Web-{DCEE5406-83BB-48F0-AF89-99663C2BD9DB}" dt="2022-01-08T14:23:25.547" v="146"/>
          <ac:picMkLst>
            <pc:docMk/>
            <pc:sldMk cId="165658709" sldId="355"/>
            <ac:picMk id="2" creationId="{BD070F67-C046-4FA4-BC49-57AF06A15A77}"/>
          </ac:picMkLst>
        </pc:picChg>
      </pc:sldChg>
      <pc:sldChg chg="addSp modSp ord">
        <pc:chgData name="COSMOSFREN" userId="S::cosmosfren_yahoo.com#ext#@risebcg.onmicrosoft.com::5462f5f4-f618-47aa-abd8-fd504e002570" providerId="AD" clId="Web-{DCEE5406-83BB-48F0-AF89-99663C2BD9DB}" dt="2022-01-08T16:08:54.130" v="1148"/>
        <pc:sldMkLst>
          <pc:docMk/>
          <pc:sldMk cId="1227236751" sldId="356"/>
        </pc:sldMkLst>
        <pc:spChg chg="mod">
          <ac:chgData name="COSMOSFREN" userId="S::cosmosfren_yahoo.com#ext#@risebcg.onmicrosoft.com::5462f5f4-f618-47aa-abd8-fd504e002570" providerId="AD" clId="Web-{DCEE5406-83BB-48F0-AF89-99663C2BD9DB}" dt="2022-01-08T15:13:14.145" v="895" actId="1076"/>
          <ac:spMkLst>
            <pc:docMk/>
            <pc:sldMk cId="1227236751" sldId="356"/>
            <ac:spMk id="2" creationId="{ED14AA63-35D8-4136-8B2F-DE1837A583A2}"/>
          </ac:spMkLst>
        </pc:spChg>
        <pc:spChg chg="mod">
          <ac:chgData name="COSMOSFREN" userId="S::cosmosfren_yahoo.com#ext#@risebcg.onmicrosoft.com::5462f5f4-f618-47aa-abd8-fd504e002570" providerId="AD" clId="Web-{DCEE5406-83BB-48F0-AF89-99663C2BD9DB}" dt="2022-01-08T15:13:26.989" v="902" actId="1076"/>
          <ac:spMkLst>
            <pc:docMk/>
            <pc:sldMk cId="1227236751" sldId="356"/>
            <ac:spMk id="3" creationId="{2321500F-B116-49E9-B713-1C89E59A92D6}"/>
          </ac:spMkLst>
        </pc:spChg>
        <pc:spChg chg="mod">
          <ac:chgData name="COSMOSFREN" userId="S::cosmosfren_yahoo.com#ext#@risebcg.onmicrosoft.com::5462f5f4-f618-47aa-abd8-fd504e002570" providerId="AD" clId="Web-{DCEE5406-83BB-48F0-AF89-99663C2BD9DB}" dt="2022-01-08T15:12:40.816" v="881" actId="20577"/>
          <ac:spMkLst>
            <pc:docMk/>
            <pc:sldMk cId="1227236751" sldId="356"/>
            <ac:spMk id="4" creationId="{215644EC-E1A2-4B5F-BA53-79EB189605EC}"/>
          </ac:spMkLst>
        </pc:spChg>
        <pc:spChg chg="mod">
          <ac:chgData name="COSMOSFREN" userId="S::cosmosfren_yahoo.com#ext#@risebcg.onmicrosoft.com::5462f5f4-f618-47aa-abd8-fd504e002570" providerId="AD" clId="Web-{DCEE5406-83BB-48F0-AF89-99663C2BD9DB}" dt="2022-01-08T15:13:31.395" v="903" actId="1076"/>
          <ac:spMkLst>
            <pc:docMk/>
            <pc:sldMk cId="1227236751" sldId="356"/>
            <ac:spMk id="12" creationId="{95E46411-4A0C-41AA-9250-790D71323EA7}"/>
          </ac:spMkLst>
        </pc:spChg>
        <pc:picChg chg="mod">
          <ac:chgData name="COSMOSFREN" userId="S::cosmosfren_yahoo.com#ext#@risebcg.onmicrosoft.com::5462f5f4-f618-47aa-abd8-fd504e002570" providerId="AD" clId="Web-{DCEE5406-83BB-48F0-AF89-99663C2BD9DB}" dt="2022-01-08T15:22:47.764" v="907" actId="1076"/>
          <ac:picMkLst>
            <pc:docMk/>
            <pc:sldMk cId="1227236751" sldId="356"/>
            <ac:picMk id="8" creationId="{1C37FA25-553F-4164-8C97-7E76EEDF8003}"/>
          </ac:picMkLst>
        </pc:picChg>
        <pc:picChg chg="add mod">
          <ac:chgData name="COSMOSFREN" userId="S::cosmosfren_yahoo.com#ext#@risebcg.onmicrosoft.com::5462f5f4-f618-47aa-abd8-fd504e002570" providerId="AD" clId="Web-{DCEE5406-83BB-48F0-AF89-99663C2BD9DB}" dt="2022-01-08T15:01:20.289" v="583" actId="1076"/>
          <ac:picMkLst>
            <pc:docMk/>
            <pc:sldMk cId="1227236751" sldId="356"/>
            <ac:picMk id="11" creationId="{B9CA3DF6-D1DE-4B59-9A07-B34CE4EC9917}"/>
          </ac:picMkLst>
        </pc:picChg>
        <pc:picChg chg="add mod">
          <ac:chgData name="COSMOSFREN" userId="S::cosmosfren_yahoo.com#ext#@risebcg.onmicrosoft.com::5462f5f4-f618-47aa-abd8-fd504e002570" providerId="AD" clId="Web-{DCEE5406-83BB-48F0-AF89-99663C2BD9DB}" dt="2022-01-08T15:22:45.233" v="906" actId="1076"/>
          <ac:picMkLst>
            <pc:docMk/>
            <pc:sldMk cId="1227236751" sldId="356"/>
            <ac:picMk id="13" creationId="{6031EC29-FB42-4498-A4A9-E35C4E061CC4}"/>
          </ac:picMkLst>
        </pc:picChg>
      </pc:sldChg>
    </pc:docChg>
  </pc:docChgLst>
  <pc:docChgLst>
    <pc:chgData name="WONGYONGLIN91" userId="S::wongyonglin91_gmail.com#ext#@risebcg.onmicrosoft.com::b2d94f93-e580-4f0d-9dda-2138509d25ae" providerId="AD" clId="Web-{C6B74C6D-491E-41E5-B73F-A02C1ED83FFA}"/>
    <pc:docChg chg="modSld">
      <pc:chgData name="WONGYONGLIN91" userId="S::wongyonglin91_gmail.com#ext#@risebcg.onmicrosoft.com::b2d94f93-e580-4f0d-9dda-2138509d25ae" providerId="AD" clId="Web-{C6B74C6D-491E-41E5-B73F-A02C1ED83FFA}" dt="2022-01-09T08:32:09.601" v="164"/>
      <pc:docMkLst>
        <pc:docMk/>
      </pc:docMkLst>
      <pc:sldChg chg="addSp delSp modSp">
        <pc:chgData name="WONGYONGLIN91" userId="S::wongyonglin91_gmail.com#ext#@risebcg.onmicrosoft.com::b2d94f93-e580-4f0d-9dda-2138509d25ae" providerId="AD" clId="Web-{C6B74C6D-491E-41E5-B73F-A02C1ED83FFA}" dt="2022-01-09T08:32:09.601" v="164"/>
        <pc:sldMkLst>
          <pc:docMk/>
          <pc:sldMk cId="3391215681" sldId="339"/>
        </pc:sldMkLst>
        <pc:spChg chg="mod">
          <ac:chgData name="WONGYONGLIN91" userId="S::wongyonglin91_gmail.com#ext#@risebcg.onmicrosoft.com::b2d94f93-e580-4f0d-9dda-2138509d25ae" providerId="AD" clId="Web-{C6B74C6D-491E-41E5-B73F-A02C1ED83FFA}" dt="2022-01-09T07:44:52.570" v="131" actId="20577"/>
          <ac:spMkLst>
            <pc:docMk/>
            <pc:sldMk cId="3391215681" sldId="339"/>
            <ac:spMk id="160" creationId="{129EBF9C-3DCE-40EC-8CFB-1CB201B252BE}"/>
          </ac:spMkLst>
        </pc:spChg>
        <pc:picChg chg="add del mod">
          <ac:chgData name="WONGYONGLIN91" userId="S::wongyonglin91_gmail.com#ext#@risebcg.onmicrosoft.com::b2d94f93-e580-4f0d-9dda-2138509d25ae" providerId="AD" clId="Web-{C6B74C6D-491E-41E5-B73F-A02C1ED83FFA}" dt="2022-01-09T08:32:09.601" v="164"/>
          <ac:picMkLst>
            <pc:docMk/>
            <pc:sldMk cId="3391215681" sldId="339"/>
            <ac:picMk id="3194" creationId="{D4A0E8E6-C6FE-4F6C-8A47-D508562A3090}"/>
          </ac:picMkLst>
        </pc:picChg>
        <pc:inkChg chg="add del">
          <ac:chgData name="WONGYONGLIN91" userId="S::wongyonglin91_gmail.com#ext#@risebcg.onmicrosoft.com::b2d94f93-e580-4f0d-9dda-2138509d25ae" providerId="AD" clId="Web-{C6B74C6D-491E-41E5-B73F-A02C1ED83FFA}" dt="2022-01-09T07:45:34.384" v="142"/>
          <ac:inkMkLst>
            <pc:docMk/>
            <pc:sldMk cId="3391215681" sldId="339"/>
            <ac:inkMk id="3020" creationId="{34A32C8C-6797-46B9-A8EB-15C533EBE5A9}"/>
          </ac:inkMkLst>
        </pc:inkChg>
        <pc:inkChg chg="add del">
          <ac:chgData name="WONGYONGLIN91" userId="S::wongyonglin91_gmail.com#ext#@risebcg.onmicrosoft.com::b2d94f93-e580-4f0d-9dda-2138509d25ae" providerId="AD" clId="Web-{C6B74C6D-491E-41E5-B73F-A02C1ED83FFA}" dt="2022-01-09T07:45:36.540" v="147"/>
          <ac:inkMkLst>
            <pc:docMk/>
            <pc:sldMk cId="3391215681" sldId="339"/>
            <ac:inkMk id="3038" creationId="{19A6B60C-E6EB-4D3E-ABD1-AA4B81E0BF12}"/>
          </ac:inkMkLst>
        </pc:inkChg>
        <pc:inkChg chg="add del">
          <ac:chgData name="WONGYONGLIN91" userId="S::wongyonglin91_gmail.com#ext#@risebcg.onmicrosoft.com::b2d94f93-e580-4f0d-9dda-2138509d25ae" providerId="AD" clId="Web-{C6B74C6D-491E-41E5-B73F-A02C1ED83FFA}" dt="2022-01-09T07:45:34.884" v="143"/>
          <ac:inkMkLst>
            <pc:docMk/>
            <pc:sldMk cId="3391215681" sldId="339"/>
            <ac:inkMk id="3039" creationId="{811A4DAE-D128-4BF1-BBA6-0C4E3DE6F774}"/>
          </ac:inkMkLst>
        </pc:inkChg>
        <pc:inkChg chg="add del">
          <ac:chgData name="WONGYONGLIN91" userId="S::wongyonglin91_gmail.com#ext#@risebcg.onmicrosoft.com::b2d94f93-e580-4f0d-9dda-2138509d25ae" providerId="AD" clId="Web-{C6B74C6D-491E-41E5-B73F-A02C1ED83FFA}" dt="2022-01-09T07:45:34.384" v="141"/>
          <ac:inkMkLst>
            <pc:docMk/>
            <pc:sldMk cId="3391215681" sldId="339"/>
            <ac:inkMk id="3040" creationId="{EA121CB6-EC4E-4BAB-B8DE-F73977D5534E}"/>
          </ac:inkMkLst>
        </pc:inkChg>
        <pc:inkChg chg="add del">
          <ac:chgData name="WONGYONGLIN91" userId="S::wongyonglin91_gmail.com#ext#@risebcg.onmicrosoft.com::b2d94f93-e580-4f0d-9dda-2138509d25ae" providerId="AD" clId="Web-{C6B74C6D-491E-41E5-B73F-A02C1ED83FFA}" dt="2022-01-09T07:45:34.384" v="140"/>
          <ac:inkMkLst>
            <pc:docMk/>
            <pc:sldMk cId="3391215681" sldId="339"/>
            <ac:inkMk id="3041" creationId="{7326D55F-C5A6-4F9A-A556-52949139B5B8}"/>
          </ac:inkMkLst>
        </pc:inkChg>
        <pc:inkChg chg="add del">
          <ac:chgData name="WONGYONGLIN91" userId="S::wongyonglin91_gmail.com#ext#@risebcg.onmicrosoft.com::b2d94f93-e580-4f0d-9dda-2138509d25ae" providerId="AD" clId="Web-{C6B74C6D-491E-41E5-B73F-A02C1ED83FFA}" dt="2022-01-09T07:45:35.446" v="145"/>
          <ac:inkMkLst>
            <pc:docMk/>
            <pc:sldMk cId="3391215681" sldId="339"/>
            <ac:inkMk id="3042" creationId="{D9DF966D-3159-4FCC-9560-969DCB84E98C}"/>
          </ac:inkMkLst>
        </pc:inkChg>
        <pc:inkChg chg="add del">
          <ac:chgData name="WONGYONGLIN91" userId="S::wongyonglin91_gmail.com#ext#@risebcg.onmicrosoft.com::b2d94f93-e580-4f0d-9dda-2138509d25ae" providerId="AD" clId="Web-{C6B74C6D-491E-41E5-B73F-A02C1ED83FFA}" dt="2022-01-09T07:45:35.446" v="144"/>
          <ac:inkMkLst>
            <pc:docMk/>
            <pc:sldMk cId="3391215681" sldId="339"/>
            <ac:inkMk id="3043" creationId="{833FEF53-3C21-40A1-A0BC-7921998FEF2E}"/>
          </ac:inkMkLst>
        </pc:inkChg>
        <pc:inkChg chg="add del">
          <ac:chgData name="WONGYONGLIN91" userId="S::wongyonglin91_gmail.com#ext#@risebcg.onmicrosoft.com::b2d94f93-e580-4f0d-9dda-2138509d25ae" providerId="AD" clId="Web-{C6B74C6D-491E-41E5-B73F-A02C1ED83FFA}" dt="2022-01-09T07:45:35.618" v="146"/>
          <ac:inkMkLst>
            <pc:docMk/>
            <pc:sldMk cId="3391215681" sldId="339"/>
            <ac:inkMk id="3044" creationId="{0BFFA006-0A42-474C-8E3C-112731733D28}"/>
          </ac:inkMkLst>
        </pc:inkChg>
        <pc:inkChg chg="add del">
          <ac:chgData name="WONGYONGLIN91" userId="S::wongyonglin91_gmail.com#ext#@risebcg.onmicrosoft.com::b2d94f93-e580-4f0d-9dda-2138509d25ae" providerId="AD" clId="Web-{C6B74C6D-491E-41E5-B73F-A02C1ED83FFA}" dt="2022-01-09T07:46:09.650" v="149"/>
          <ac:inkMkLst>
            <pc:docMk/>
            <pc:sldMk cId="3391215681" sldId="339"/>
            <ac:inkMk id="3062" creationId="{031403EA-9769-459E-96D3-2F5BD546E543}"/>
          </ac:inkMkLst>
        </pc:inkChg>
      </pc:sldChg>
      <pc:sldChg chg="modSp">
        <pc:chgData name="WONGYONGLIN91" userId="S::wongyonglin91_gmail.com#ext#@risebcg.onmicrosoft.com::b2d94f93-e580-4f0d-9dda-2138509d25ae" providerId="AD" clId="Web-{C6B74C6D-491E-41E5-B73F-A02C1ED83FFA}" dt="2022-01-09T07:35:15.162" v="57" actId="20577"/>
        <pc:sldMkLst>
          <pc:docMk/>
          <pc:sldMk cId="3971465157" sldId="345"/>
        </pc:sldMkLst>
        <pc:spChg chg="mod">
          <ac:chgData name="WONGYONGLIN91" userId="S::wongyonglin91_gmail.com#ext#@risebcg.onmicrosoft.com::b2d94f93-e580-4f0d-9dda-2138509d25ae" providerId="AD" clId="Web-{C6B74C6D-491E-41E5-B73F-A02C1ED83FFA}" dt="2022-01-09T07:35:15.162" v="57" actId="20577"/>
          <ac:spMkLst>
            <pc:docMk/>
            <pc:sldMk cId="3971465157" sldId="345"/>
            <ac:spMk id="2" creationId="{ED14AA63-35D8-4136-8B2F-DE1837A583A2}"/>
          </ac:spMkLst>
        </pc:spChg>
      </pc:sldChg>
      <pc:sldChg chg="modSp">
        <pc:chgData name="WONGYONGLIN91" userId="S::wongyonglin91_gmail.com#ext#@risebcg.onmicrosoft.com::b2d94f93-e580-4f0d-9dda-2138509d25ae" providerId="AD" clId="Web-{C6B74C6D-491E-41E5-B73F-A02C1ED83FFA}" dt="2022-01-09T07:35:18.834" v="67" actId="20577"/>
        <pc:sldMkLst>
          <pc:docMk/>
          <pc:sldMk cId="2149037765" sldId="346"/>
        </pc:sldMkLst>
        <pc:spChg chg="mod">
          <ac:chgData name="WONGYONGLIN91" userId="S::wongyonglin91_gmail.com#ext#@risebcg.onmicrosoft.com::b2d94f93-e580-4f0d-9dda-2138509d25ae" providerId="AD" clId="Web-{C6B74C6D-491E-41E5-B73F-A02C1ED83FFA}" dt="2022-01-09T07:35:18.834" v="67" actId="20577"/>
          <ac:spMkLst>
            <pc:docMk/>
            <pc:sldMk cId="2149037765" sldId="346"/>
            <ac:spMk id="2" creationId="{ED14AA63-35D8-4136-8B2F-DE1837A583A2}"/>
          </ac:spMkLst>
        </pc:spChg>
      </pc:sldChg>
      <pc:sldChg chg="modSp modNotes">
        <pc:chgData name="WONGYONGLIN91" userId="S::wongyonglin91_gmail.com#ext#@risebcg.onmicrosoft.com::b2d94f93-e580-4f0d-9dda-2138509d25ae" providerId="AD" clId="Web-{C6B74C6D-491E-41E5-B73F-A02C1ED83FFA}" dt="2022-01-09T08:24:27.412" v="162"/>
        <pc:sldMkLst>
          <pc:docMk/>
          <pc:sldMk cId="1894441827" sldId="358"/>
        </pc:sldMkLst>
        <pc:spChg chg="mod">
          <ac:chgData name="WONGYONGLIN91" userId="S::wongyonglin91_gmail.com#ext#@risebcg.onmicrosoft.com::b2d94f93-e580-4f0d-9dda-2138509d25ae" providerId="AD" clId="Web-{C6B74C6D-491E-41E5-B73F-A02C1ED83FFA}" dt="2022-01-09T07:14:20.587" v="42" actId="20577"/>
          <ac:spMkLst>
            <pc:docMk/>
            <pc:sldMk cId="1894441827" sldId="358"/>
            <ac:spMk id="17" creationId="{815F3179-193A-4F5E-A1A9-12297C608458}"/>
          </ac:spMkLst>
        </pc:spChg>
        <pc:picChg chg="mod">
          <ac:chgData name="WONGYONGLIN91" userId="S::wongyonglin91_gmail.com#ext#@risebcg.onmicrosoft.com::b2d94f93-e580-4f0d-9dda-2138509d25ae" providerId="AD" clId="Web-{C6B74C6D-491E-41E5-B73F-A02C1ED83FFA}" dt="2022-01-09T07:34:09.065" v="43" actId="14100"/>
          <ac:picMkLst>
            <pc:docMk/>
            <pc:sldMk cId="1894441827" sldId="358"/>
            <ac:picMk id="6" creationId="{5F5024CD-EB7B-49D0-9E4B-B6BFDC4F5683}"/>
          </ac:picMkLst>
        </pc:picChg>
      </pc:sldChg>
    </pc:docChg>
  </pc:docChgLst>
  <pc:docChgLst>
    <pc:chgData name="Kin Nam Lee" userId="S::kinnam0123_gmail.com#ext#@risebcg.onmicrosoft.com::d0b82110-aff5-4a68-b92e-ffa659453e49" providerId="AD" clId="Web-{75A97B9E-77E4-426A-B7F0-B00B889C97DC}"/>
    <pc:docChg chg="addSld delSld modSld sldOrd">
      <pc:chgData name="Kin Nam Lee" userId="S::kinnam0123_gmail.com#ext#@risebcg.onmicrosoft.com::d0b82110-aff5-4a68-b92e-ffa659453e49" providerId="AD" clId="Web-{75A97B9E-77E4-426A-B7F0-B00B889C97DC}" dt="2022-01-09T09:49:42.068" v="509" actId="1076"/>
      <pc:docMkLst>
        <pc:docMk/>
      </pc:docMkLst>
      <pc:sldChg chg="addSp delSp modSp new ord">
        <pc:chgData name="Kin Nam Lee" userId="S::kinnam0123_gmail.com#ext#@risebcg.onmicrosoft.com::d0b82110-aff5-4a68-b92e-ffa659453e49" providerId="AD" clId="Web-{75A97B9E-77E4-426A-B7F0-B00B889C97DC}" dt="2022-01-09T09:34:06.403" v="120" actId="14100"/>
        <pc:sldMkLst>
          <pc:docMk/>
          <pc:sldMk cId="1240857227" sldId="361"/>
        </pc:sldMkLst>
        <pc:spChg chg="mod">
          <ac:chgData name="Kin Nam Lee" userId="S::kinnam0123_gmail.com#ext#@risebcg.onmicrosoft.com::d0b82110-aff5-4a68-b92e-ffa659453e49" providerId="AD" clId="Web-{75A97B9E-77E4-426A-B7F0-B00B889C97DC}" dt="2022-01-09T09:29:25.022" v="19" actId="20577"/>
          <ac:spMkLst>
            <pc:docMk/>
            <pc:sldMk cId="1240857227" sldId="361"/>
            <ac:spMk id="2" creationId="{12D3493F-F903-4297-A83F-FCC5CC0BF756}"/>
          </ac:spMkLst>
        </pc:spChg>
        <pc:spChg chg="del">
          <ac:chgData name="Kin Nam Lee" userId="S::kinnam0123_gmail.com#ext#@risebcg.onmicrosoft.com::d0b82110-aff5-4a68-b92e-ffa659453e49" providerId="AD" clId="Web-{75A97B9E-77E4-426A-B7F0-B00B889C97DC}" dt="2022-01-09T09:29:29.460" v="20"/>
          <ac:spMkLst>
            <pc:docMk/>
            <pc:sldMk cId="1240857227" sldId="361"/>
            <ac:spMk id="3" creationId="{39629CE8-0050-4183-9A08-FE4622FDF302}"/>
          </ac:spMkLst>
        </pc:spChg>
        <pc:spChg chg="add mod">
          <ac:chgData name="Kin Nam Lee" userId="S::kinnam0123_gmail.com#ext#@risebcg.onmicrosoft.com::d0b82110-aff5-4a68-b92e-ffa659453e49" providerId="AD" clId="Web-{75A97B9E-77E4-426A-B7F0-B00B889C97DC}" dt="2022-01-09T09:31:12.868" v="46" actId="1076"/>
          <ac:spMkLst>
            <pc:docMk/>
            <pc:sldMk cId="1240857227" sldId="361"/>
            <ac:spMk id="5" creationId="{09C603B1-83E3-40C7-AD23-240A45A6713E}"/>
          </ac:spMkLst>
        </pc:spChg>
        <pc:spChg chg="add mod">
          <ac:chgData name="Kin Nam Lee" userId="S::kinnam0123_gmail.com#ext#@risebcg.onmicrosoft.com::d0b82110-aff5-4a68-b92e-ffa659453e49" providerId="AD" clId="Web-{75A97B9E-77E4-426A-B7F0-B00B889C97DC}" dt="2022-01-09T09:33:57.277" v="118" actId="1076"/>
          <ac:spMkLst>
            <pc:docMk/>
            <pc:sldMk cId="1240857227" sldId="361"/>
            <ac:spMk id="9" creationId="{3179ADB1-85CE-4DE6-A4AE-524B8EB2D41D}"/>
          </ac:spMkLst>
        </pc:spChg>
        <pc:picChg chg="add mod">
          <ac:chgData name="Kin Nam Lee" userId="S::kinnam0123_gmail.com#ext#@risebcg.onmicrosoft.com::d0b82110-aff5-4a68-b92e-ffa659453e49" providerId="AD" clId="Web-{75A97B9E-77E4-426A-B7F0-B00B889C97DC}" dt="2022-01-09T09:34:06.403" v="120" actId="14100"/>
          <ac:picMkLst>
            <pc:docMk/>
            <pc:sldMk cId="1240857227" sldId="361"/>
            <ac:picMk id="4" creationId="{A0243221-DFB5-465E-ADC6-F46920AB8BAD}"/>
          </ac:picMkLst>
        </pc:picChg>
        <pc:picChg chg="add mod">
          <ac:chgData name="Kin Nam Lee" userId="S::kinnam0123_gmail.com#ext#@risebcg.onmicrosoft.com::d0b82110-aff5-4a68-b92e-ffa659453e49" providerId="AD" clId="Web-{75A97B9E-77E4-426A-B7F0-B00B889C97DC}" dt="2022-01-09T09:32:34.323" v="58" actId="1076"/>
          <ac:picMkLst>
            <pc:docMk/>
            <pc:sldMk cId="1240857227" sldId="361"/>
            <ac:picMk id="6" creationId="{0A4441F9-3BF1-4F69-A316-B658D09F3EE0}"/>
          </ac:picMkLst>
        </pc:picChg>
        <pc:picChg chg="add mod">
          <ac:chgData name="Kin Nam Lee" userId="S::kinnam0123_gmail.com#ext#@risebcg.onmicrosoft.com::d0b82110-aff5-4a68-b92e-ffa659453e49" providerId="AD" clId="Web-{75A97B9E-77E4-426A-B7F0-B00B889C97DC}" dt="2022-01-09T09:33:02.354" v="64" actId="1076"/>
          <ac:picMkLst>
            <pc:docMk/>
            <pc:sldMk cId="1240857227" sldId="361"/>
            <ac:picMk id="7" creationId="{BAACB8E4-69DD-479F-80D3-67E0293AB487}"/>
          </ac:picMkLst>
        </pc:picChg>
        <pc:picChg chg="add mod">
          <ac:chgData name="Kin Nam Lee" userId="S::kinnam0123_gmail.com#ext#@risebcg.onmicrosoft.com::d0b82110-aff5-4a68-b92e-ffa659453e49" providerId="AD" clId="Web-{75A97B9E-77E4-426A-B7F0-B00B889C97DC}" dt="2022-01-09T09:32:29.104" v="57" actId="1076"/>
          <ac:picMkLst>
            <pc:docMk/>
            <pc:sldMk cId="1240857227" sldId="361"/>
            <ac:picMk id="8" creationId="{2D9F6303-CB72-4F30-934B-2477D027F983}"/>
          </ac:picMkLst>
        </pc:picChg>
      </pc:sldChg>
      <pc:sldChg chg="new del">
        <pc:chgData name="Kin Nam Lee" userId="S::kinnam0123_gmail.com#ext#@risebcg.onmicrosoft.com::d0b82110-aff5-4a68-b92e-ffa659453e49" providerId="AD" clId="Web-{75A97B9E-77E4-426A-B7F0-B00B889C97DC}" dt="2022-01-09T09:28:49.568" v="1"/>
        <pc:sldMkLst>
          <pc:docMk/>
          <pc:sldMk cId="1304755235" sldId="361"/>
        </pc:sldMkLst>
      </pc:sldChg>
      <pc:sldChg chg="addSp delSp modSp add replId">
        <pc:chgData name="Kin Nam Lee" userId="S::kinnam0123_gmail.com#ext#@risebcg.onmicrosoft.com::d0b82110-aff5-4a68-b92e-ffa659453e49" providerId="AD" clId="Web-{75A97B9E-77E4-426A-B7F0-B00B889C97DC}" dt="2022-01-09T09:36:46.687" v="157" actId="1076"/>
        <pc:sldMkLst>
          <pc:docMk/>
          <pc:sldMk cId="1435943691" sldId="362"/>
        </pc:sldMkLst>
        <pc:spChg chg="mod">
          <ac:chgData name="Kin Nam Lee" userId="S::kinnam0123_gmail.com#ext#@risebcg.onmicrosoft.com::d0b82110-aff5-4a68-b92e-ffa659453e49" providerId="AD" clId="Web-{75A97B9E-77E4-426A-B7F0-B00B889C97DC}" dt="2022-01-09T09:35:51.311" v="144" actId="20577"/>
          <ac:spMkLst>
            <pc:docMk/>
            <pc:sldMk cId="1435943691" sldId="362"/>
            <ac:spMk id="5" creationId="{09C603B1-83E3-40C7-AD23-240A45A6713E}"/>
          </ac:spMkLst>
        </pc:spChg>
        <pc:spChg chg="mod">
          <ac:chgData name="Kin Nam Lee" userId="S::kinnam0123_gmail.com#ext#@risebcg.onmicrosoft.com::d0b82110-aff5-4a68-b92e-ffa659453e49" providerId="AD" clId="Web-{75A97B9E-77E4-426A-B7F0-B00B889C97DC}" dt="2022-01-09T09:35:37.014" v="137" actId="20577"/>
          <ac:spMkLst>
            <pc:docMk/>
            <pc:sldMk cId="1435943691" sldId="362"/>
            <ac:spMk id="9" creationId="{3179ADB1-85CE-4DE6-A4AE-524B8EB2D41D}"/>
          </ac:spMkLst>
        </pc:spChg>
        <pc:picChg chg="add mod">
          <ac:chgData name="Kin Nam Lee" userId="S::kinnam0123_gmail.com#ext#@risebcg.onmicrosoft.com::d0b82110-aff5-4a68-b92e-ffa659453e49" providerId="AD" clId="Web-{75A97B9E-77E4-426A-B7F0-B00B889C97DC}" dt="2022-01-09T09:35:55.405" v="145" actId="14100"/>
          <ac:picMkLst>
            <pc:docMk/>
            <pc:sldMk cId="1435943691" sldId="362"/>
            <ac:picMk id="3" creationId="{F490B9E4-E4C6-44FE-92D7-DFF88C9C04E8}"/>
          </ac:picMkLst>
        </pc:picChg>
        <pc:picChg chg="del">
          <ac:chgData name="Kin Nam Lee" userId="S::kinnam0123_gmail.com#ext#@risebcg.onmicrosoft.com::d0b82110-aff5-4a68-b92e-ffa659453e49" providerId="AD" clId="Web-{75A97B9E-77E4-426A-B7F0-B00B889C97DC}" dt="2022-01-09T09:34:42.388" v="122"/>
          <ac:picMkLst>
            <pc:docMk/>
            <pc:sldMk cId="1435943691" sldId="362"/>
            <ac:picMk id="4" creationId="{A0243221-DFB5-465E-ADC6-F46920AB8BAD}"/>
          </ac:picMkLst>
        </pc:picChg>
        <pc:picChg chg="del">
          <ac:chgData name="Kin Nam Lee" userId="S::kinnam0123_gmail.com#ext#@risebcg.onmicrosoft.com::d0b82110-aff5-4a68-b92e-ffa659453e49" providerId="AD" clId="Web-{75A97B9E-77E4-426A-B7F0-B00B889C97DC}" dt="2022-01-09T09:34:49.794" v="125"/>
          <ac:picMkLst>
            <pc:docMk/>
            <pc:sldMk cId="1435943691" sldId="362"/>
            <ac:picMk id="6" creationId="{0A4441F9-3BF1-4F69-A316-B658D09F3EE0}"/>
          </ac:picMkLst>
        </pc:picChg>
        <pc:picChg chg="del">
          <ac:chgData name="Kin Nam Lee" userId="S::kinnam0123_gmail.com#ext#@risebcg.onmicrosoft.com::d0b82110-aff5-4a68-b92e-ffa659453e49" providerId="AD" clId="Web-{75A97B9E-77E4-426A-B7F0-B00B889C97DC}" dt="2022-01-09T09:34:49.794" v="124"/>
          <ac:picMkLst>
            <pc:docMk/>
            <pc:sldMk cId="1435943691" sldId="362"/>
            <ac:picMk id="7" creationId="{BAACB8E4-69DD-479F-80D3-67E0293AB487}"/>
          </ac:picMkLst>
        </pc:picChg>
        <pc:picChg chg="del">
          <ac:chgData name="Kin Nam Lee" userId="S::kinnam0123_gmail.com#ext#@risebcg.onmicrosoft.com::d0b82110-aff5-4a68-b92e-ffa659453e49" providerId="AD" clId="Web-{75A97B9E-77E4-426A-B7F0-B00B889C97DC}" dt="2022-01-09T09:34:49.794" v="123"/>
          <ac:picMkLst>
            <pc:docMk/>
            <pc:sldMk cId="1435943691" sldId="362"/>
            <ac:picMk id="8" creationId="{2D9F6303-CB72-4F30-934B-2477D027F983}"/>
          </ac:picMkLst>
        </pc:picChg>
        <pc:picChg chg="add mod">
          <ac:chgData name="Kin Nam Lee" userId="S::kinnam0123_gmail.com#ext#@risebcg.onmicrosoft.com::d0b82110-aff5-4a68-b92e-ffa659453e49" providerId="AD" clId="Web-{75A97B9E-77E4-426A-B7F0-B00B889C97DC}" dt="2022-01-09T09:36:37.437" v="153" actId="1076"/>
          <ac:picMkLst>
            <pc:docMk/>
            <pc:sldMk cId="1435943691" sldId="362"/>
            <ac:picMk id="10" creationId="{A4589F60-54A0-4840-83C8-3CA2E9115C9D}"/>
          </ac:picMkLst>
        </pc:picChg>
        <pc:picChg chg="add mod">
          <ac:chgData name="Kin Nam Lee" userId="S::kinnam0123_gmail.com#ext#@risebcg.onmicrosoft.com::d0b82110-aff5-4a68-b92e-ffa659453e49" providerId="AD" clId="Web-{75A97B9E-77E4-426A-B7F0-B00B889C97DC}" dt="2022-01-09T09:36:46.687" v="157" actId="1076"/>
          <ac:picMkLst>
            <pc:docMk/>
            <pc:sldMk cId="1435943691" sldId="362"/>
            <ac:picMk id="11" creationId="{CF98E824-4F82-4929-9719-C647B13D1C49}"/>
          </ac:picMkLst>
        </pc:picChg>
        <pc:picChg chg="add mod">
          <ac:chgData name="Kin Nam Lee" userId="S::kinnam0123_gmail.com#ext#@risebcg.onmicrosoft.com::d0b82110-aff5-4a68-b92e-ffa659453e49" providerId="AD" clId="Web-{75A97B9E-77E4-426A-B7F0-B00B889C97DC}" dt="2022-01-09T09:36:38.093" v="154" actId="1076"/>
          <ac:picMkLst>
            <pc:docMk/>
            <pc:sldMk cId="1435943691" sldId="362"/>
            <ac:picMk id="12" creationId="{D9BB96CA-1C75-4A6B-89BF-583AD774395E}"/>
          </ac:picMkLst>
        </pc:picChg>
      </pc:sldChg>
      <pc:sldChg chg="addSp delSp modSp add replId">
        <pc:chgData name="Kin Nam Lee" userId="S::kinnam0123_gmail.com#ext#@risebcg.onmicrosoft.com::d0b82110-aff5-4a68-b92e-ffa659453e49" providerId="AD" clId="Web-{75A97B9E-77E4-426A-B7F0-B00B889C97DC}" dt="2022-01-09T09:40:08.040" v="252" actId="1076"/>
        <pc:sldMkLst>
          <pc:docMk/>
          <pc:sldMk cId="3116244911" sldId="363"/>
        </pc:sldMkLst>
        <pc:spChg chg="mod">
          <ac:chgData name="Kin Nam Lee" userId="S::kinnam0123_gmail.com#ext#@risebcg.onmicrosoft.com::d0b82110-aff5-4a68-b92e-ffa659453e49" providerId="AD" clId="Web-{75A97B9E-77E4-426A-B7F0-B00B889C97DC}" dt="2022-01-09T09:38:01.720" v="168" actId="20577"/>
          <ac:spMkLst>
            <pc:docMk/>
            <pc:sldMk cId="3116244911" sldId="363"/>
            <ac:spMk id="5" creationId="{09C603B1-83E3-40C7-AD23-240A45A6713E}"/>
          </ac:spMkLst>
        </pc:spChg>
        <pc:spChg chg="mod">
          <ac:chgData name="Kin Nam Lee" userId="S::kinnam0123_gmail.com#ext#@risebcg.onmicrosoft.com::d0b82110-aff5-4a68-b92e-ffa659453e49" providerId="AD" clId="Web-{75A97B9E-77E4-426A-B7F0-B00B889C97DC}" dt="2022-01-09T09:40:08.040" v="252" actId="1076"/>
          <ac:spMkLst>
            <pc:docMk/>
            <pc:sldMk cId="3116244911" sldId="363"/>
            <ac:spMk id="9" creationId="{3179ADB1-85CE-4DE6-A4AE-524B8EB2D41D}"/>
          </ac:spMkLst>
        </pc:spChg>
        <pc:picChg chg="del">
          <ac:chgData name="Kin Nam Lee" userId="S::kinnam0123_gmail.com#ext#@risebcg.onmicrosoft.com::d0b82110-aff5-4a68-b92e-ffa659453e49" providerId="AD" clId="Web-{75A97B9E-77E4-426A-B7F0-B00B889C97DC}" dt="2022-01-09T09:36:58.359" v="159"/>
          <ac:picMkLst>
            <pc:docMk/>
            <pc:sldMk cId="3116244911" sldId="363"/>
            <ac:picMk id="3" creationId="{F490B9E4-E4C6-44FE-92D7-DFF88C9C04E8}"/>
          </ac:picMkLst>
        </pc:picChg>
        <pc:picChg chg="add mod">
          <ac:chgData name="Kin Nam Lee" userId="S::kinnam0123_gmail.com#ext#@risebcg.onmicrosoft.com::d0b82110-aff5-4a68-b92e-ffa659453e49" providerId="AD" clId="Web-{75A97B9E-77E4-426A-B7F0-B00B889C97DC}" dt="2022-01-09T09:38:36.502" v="198" actId="1076"/>
          <ac:picMkLst>
            <pc:docMk/>
            <pc:sldMk cId="3116244911" sldId="363"/>
            <ac:picMk id="4" creationId="{71974ED0-949D-4F9C-98BF-F953E32EC188}"/>
          </ac:picMkLst>
        </pc:picChg>
        <pc:picChg chg="add mod">
          <ac:chgData name="Kin Nam Lee" userId="S::kinnam0123_gmail.com#ext#@risebcg.onmicrosoft.com::d0b82110-aff5-4a68-b92e-ffa659453e49" providerId="AD" clId="Web-{75A97B9E-77E4-426A-B7F0-B00B889C97DC}" dt="2022-01-09T09:38:09.345" v="170" actId="1076"/>
          <ac:picMkLst>
            <pc:docMk/>
            <pc:sldMk cId="3116244911" sldId="363"/>
            <ac:picMk id="6" creationId="{E3ADEC42-E3A8-473D-AE75-070A05E47158}"/>
          </ac:picMkLst>
        </pc:picChg>
        <pc:picChg chg="del">
          <ac:chgData name="Kin Nam Lee" userId="S::kinnam0123_gmail.com#ext#@risebcg.onmicrosoft.com::d0b82110-aff5-4a68-b92e-ffa659453e49" providerId="AD" clId="Web-{75A97B9E-77E4-426A-B7F0-B00B889C97DC}" dt="2022-01-09T09:36:59.281" v="160"/>
          <ac:picMkLst>
            <pc:docMk/>
            <pc:sldMk cId="3116244911" sldId="363"/>
            <ac:picMk id="10" creationId="{A4589F60-54A0-4840-83C8-3CA2E9115C9D}"/>
          </ac:picMkLst>
        </pc:picChg>
        <pc:picChg chg="del">
          <ac:chgData name="Kin Nam Lee" userId="S::kinnam0123_gmail.com#ext#@risebcg.onmicrosoft.com::d0b82110-aff5-4a68-b92e-ffa659453e49" providerId="AD" clId="Web-{75A97B9E-77E4-426A-B7F0-B00B889C97DC}" dt="2022-01-09T09:37:03.703" v="162"/>
          <ac:picMkLst>
            <pc:docMk/>
            <pc:sldMk cId="3116244911" sldId="363"/>
            <ac:picMk id="11" creationId="{CF98E824-4F82-4929-9719-C647B13D1C49}"/>
          </ac:picMkLst>
        </pc:picChg>
        <pc:picChg chg="del">
          <ac:chgData name="Kin Nam Lee" userId="S::kinnam0123_gmail.com#ext#@risebcg.onmicrosoft.com::d0b82110-aff5-4a68-b92e-ffa659453e49" providerId="AD" clId="Web-{75A97B9E-77E4-426A-B7F0-B00B889C97DC}" dt="2022-01-09T09:37:00.328" v="161"/>
          <ac:picMkLst>
            <pc:docMk/>
            <pc:sldMk cId="3116244911" sldId="363"/>
            <ac:picMk id="12" creationId="{D9BB96CA-1C75-4A6B-89BF-583AD774395E}"/>
          </ac:picMkLst>
        </pc:picChg>
      </pc:sldChg>
      <pc:sldChg chg="addSp delSp modSp add replId">
        <pc:chgData name="Kin Nam Lee" userId="S::kinnam0123_gmail.com#ext#@risebcg.onmicrosoft.com::d0b82110-aff5-4a68-b92e-ffa659453e49" providerId="AD" clId="Web-{75A97B9E-77E4-426A-B7F0-B00B889C97DC}" dt="2022-01-09T09:42:04.433" v="290" actId="1076"/>
        <pc:sldMkLst>
          <pc:docMk/>
          <pc:sldMk cId="3544593396" sldId="364"/>
        </pc:sldMkLst>
        <pc:spChg chg="mod">
          <ac:chgData name="Kin Nam Lee" userId="S::kinnam0123_gmail.com#ext#@risebcg.onmicrosoft.com::d0b82110-aff5-4a68-b92e-ffa659453e49" providerId="AD" clId="Web-{75A97B9E-77E4-426A-B7F0-B00B889C97DC}" dt="2022-01-09T09:40:23.259" v="266" actId="20577"/>
          <ac:spMkLst>
            <pc:docMk/>
            <pc:sldMk cId="3544593396" sldId="364"/>
            <ac:spMk id="5" creationId="{09C603B1-83E3-40C7-AD23-240A45A6713E}"/>
          </ac:spMkLst>
        </pc:spChg>
        <pc:spChg chg="mod">
          <ac:chgData name="Kin Nam Lee" userId="S::kinnam0123_gmail.com#ext#@risebcg.onmicrosoft.com::d0b82110-aff5-4a68-b92e-ffa659453e49" providerId="AD" clId="Web-{75A97B9E-77E4-426A-B7F0-B00B889C97DC}" dt="2022-01-09T09:41:48.776" v="287" actId="20577"/>
          <ac:spMkLst>
            <pc:docMk/>
            <pc:sldMk cId="3544593396" sldId="364"/>
            <ac:spMk id="9" creationId="{3179ADB1-85CE-4DE6-A4AE-524B8EB2D41D}"/>
          </ac:spMkLst>
        </pc:spChg>
        <pc:picChg chg="add mod">
          <ac:chgData name="Kin Nam Lee" userId="S::kinnam0123_gmail.com#ext#@risebcg.onmicrosoft.com::d0b82110-aff5-4a68-b92e-ffa659453e49" providerId="AD" clId="Web-{75A97B9E-77E4-426A-B7F0-B00B889C97DC}" dt="2022-01-09T09:42:04.433" v="290" actId="1076"/>
          <ac:picMkLst>
            <pc:docMk/>
            <pc:sldMk cId="3544593396" sldId="364"/>
            <ac:picMk id="3" creationId="{92F2F078-2A64-4F81-AAB6-04F45D935590}"/>
          </ac:picMkLst>
        </pc:picChg>
        <pc:picChg chg="del">
          <ac:chgData name="Kin Nam Lee" userId="S::kinnam0123_gmail.com#ext#@risebcg.onmicrosoft.com::d0b82110-aff5-4a68-b92e-ffa659453e49" providerId="AD" clId="Web-{75A97B9E-77E4-426A-B7F0-B00B889C97DC}" dt="2022-01-09T09:38:49.955" v="201"/>
          <ac:picMkLst>
            <pc:docMk/>
            <pc:sldMk cId="3544593396" sldId="364"/>
            <ac:picMk id="4" creationId="{71974ED0-949D-4F9C-98BF-F953E32EC188}"/>
          </ac:picMkLst>
        </pc:picChg>
        <pc:picChg chg="del">
          <ac:chgData name="Kin Nam Lee" userId="S::kinnam0123_gmail.com#ext#@risebcg.onmicrosoft.com::d0b82110-aff5-4a68-b92e-ffa659453e49" providerId="AD" clId="Web-{75A97B9E-77E4-426A-B7F0-B00B889C97DC}" dt="2022-01-09T09:38:48.549" v="200"/>
          <ac:picMkLst>
            <pc:docMk/>
            <pc:sldMk cId="3544593396" sldId="364"/>
            <ac:picMk id="6" creationId="{E3ADEC42-E3A8-473D-AE75-070A05E47158}"/>
          </ac:picMkLst>
        </pc:picChg>
        <pc:picChg chg="add mod">
          <ac:chgData name="Kin Nam Lee" userId="S::kinnam0123_gmail.com#ext#@risebcg.onmicrosoft.com::d0b82110-aff5-4a68-b92e-ffa659453e49" providerId="AD" clId="Web-{75A97B9E-77E4-426A-B7F0-B00B889C97DC}" dt="2022-01-09T09:41:31.088" v="275" actId="14100"/>
          <ac:picMkLst>
            <pc:docMk/>
            <pc:sldMk cId="3544593396" sldId="364"/>
            <ac:picMk id="7" creationId="{32A083E4-1136-43B2-AA61-204C83559131}"/>
          </ac:picMkLst>
        </pc:picChg>
        <pc:picChg chg="add del mod">
          <ac:chgData name="Kin Nam Lee" userId="S::kinnam0123_gmail.com#ext#@risebcg.onmicrosoft.com::d0b82110-aff5-4a68-b92e-ffa659453e49" providerId="AD" clId="Web-{75A97B9E-77E4-426A-B7F0-B00B889C97DC}" dt="2022-01-09T09:41:51.386" v="288"/>
          <ac:picMkLst>
            <pc:docMk/>
            <pc:sldMk cId="3544593396" sldId="364"/>
            <ac:picMk id="8" creationId="{AC03C6AA-6961-4022-A80B-9246FE646644}"/>
          </ac:picMkLst>
        </pc:picChg>
      </pc:sldChg>
      <pc:sldChg chg="addSp delSp modSp add replId">
        <pc:chgData name="Kin Nam Lee" userId="S::kinnam0123_gmail.com#ext#@risebcg.onmicrosoft.com::d0b82110-aff5-4a68-b92e-ffa659453e49" providerId="AD" clId="Web-{75A97B9E-77E4-426A-B7F0-B00B889C97DC}" dt="2022-01-09T09:44:00.826" v="351" actId="14100"/>
        <pc:sldMkLst>
          <pc:docMk/>
          <pc:sldMk cId="1368706879" sldId="365"/>
        </pc:sldMkLst>
        <pc:spChg chg="mod">
          <ac:chgData name="Kin Nam Lee" userId="S::kinnam0123_gmail.com#ext#@risebcg.onmicrosoft.com::d0b82110-aff5-4a68-b92e-ffa659453e49" providerId="AD" clId="Web-{75A97B9E-77E4-426A-B7F0-B00B889C97DC}" dt="2022-01-09T09:44:00.826" v="351" actId="14100"/>
          <ac:spMkLst>
            <pc:docMk/>
            <pc:sldMk cId="1368706879" sldId="365"/>
            <ac:spMk id="5" creationId="{09C603B1-83E3-40C7-AD23-240A45A6713E}"/>
          </ac:spMkLst>
        </pc:spChg>
        <pc:spChg chg="mod">
          <ac:chgData name="Kin Nam Lee" userId="S::kinnam0123_gmail.com#ext#@risebcg.onmicrosoft.com::d0b82110-aff5-4a68-b92e-ffa659453e49" providerId="AD" clId="Web-{75A97B9E-77E4-426A-B7F0-B00B889C97DC}" dt="2022-01-09T09:43:50.919" v="350" actId="1076"/>
          <ac:spMkLst>
            <pc:docMk/>
            <pc:sldMk cId="1368706879" sldId="365"/>
            <ac:spMk id="9" creationId="{3179ADB1-85CE-4DE6-A4AE-524B8EB2D41D}"/>
          </ac:spMkLst>
        </pc:spChg>
        <pc:picChg chg="del">
          <ac:chgData name="Kin Nam Lee" userId="S::kinnam0123_gmail.com#ext#@risebcg.onmicrosoft.com::d0b82110-aff5-4a68-b92e-ffa659453e49" providerId="AD" clId="Web-{75A97B9E-77E4-426A-B7F0-B00B889C97DC}" dt="2022-01-09T09:42:15.558" v="292"/>
          <ac:picMkLst>
            <pc:docMk/>
            <pc:sldMk cId="1368706879" sldId="365"/>
            <ac:picMk id="3" creationId="{92F2F078-2A64-4F81-AAB6-04F45D935590}"/>
          </ac:picMkLst>
        </pc:picChg>
        <pc:picChg chg="add mod">
          <ac:chgData name="Kin Nam Lee" userId="S::kinnam0123_gmail.com#ext#@risebcg.onmicrosoft.com::d0b82110-aff5-4a68-b92e-ffa659453e49" providerId="AD" clId="Web-{75A97B9E-77E4-426A-B7F0-B00B889C97DC}" dt="2022-01-09T09:42:50.902" v="298" actId="14100"/>
          <ac:picMkLst>
            <pc:docMk/>
            <pc:sldMk cId="1368706879" sldId="365"/>
            <ac:picMk id="4" creationId="{566D1659-13FF-47F8-88C8-68034A0DB9EE}"/>
          </ac:picMkLst>
        </pc:picChg>
        <pc:picChg chg="add mod">
          <ac:chgData name="Kin Nam Lee" userId="S::kinnam0123_gmail.com#ext#@risebcg.onmicrosoft.com::d0b82110-aff5-4a68-b92e-ffa659453e49" providerId="AD" clId="Web-{75A97B9E-77E4-426A-B7F0-B00B889C97DC}" dt="2022-01-09T09:42:57.074" v="300" actId="14100"/>
          <ac:picMkLst>
            <pc:docMk/>
            <pc:sldMk cId="1368706879" sldId="365"/>
            <ac:picMk id="6" creationId="{9A02E292-73CE-41B4-88EF-76B9EA903288}"/>
          </ac:picMkLst>
        </pc:picChg>
        <pc:picChg chg="del">
          <ac:chgData name="Kin Nam Lee" userId="S::kinnam0123_gmail.com#ext#@risebcg.onmicrosoft.com::d0b82110-aff5-4a68-b92e-ffa659453e49" providerId="AD" clId="Web-{75A97B9E-77E4-426A-B7F0-B00B889C97DC}" dt="2022-01-09T09:42:16.636" v="293"/>
          <ac:picMkLst>
            <pc:docMk/>
            <pc:sldMk cId="1368706879" sldId="365"/>
            <ac:picMk id="7" creationId="{32A083E4-1136-43B2-AA61-204C83559131}"/>
          </ac:picMkLst>
        </pc:picChg>
      </pc:sldChg>
      <pc:sldChg chg="addSp delSp modSp add replId">
        <pc:chgData name="Kin Nam Lee" userId="S::kinnam0123_gmail.com#ext#@risebcg.onmicrosoft.com::d0b82110-aff5-4a68-b92e-ffa659453e49" providerId="AD" clId="Web-{75A97B9E-77E4-426A-B7F0-B00B889C97DC}" dt="2022-01-09T09:45:36.907" v="400" actId="1076"/>
        <pc:sldMkLst>
          <pc:docMk/>
          <pc:sldMk cId="3891548654" sldId="366"/>
        </pc:sldMkLst>
        <pc:spChg chg="mod">
          <ac:chgData name="Kin Nam Lee" userId="S::kinnam0123_gmail.com#ext#@risebcg.onmicrosoft.com::d0b82110-aff5-4a68-b92e-ffa659453e49" providerId="AD" clId="Web-{75A97B9E-77E4-426A-B7F0-B00B889C97DC}" dt="2022-01-09T09:45:24.032" v="377" actId="20577"/>
          <ac:spMkLst>
            <pc:docMk/>
            <pc:sldMk cId="3891548654" sldId="366"/>
            <ac:spMk id="5" creationId="{09C603B1-83E3-40C7-AD23-240A45A6713E}"/>
          </ac:spMkLst>
        </pc:spChg>
        <pc:spChg chg="mod">
          <ac:chgData name="Kin Nam Lee" userId="S::kinnam0123_gmail.com#ext#@risebcg.onmicrosoft.com::d0b82110-aff5-4a68-b92e-ffa659453e49" providerId="AD" clId="Web-{75A97B9E-77E4-426A-B7F0-B00B889C97DC}" dt="2022-01-09T09:45:29.829" v="399" actId="20577"/>
          <ac:spMkLst>
            <pc:docMk/>
            <pc:sldMk cId="3891548654" sldId="366"/>
            <ac:spMk id="9" creationId="{3179ADB1-85CE-4DE6-A4AE-524B8EB2D41D}"/>
          </ac:spMkLst>
        </pc:spChg>
        <pc:picChg chg="add mod">
          <ac:chgData name="Kin Nam Lee" userId="S::kinnam0123_gmail.com#ext#@risebcg.onmicrosoft.com::d0b82110-aff5-4a68-b92e-ffa659453e49" providerId="AD" clId="Web-{75A97B9E-77E4-426A-B7F0-B00B889C97DC}" dt="2022-01-09T09:45:06.860" v="363" actId="1076"/>
          <ac:picMkLst>
            <pc:docMk/>
            <pc:sldMk cId="3891548654" sldId="366"/>
            <ac:picMk id="3" creationId="{3A9AAE25-4049-446E-8E70-55A209C4D22D}"/>
          </ac:picMkLst>
        </pc:picChg>
        <pc:picChg chg="del">
          <ac:chgData name="Kin Nam Lee" userId="S::kinnam0123_gmail.com#ext#@risebcg.onmicrosoft.com::d0b82110-aff5-4a68-b92e-ffa659453e49" providerId="AD" clId="Web-{75A97B9E-77E4-426A-B7F0-B00B889C97DC}" dt="2022-01-09T09:44:17.250" v="353"/>
          <ac:picMkLst>
            <pc:docMk/>
            <pc:sldMk cId="3891548654" sldId="366"/>
            <ac:picMk id="4" creationId="{566D1659-13FF-47F8-88C8-68034A0DB9EE}"/>
          </ac:picMkLst>
        </pc:picChg>
        <pc:picChg chg="del">
          <ac:chgData name="Kin Nam Lee" userId="S::kinnam0123_gmail.com#ext#@risebcg.onmicrosoft.com::d0b82110-aff5-4a68-b92e-ffa659453e49" providerId="AD" clId="Web-{75A97B9E-77E4-426A-B7F0-B00B889C97DC}" dt="2022-01-09T09:44:19.343" v="354"/>
          <ac:picMkLst>
            <pc:docMk/>
            <pc:sldMk cId="3891548654" sldId="366"/>
            <ac:picMk id="6" creationId="{9A02E292-73CE-41B4-88EF-76B9EA903288}"/>
          </ac:picMkLst>
        </pc:picChg>
        <pc:picChg chg="add mod">
          <ac:chgData name="Kin Nam Lee" userId="S::kinnam0123_gmail.com#ext#@risebcg.onmicrosoft.com::d0b82110-aff5-4a68-b92e-ffa659453e49" providerId="AD" clId="Web-{75A97B9E-77E4-426A-B7F0-B00B889C97DC}" dt="2022-01-09T09:45:36.907" v="400" actId="1076"/>
          <ac:picMkLst>
            <pc:docMk/>
            <pc:sldMk cId="3891548654" sldId="366"/>
            <ac:picMk id="7" creationId="{501F7DE2-8991-44A1-9009-B56CC32D49AD}"/>
          </ac:picMkLst>
        </pc:picChg>
      </pc:sldChg>
      <pc:sldChg chg="addSp delSp modSp add replId">
        <pc:chgData name="Kin Nam Lee" userId="S::kinnam0123_gmail.com#ext#@risebcg.onmicrosoft.com::d0b82110-aff5-4a68-b92e-ffa659453e49" providerId="AD" clId="Web-{75A97B9E-77E4-426A-B7F0-B00B889C97DC}" dt="2022-01-09T09:48:25.598" v="494" actId="20577"/>
        <pc:sldMkLst>
          <pc:docMk/>
          <pc:sldMk cId="495325899" sldId="367"/>
        </pc:sldMkLst>
        <pc:spChg chg="mod">
          <ac:chgData name="Kin Nam Lee" userId="S::kinnam0123_gmail.com#ext#@risebcg.onmicrosoft.com::d0b82110-aff5-4a68-b92e-ffa659453e49" providerId="AD" clId="Web-{75A97B9E-77E4-426A-B7F0-B00B889C97DC}" dt="2022-01-09T09:48:25.598" v="494" actId="20577"/>
          <ac:spMkLst>
            <pc:docMk/>
            <pc:sldMk cId="495325899" sldId="367"/>
            <ac:spMk id="5" creationId="{09C603B1-83E3-40C7-AD23-240A45A6713E}"/>
          </ac:spMkLst>
        </pc:spChg>
        <pc:spChg chg="mod">
          <ac:chgData name="Kin Nam Lee" userId="S::kinnam0123_gmail.com#ext#@risebcg.onmicrosoft.com::d0b82110-aff5-4a68-b92e-ffa659453e49" providerId="AD" clId="Web-{75A97B9E-77E4-426A-B7F0-B00B889C97DC}" dt="2022-01-09T09:48:20.176" v="488" actId="20577"/>
          <ac:spMkLst>
            <pc:docMk/>
            <pc:sldMk cId="495325899" sldId="367"/>
            <ac:spMk id="9" creationId="{3179ADB1-85CE-4DE6-A4AE-524B8EB2D41D}"/>
          </ac:spMkLst>
        </pc:spChg>
        <pc:picChg chg="del">
          <ac:chgData name="Kin Nam Lee" userId="S::kinnam0123_gmail.com#ext#@risebcg.onmicrosoft.com::d0b82110-aff5-4a68-b92e-ffa659453e49" providerId="AD" clId="Web-{75A97B9E-77E4-426A-B7F0-B00B889C97DC}" dt="2022-01-09T09:45:48.126" v="402"/>
          <ac:picMkLst>
            <pc:docMk/>
            <pc:sldMk cId="495325899" sldId="367"/>
            <ac:picMk id="3" creationId="{3A9AAE25-4049-446E-8E70-55A209C4D22D}"/>
          </ac:picMkLst>
        </pc:picChg>
        <pc:picChg chg="add mod">
          <ac:chgData name="Kin Nam Lee" userId="S::kinnam0123_gmail.com#ext#@risebcg.onmicrosoft.com::d0b82110-aff5-4a68-b92e-ffa659453e49" providerId="AD" clId="Web-{75A97B9E-77E4-426A-B7F0-B00B889C97DC}" dt="2022-01-09T09:47:24.034" v="475" actId="1076"/>
          <ac:picMkLst>
            <pc:docMk/>
            <pc:sldMk cId="495325899" sldId="367"/>
            <ac:picMk id="4" creationId="{79B30297-A01B-430C-8EB8-745A3D069B7F}"/>
          </ac:picMkLst>
        </pc:picChg>
        <pc:picChg chg="add mod">
          <ac:chgData name="Kin Nam Lee" userId="S::kinnam0123_gmail.com#ext#@risebcg.onmicrosoft.com::d0b82110-aff5-4a68-b92e-ffa659453e49" providerId="AD" clId="Web-{75A97B9E-77E4-426A-B7F0-B00B889C97DC}" dt="2022-01-09T09:47:28.753" v="477" actId="1076"/>
          <ac:picMkLst>
            <pc:docMk/>
            <pc:sldMk cId="495325899" sldId="367"/>
            <ac:picMk id="6" creationId="{4A08CA56-0F2C-4842-8FB2-31B02C4CC1C2}"/>
          </ac:picMkLst>
        </pc:picChg>
        <pc:picChg chg="del">
          <ac:chgData name="Kin Nam Lee" userId="S::kinnam0123_gmail.com#ext#@risebcg.onmicrosoft.com::d0b82110-aff5-4a68-b92e-ffa659453e49" providerId="AD" clId="Web-{75A97B9E-77E4-426A-B7F0-B00B889C97DC}" dt="2022-01-09T09:45:50.220" v="403"/>
          <ac:picMkLst>
            <pc:docMk/>
            <pc:sldMk cId="495325899" sldId="367"/>
            <ac:picMk id="7" creationId="{501F7DE2-8991-44A1-9009-B56CC32D49AD}"/>
          </ac:picMkLst>
        </pc:picChg>
        <pc:picChg chg="add mod">
          <ac:chgData name="Kin Nam Lee" userId="S::kinnam0123_gmail.com#ext#@risebcg.onmicrosoft.com::d0b82110-aff5-4a68-b92e-ffa659453e49" providerId="AD" clId="Web-{75A97B9E-77E4-426A-B7F0-B00B889C97DC}" dt="2022-01-09T09:48:10.067" v="481" actId="1076"/>
          <ac:picMkLst>
            <pc:docMk/>
            <pc:sldMk cId="495325899" sldId="367"/>
            <ac:picMk id="8" creationId="{6CC0388A-2FEB-46B2-970B-B498ED898DF7}"/>
          </ac:picMkLst>
        </pc:picChg>
      </pc:sldChg>
      <pc:sldChg chg="addSp delSp modSp add replId">
        <pc:chgData name="Kin Nam Lee" userId="S::kinnam0123_gmail.com#ext#@risebcg.onmicrosoft.com::d0b82110-aff5-4a68-b92e-ffa659453e49" providerId="AD" clId="Web-{75A97B9E-77E4-426A-B7F0-B00B889C97DC}" dt="2022-01-09T09:49:42.068" v="509" actId="1076"/>
        <pc:sldMkLst>
          <pc:docMk/>
          <pc:sldMk cId="371058751" sldId="368"/>
        </pc:sldMkLst>
        <pc:spChg chg="del mod">
          <ac:chgData name="Kin Nam Lee" userId="S::kinnam0123_gmail.com#ext#@risebcg.onmicrosoft.com::d0b82110-aff5-4a68-b92e-ffa659453e49" providerId="AD" clId="Web-{75A97B9E-77E4-426A-B7F0-B00B889C97DC}" dt="2022-01-09T09:49:14.287" v="503"/>
          <ac:spMkLst>
            <pc:docMk/>
            <pc:sldMk cId="371058751" sldId="368"/>
            <ac:spMk id="5" creationId="{09C603B1-83E3-40C7-AD23-240A45A6713E}"/>
          </ac:spMkLst>
        </pc:spChg>
        <pc:spChg chg="mod">
          <ac:chgData name="Kin Nam Lee" userId="S::kinnam0123_gmail.com#ext#@risebcg.onmicrosoft.com::d0b82110-aff5-4a68-b92e-ffa659453e49" providerId="AD" clId="Web-{75A97B9E-77E4-426A-B7F0-B00B889C97DC}" dt="2022-01-09T09:49:28.052" v="508" actId="1076"/>
          <ac:spMkLst>
            <pc:docMk/>
            <pc:sldMk cId="371058751" sldId="368"/>
            <ac:spMk id="9" creationId="{3179ADB1-85CE-4DE6-A4AE-524B8EB2D41D}"/>
          </ac:spMkLst>
        </pc:spChg>
        <pc:picChg chg="add mod">
          <ac:chgData name="Kin Nam Lee" userId="S::kinnam0123_gmail.com#ext#@risebcg.onmicrosoft.com::d0b82110-aff5-4a68-b92e-ffa659453e49" providerId="AD" clId="Web-{75A97B9E-77E4-426A-B7F0-B00B889C97DC}" dt="2022-01-09T09:49:42.068" v="509" actId="1076"/>
          <ac:picMkLst>
            <pc:docMk/>
            <pc:sldMk cId="371058751" sldId="368"/>
            <ac:picMk id="3" creationId="{3E9A0F2D-BAD5-4289-9F34-C4D0E3B67FD8}"/>
          </ac:picMkLst>
        </pc:picChg>
        <pc:picChg chg="del">
          <ac:chgData name="Kin Nam Lee" userId="S::kinnam0123_gmail.com#ext#@risebcg.onmicrosoft.com::d0b82110-aff5-4a68-b92e-ffa659453e49" providerId="AD" clId="Web-{75A97B9E-77E4-426A-B7F0-B00B889C97DC}" dt="2022-01-09T09:48:37.005" v="497"/>
          <ac:picMkLst>
            <pc:docMk/>
            <pc:sldMk cId="371058751" sldId="368"/>
            <ac:picMk id="4" creationId="{79B30297-A01B-430C-8EB8-745A3D069B7F}"/>
          </ac:picMkLst>
        </pc:picChg>
        <pc:picChg chg="del">
          <ac:chgData name="Kin Nam Lee" userId="S::kinnam0123_gmail.com#ext#@risebcg.onmicrosoft.com::d0b82110-aff5-4a68-b92e-ffa659453e49" providerId="AD" clId="Web-{75A97B9E-77E4-426A-B7F0-B00B889C97DC}" dt="2022-01-09T09:48:35.833" v="496"/>
          <ac:picMkLst>
            <pc:docMk/>
            <pc:sldMk cId="371058751" sldId="368"/>
            <ac:picMk id="6" creationId="{4A08CA56-0F2C-4842-8FB2-31B02C4CC1C2}"/>
          </ac:picMkLst>
        </pc:picChg>
        <pc:picChg chg="del">
          <ac:chgData name="Kin Nam Lee" userId="S::kinnam0123_gmail.com#ext#@risebcg.onmicrosoft.com::d0b82110-aff5-4a68-b92e-ffa659453e49" providerId="AD" clId="Web-{75A97B9E-77E4-426A-B7F0-B00B889C97DC}" dt="2022-01-09T09:48:37.864" v="498"/>
          <ac:picMkLst>
            <pc:docMk/>
            <pc:sldMk cId="371058751" sldId="368"/>
            <ac:picMk id="8" creationId="{6CC0388A-2FEB-46B2-970B-B498ED898DF7}"/>
          </ac:picMkLst>
        </pc:picChg>
      </pc:sldChg>
      <pc:sldChg chg="new del">
        <pc:chgData name="Kin Nam Lee" userId="S::kinnam0123_gmail.com#ext#@risebcg.onmicrosoft.com::d0b82110-aff5-4a68-b92e-ffa659453e49" providerId="AD" clId="Web-{75A97B9E-77E4-426A-B7F0-B00B889C97DC}" dt="2022-01-09T09:45:56.830" v="405"/>
        <pc:sldMkLst>
          <pc:docMk/>
          <pc:sldMk cId="2437280143" sldId="368"/>
        </pc:sldMkLst>
      </pc:sldChg>
    </pc:docChg>
  </pc:docChgLst>
  <pc:docChgLst>
    <pc:chgData name="WESLEY.TBW" userId="S::wesley.tbw_gmail.com#ext#@risebcg.onmicrosoft.com::1034df62-ee6d-4b2f-8a56-03c4406a0a8a" providerId="AD" clId="Web-{5F7935B9-78CB-4A7B-8139-79A142C00EBF}"/>
    <pc:docChg chg="modSld">
      <pc:chgData name="WESLEY.TBW" userId="S::wesley.tbw_gmail.com#ext#@risebcg.onmicrosoft.com::1034df62-ee6d-4b2f-8a56-03c4406a0a8a" providerId="AD" clId="Web-{5F7935B9-78CB-4A7B-8139-79A142C00EBF}" dt="2022-01-09T15:51:42.238" v="2236"/>
      <pc:docMkLst>
        <pc:docMk/>
      </pc:docMkLst>
      <pc:sldChg chg="modNotes">
        <pc:chgData name="WESLEY.TBW" userId="S::wesley.tbw_gmail.com#ext#@risebcg.onmicrosoft.com::1034df62-ee6d-4b2f-8a56-03c4406a0a8a" providerId="AD" clId="Web-{5F7935B9-78CB-4A7B-8139-79A142C00EBF}" dt="2022-01-09T14:17:42.437" v="209"/>
        <pc:sldMkLst>
          <pc:docMk/>
          <pc:sldMk cId="2256265757" sldId="315"/>
        </pc:sldMkLst>
      </pc:sldChg>
      <pc:sldChg chg="modNotes">
        <pc:chgData name="WESLEY.TBW" userId="S::wesley.tbw_gmail.com#ext#@risebcg.onmicrosoft.com::1034df62-ee6d-4b2f-8a56-03c4406a0a8a" providerId="AD" clId="Web-{5F7935B9-78CB-4A7B-8139-79A142C00EBF}" dt="2022-01-09T14:11:09.020" v="205"/>
        <pc:sldMkLst>
          <pc:docMk/>
          <pc:sldMk cId="4084366951" sldId="318"/>
        </pc:sldMkLst>
      </pc:sldChg>
      <pc:sldChg chg="modNotes">
        <pc:chgData name="WESLEY.TBW" userId="S::wesley.tbw_gmail.com#ext#@risebcg.onmicrosoft.com::1034df62-ee6d-4b2f-8a56-03c4406a0a8a" providerId="AD" clId="Web-{5F7935B9-78CB-4A7B-8139-79A142C00EBF}" dt="2022-01-09T14:46:42.393" v="483"/>
        <pc:sldMkLst>
          <pc:docMk/>
          <pc:sldMk cId="1249418479" sldId="334"/>
        </pc:sldMkLst>
      </pc:sldChg>
      <pc:sldChg chg="addSp delSp modSp modTransition addAnim delAnim modAnim modNotes">
        <pc:chgData name="WESLEY.TBW" userId="S::wesley.tbw_gmail.com#ext#@risebcg.onmicrosoft.com::1034df62-ee6d-4b2f-8a56-03c4406a0a8a" providerId="AD" clId="Web-{5F7935B9-78CB-4A7B-8139-79A142C00EBF}" dt="2022-01-09T15:51:42.238" v="2236"/>
        <pc:sldMkLst>
          <pc:docMk/>
          <pc:sldMk cId="4159389698" sldId="342"/>
        </pc:sldMkLst>
        <pc:spChg chg="mod">
          <ac:chgData name="WESLEY.TBW" userId="S::wesley.tbw_gmail.com#ext#@risebcg.onmicrosoft.com::1034df62-ee6d-4b2f-8a56-03c4406a0a8a" providerId="AD" clId="Web-{5F7935B9-78CB-4A7B-8139-79A142C00EBF}" dt="2022-01-09T15:24:35.583" v="1197" actId="1076"/>
          <ac:spMkLst>
            <pc:docMk/>
            <pc:sldMk cId="4159389698" sldId="342"/>
            <ac:spMk id="2" creationId="{080435EA-AD4F-4934-83BC-D5D53AFD93E9}"/>
          </ac:spMkLst>
        </pc:spChg>
        <pc:spChg chg="add del mod">
          <ac:chgData name="WESLEY.TBW" userId="S::wesley.tbw_gmail.com#ext#@risebcg.onmicrosoft.com::1034df62-ee6d-4b2f-8a56-03c4406a0a8a" providerId="AD" clId="Web-{5F7935B9-78CB-4A7B-8139-79A142C00EBF}" dt="2022-01-09T14:26:41.734" v="234"/>
          <ac:spMkLst>
            <pc:docMk/>
            <pc:sldMk cId="4159389698" sldId="342"/>
            <ac:spMk id="3" creationId="{4C8457A8-B691-407D-BC43-B19F0CE0FA1A}"/>
          </ac:spMkLst>
        </pc:spChg>
        <pc:spChg chg="add del">
          <ac:chgData name="WESLEY.TBW" userId="S::wesley.tbw_gmail.com#ext#@risebcg.onmicrosoft.com::1034df62-ee6d-4b2f-8a56-03c4406a0a8a" providerId="AD" clId="Web-{5F7935B9-78CB-4A7B-8139-79A142C00EBF}" dt="2022-01-09T14:56:03.690" v="653"/>
          <ac:spMkLst>
            <pc:docMk/>
            <pc:sldMk cId="4159389698" sldId="342"/>
            <ac:spMk id="7" creationId="{45BDF008-A42D-489B-BC6B-3CD104825912}"/>
          </ac:spMkLst>
        </pc:spChg>
        <pc:spChg chg="add del">
          <ac:chgData name="WESLEY.TBW" userId="S::wesley.tbw_gmail.com#ext#@risebcg.onmicrosoft.com::1034df62-ee6d-4b2f-8a56-03c4406a0a8a" providerId="AD" clId="Web-{5F7935B9-78CB-4A7B-8139-79A142C00EBF}" dt="2022-01-09T14:56:07.893" v="655"/>
          <ac:spMkLst>
            <pc:docMk/>
            <pc:sldMk cId="4159389698" sldId="342"/>
            <ac:spMk id="8" creationId="{95D54CAB-95DB-4E15-A77B-4244F535CC05}"/>
          </ac:spMkLst>
        </pc:spChg>
        <pc:spChg chg="mod">
          <ac:chgData name="WESLEY.TBW" userId="S::wesley.tbw_gmail.com#ext#@risebcg.onmicrosoft.com::1034df62-ee6d-4b2f-8a56-03c4406a0a8a" providerId="AD" clId="Web-{5F7935B9-78CB-4A7B-8139-79A142C00EBF}" dt="2022-01-09T15:08:27.836" v="887" actId="1076"/>
          <ac:spMkLst>
            <pc:docMk/>
            <pc:sldMk cId="4159389698" sldId="342"/>
            <ac:spMk id="9" creationId="{E953D56B-E197-4EF3-86AC-EB83FF562830}"/>
          </ac:spMkLst>
        </pc:spChg>
        <pc:spChg chg="mod">
          <ac:chgData name="WESLEY.TBW" userId="S::wesley.tbw_gmail.com#ext#@risebcg.onmicrosoft.com::1034df62-ee6d-4b2f-8a56-03c4406a0a8a" providerId="AD" clId="Web-{5F7935B9-78CB-4A7B-8139-79A142C00EBF}" dt="2022-01-09T15:08:23.883" v="885" actId="1076"/>
          <ac:spMkLst>
            <pc:docMk/>
            <pc:sldMk cId="4159389698" sldId="342"/>
            <ac:spMk id="10" creationId="{A949E116-7148-4CA9-A41F-83DB47255D80}"/>
          </ac:spMkLst>
        </pc:spChg>
        <pc:spChg chg="mod">
          <ac:chgData name="WESLEY.TBW" userId="S::wesley.tbw_gmail.com#ext#@risebcg.onmicrosoft.com::1034df62-ee6d-4b2f-8a56-03c4406a0a8a" providerId="AD" clId="Web-{5F7935B9-78CB-4A7B-8139-79A142C00EBF}" dt="2022-01-09T15:03:35.359" v="786" actId="14100"/>
          <ac:spMkLst>
            <pc:docMk/>
            <pc:sldMk cId="4159389698" sldId="342"/>
            <ac:spMk id="12" creationId="{AAEC2426-37C0-4083-9090-89DDF94F295F}"/>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17" creationId="{6FDF350C-C97C-400B-B87D-6901DDEB82E0}"/>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18" creationId="{3C4A1E42-C144-4D19-AD56-DC9E3BC28DA6}"/>
          </ac:spMkLst>
        </pc:spChg>
        <pc:spChg chg="add mod">
          <ac:chgData name="WESLEY.TBW" userId="S::wesley.tbw_gmail.com#ext#@risebcg.onmicrosoft.com::1034df62-ee6d-4b2f-8a56-03c4406a0a8a" providerId="AD" clId="Web-{5F7935B9-78CB-4A7B-8139-79A142C00EBF}" dt="2022-01-09T15:04:58.565" v="809" actId="1076"/>
          <ac:spMkLst>
            <pc:docMk/>
            <pc:sldMk cId="4159389698" sldId="342"/>
            <ac:spMk id="19" creationId="{3AD73E51-E951-474F-9A5D-F6D82A01A37E}"/>
          </ac:spMkLst>
        </pc:spChg>
        <pc:spChg chg="add mod">
          <ac:chgData name="WESLEY.TBW" userId="S::wesley.tbw_gmail.com#ext#@risebcg.onmicrosoft.com::1034df62-ee6d-4b2f-8a56-03c4406a0a8a" providerId="AD" clId="Web-{5F7935B9-78CB-4A7B-8139-79A142C00EBF}" dt="2022-01-09T15:04:44.236" v="804"/>
          <ac:spMkLst>
            <pc:docMk/>
            <pc:sldMk cId="4159389698" sldId="342"/>
            <ac:spMk id="20" creationId="{15B8A76D-FA13-4296-BC22-4279F19678FE}"/>
          </ac:spMkLst>
        </pc:spChg>
        <pc:spChg chg="add mod">
          <ac:chgData name="WESLEY.TBW" userId="S::wesley.tbw_gmail.com#ext#@risebcg.onmicrosoft.com::1034df62-ee6d-4b2f-8a56-03c4406a0a8a" providerId="AD" clId="Web-{5F7935B9-78CB-4A7B-8139-79A142C00EBF}" dt="2022-01-09T15:08:25.243" v="886" actId="1076"/>
          <ac:spMkLst>
            <pc:docMk/>
            <pc:sldMk cId="4159389698" sldId="342"/>
            <ac:spMk id="21" creationId="{0F3AB545-8B7B-4F3B-BCAB-1B2065C8A613}"/>
          </ac:spMkLst>
        </pc:spChg>
        <pc:spChg chg="add mod">
          <ac:chgData name="WESLEY.TBW" userId="S::wesley.tbw_gmail.com#ext#@risebcg.onmicrosoft.com::1034df62-ee6d-4b2f-8a56-03c4406a0a8a" providerId="AD" clId="Web-{5F7935B9-78CB-4A7B-8139-79A142C00EBF}" dt="2022-01-09T15:08:31.977" v="888" actId="1076"/>
          <ac:spMkLst>
            <pc:docMk/>
            <pc:sldMk cId="4159389698" sldId="342"/>
            <ac:spMk id="22" creationId="{F5EDEB65-A697-4CE2-A547-919E61D07AEA}"/>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23" creationId="{41AFB02C-DB44-4F3C-812B-7D52A88090A6}"/>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24" creationId="{C02F7E63-1F01-4B53-821F-57BEDFD3D2A7}"/>
          </ac:spMkLst>
        </pc:spChg>
        <pc:spChg chg="add mod topLvl">
          <ac:chgData name="WESLEY.TBW" userId="S::wesley.tbw_gmail.com#ext#@risebcg.onmicrosoft.com::1034df62-ee6d-4b2f-8a56-03c4406a0a8a" providerId="AD" clId="Web-{5F7935B9-78CB-4A7B-8139-79A142C00EBF}" dt="2022-01-09T15:24:45.521" v="1198" actId="1076"/>
          <ac:spMkLst>
            <pc:docMk/>
            <pc:sldMk cId="4159389698" sldId="342"/>
            <ac:spMk id="27" creationId="{DCFD4D3C-02DB-4109-AE1E-9B21315DB83D}"/>
          </ac:spMkLst>
        </pc:spChg>
        <pc:spChg chg="add del mod">
          <ac:chgData name="WESLEY.TBW" userId="S::wesley.tbw_gmail.com#ext#@risebcg.onmicrosoft.com::1034df62-ee6d-4b2f-8a56-03c4406a0a8a" providerId="AD" clId="Web-{5F7935B9-78CB-4A7B-8139-79A142C00EBF}" dt="2022-01-09T15:17:05.367" v="1025"/>
          <ac:spMkLst>
            <pc:docMk/>
            <pc:sldMk cId="4159389698" sldId="342"/>
            <ac:spMk id="29" creationId="{A9A73B93-2295-40B6-A9FA-F3F72847F81F}"/>
          </ac:spMkLst>
        </pc:spChg>
        <pc:spChg chg="add del">
          <ac:chgData name="WESLEY.TBW" userId="S::wesley.tbw_gmail.com#ext#@risebcg.onmicrosoft.com::1034df62-ee6d-4b2f-8a56-03c4406a0a8a" providerId="AD" clId="Web-{5F7935B9-78CB-4A7B-8139-79A142C00EBF}" dt="2022-01-09T15:19:00.464" v="1038"/>
          <ac:spMkLst>
            <pc:docMk/>
            <pc:sldMk cId="4159389698" sldId="342"/>
            <ac:spMk id="30" creationId="{AF02D8EE-2AA1-4E5B-A1FA-A1DEF9AA6F9A}"/>
          </ac:spMkLst>
        </pc:spChg>
        <pc:grpChg chg="add del mod">
          <ac:chgData name="WESLEY.TBW" userId="S::wesley.tbw_gmail.com#ext#@risebcg.onmicrosoft.com::1034df62-ee6d-4b2f-8a56-03c4406a0a8a" providerId="AD" clId="Web-{5F7935B9-78CB-4A7B-8139-79A142C00EBF}" dt="2022-01-09T14:56:23.456" v="656"/>
          <ac:grpSpMkLst>
            <pc:docMk/>
            <pc:sldMk cId="4159389698" sldId="342"/>
            <ac:grpSpMk id="6" creationId="{02EBDF71-5CC6-45A6-83A3-FB904C2A91D8}"/>
          </ac:grpSpMkLst>
        </pc:grpChg>
        <pc:grpChg chg="add del mod topLvl">
          <ac:chgData name="WESLEY.TBW" userId="S::wesley.tbw_gmail.com#ext#@risebcg.onmicrosoft.com::1034df62-ee6d-4b2f-8a56-03c4406a0a8a" providerId="AD" clId="Web-{5F7935B9-78CB-4A7B-8139-79A142C00EBF}" dt="2022-01-09T15:18:44.010" v="1035"/>
          <ac:grpSpMkLst>
            <pc:docMk/>
            <pc:sldMk cId="4159389698" sldId="342"/>
            <ac:grpSpMk id="16" creationId="{B47A0804-E6A0-42B4-85E9-4ED25C5FE0C5}"/>
          </ac:grpSpMkLst>
        </pc:grpChg>
        <pc:grpChg chg="add del mod">
          <ac:chgData name="WESLEY.TBW" userId="S::wesley.tbw_gmail.com#ext#@risebcg.onmicrosoft.com::1034df62-ee6d-4b2f-8a56-03c4406a0a8a" providerId="AD" clId="Web-{5F7935B9-78CB-4A7B-8139-79A142C00EBF}" dt="2022-01-09T15:18:26.291" v="1033"/>
          <ac:grpSpMkLst>
            <pc:docMk/>
            <pc:sldMk cId="4159389698" sldId="342"/>
            <ac:grpSpMk id="28" creationId="{0753DEED-4DB1-47D9-917A-CFBD8B8C39A8}"/>
          </ac:grpSpMkLst>
        </pc:grpChg>
        <pc:grpChg chg="add">
          <ac:chgData name="WESLEY.TBW" userId="S::wesley.tbw_gmail.com#ext#@risebcg.onmicrosoft.com::1034df62-ee6d-4b2f-8a56-03c4406a0a8a" providerId="AD" clId="Web-{5F7935B9-78CB-4A7B-8139-79A142C00EBF}" dt="2022-01-09T15:21:18.327" v="1051"/>
          <ac:grpSpMkLst>
            <pc:docMk/>
            <pc:sldMk cId="4159389698" sldId="342"/>
            <ac:grpSpMk id="31" creationId="{76E18740-F22D-4963-BCB7-3EF1ECF50B99}"/>
          </ac:grpSpMkLst>
        </pc:grpChg>
        <pc:picChg chg="mod">
          <ac:chgData name="WESLEY.TBW" userId="S::wesley.tbw_gmail.com#ext#@risebcg.onmicrosoft.com::1034df62-ee6d-4b2f-8a56-03c4406a0a8a" providerId="AD" clId="Web-{5F7935B9-78CB-4A7B-8139-79A142C00EBF}" dt="2022-01-09T15:20:03.341" v="1049" actId="1076"/>
          <ac:picMkLst>
            <pc:docMk/>
            <pc:sldMk cId="4159389698" sldId="342"/>
            <ac:picMk id="4" creationId="{A250FD57-6309-4718-A617-85A0EA99B27E}"/>
          </ac:picMkLst>
        </pc:picChg>
        <pc:cxnChg chg="add mod ord topLvl">
          <ac:chgData name="WESLEY.TBW" userId="S::wesley.tbw_gmail.com#ext#@risebcg.onmicrosoft.com::1034df62-ee6d-4b2f-8a56-03c4406a0a8a" providerId="AD" clId="Web-{5F7935B9-78CB-4A7B-8139-79A142C00EBF}" dt="2022-01-09T15:19:57.044" v="1048"/>
          <ac:cxnSpMkLst>
            <pc:docMk/>
            <pc:sldMk cId="4159389698" sldId="342"/>
            <ac:cxnSpMk id="5" creationId="{42CC447C-FCA3-4440-AFAC-074CA9387369}"/>
          </ac:cxnSpMkLst>
        </pc:cxnChg>
        <pc:cxnChg chg="add mod topLvl">
          <ac:chgData name="WESLEY.TBW" userId="S::wesley.tbw_gmail.com#ext#@risebcg.onmicrosoft.com::1034df62-ee6d-4b2f-8a56-03c4406a0a8a" providerId="AD" clId="Web-{5F7935B9-78CB-4A7B-8139-79A142C00EBF}" dt="2022-01-09T15:18:52.729" v="1036" actId="14100"/>
          <ac:cxnSpMkLst>
            <pc:docMk/>
            <pc:sldMk cId="4159389698" sldId="342"/>
            <ac:cxnSpMk id="11" creationId="{B100C871-1F8E-44FA-9A22-E49497F4DD19}"/>
          </ac:cxnSpMkLst>
        </pc:cxnChg>
        <pc:cxnChg chg="add mod topLvl">
          <ac:chgData name="WESLEY.TBW" userId="S::wesley.tbw_gmail.com#ext#@risebcg.onmicrosoft.com::1034df62-ee6d-4b2f-8a56-03c4406a0a8a" providerId="AD" clId="Web-{5F7935B9-78CB-4A7B-8139-79A142C00EBF}" dt="2022-01-09T15:19:41.168" v="1045" actId="14100"/>
          <ac:cxnSpMkLst>
            <pc:docMk/>
            <pc:sldMk cId="4159389698" sldId="342"/>
            <ac:cxnSpMk id="13" creationId="{CFBA535F-E821-437D-8FB9-B7C83F0FE8CA}"/>
          </ac:cxnSpMkLst>
        </pc:cxnChg>
        <pc:cxnChg chg="add mod topLvl">
          <ac:chgData name="WESLEY.TBW" userId="S::wesley.tbw_gmail.com#ext#@risebcg.onmicrosoft.com::1034df62-ee6d-4b2f-8a56-03c4406a0a8a" providerId="AD" clId="Web-{5F7935B9-78CB-4A7B-8139-79A142C00EBF}" dt="2022-01-09T15:19:47.606" v="1046" actId="14100"/>
          <ac:cxnSpMkLst>
            <pc:docMk/>
            <pc:sldMk cId="4159389698" sldId="342"/>
            <ac:cxnSpMk id="14" creationId="{93D321C6-8EC7-46E9-B13D-F842EC617678}"/>
          </ac:cxnSpMkLst>
        </pc:cxnChg>
        <pc:cxnChg chg="add mod topLvl">
          <ac:chgData name="WESLEY.TBW" userId="S::wesley.tbw_gmail.com#ext#@risebcg.onmicrosoft.com::1034df62-ee6d-4b2f-8a56-03c4406a0a8a" providerId="AD" clId="Web-{5F7935B9-78CB-4A7B-8139-79A142C00EBF}" dt="2022-01-09T15:19:24.152" v="1042" actId="14100"/>
          <ac:cxnSpMkLst>
            <pc:docMk/>
            <pc:sldMk cId="4159389698" sldId="342"/>
            <ac:cxnSpMk id="15" creationId="{0F061DD2-0F3A-4495-B4F4-9E94EF93F1CE}"/>
          </ac:cxnSpMkLst>
        </pc:cxnChg>
        <pc:cxnChg chg="add mod topLvl">
          <ac:chgData name="WESLEY.TBW" userId="S::wesley.tbw_gmail.com#ext#@risebcg.onmicrosoft.com::1034df62-ee6d-4b2f-8a56-03c4406a0a8a" providerId="AD" clId="Web-{5F7935B9-78CB-4A7B-8139-79A142C00EBF}" dt="2022-01-09T15:18:26.291" v="1033"/>
          <ac:cxnSpMkLst>
            <pc:docMk/>
            <pc:sldMk cId="4159389698" sldId="342"/>
            <ac:cxnSpMk id="25" creationId="{86C75B88-0208-4015-B9DF-BF70E495BB7A}"/>
          </ac:cxnSpMkLst>
        </pc:cxnChg>
        <pc:cxnChg chg="add mod topLvl">
          <ac:chgData name="WESLEY.TBW" userId="S::wesley.tbw_gmail.com#ext#@risebcg.onmicrosoft.com::1034df62-ee6d-4b2f-8a56-03c4406a0a8a" providerId="AD" clId="Web-{5F7935B9-78CB-4A7B-8139-79A142C00EBF}" dt="2022-01-09T15:20:19.060" v="1050" actId="14100"/>
          <ac:cxnSpMkLst>
            <pc:docMk/>
            <pc:sldMk cId="4159389698" sldId="342"/>
            <ac:cxnSpMk id="26" creationId="{4264CA08-D5C3-4CB2-AD5C-F07158DF5983}"/>
          </ac:cxnSpMkLst>
        </pc:cxnChg>
      </pc:sldChg>
    </pc:docChg>
  </pc:docChgLst>
  <pc:docChgLst>
    <pc:chgData name="WONGYONGLIN91" userId="S::wongyonglin91_gmail.com#ext#@risebcg.onmicrosoft.com::b2d94f93-e580-4f0d-9dda-2138509d25ae" providerId="AD" clId="Web-{EC2A99E8-D57E-404D-978A-0C90CBE96F0A}"/>
    <pc:docChg chg="addSld delSld modSld">
      <pc:chgData name="WONGYONGLIN91" userId="S::wongyonglin91_gmail.com#ext#@risebcg.onmicrosoft.com::b2d94f93-e580-4f0d-9dda-2138509d25ae" providerId="AD" clId="Web-{EC2A99E8-D57E-404D-978A-0C90CBE96F0A}" dt="2022-01-08T18:36:54.308" v="52" actId="14100"/>
      <pc:docMkLst>
        <pc:docMk/>
      </pc:docMkLst>
      <pc:sldChg chg="del">
        <pc:chgData name="WONGYONGLIN91" userId="S::wongyonglin91_gmail.com#ext#@risebcg.onmicrosoft.com::b2d94f93-e580-4f0d-9dda-2138509d25ae" providerId="AD" clId="Web-{EC2A99E8-D57E-404D-978A-0C90CBE96F0A}" dt="2022-01-08T16:18:53.833" v="1"/>
        <pc:sldMkLst>
          <pc:docMk/>
          <pc:sldMk cId="1227236751" sldId="356"/>
        </pc:sldMkLst>
      </pc:sldChg>
      <pc:sldChg chg="addSp delSp modSp">
        <pc:chgData name="WONGYONGLIN91" userId="S::wongyonglin91_gmail.com#ext#@risebcg.onmicrosoft.com::b2d94f93-e580-4f0d-9dda-2138509d25ae" providerId="AD" clId="Web-{EC2A99E8-D57E-404D-978A-0C90CBE96F0A}" dt="2022-01-08T18:36:54.308" v="52" actId="14100"/>
        <pc:sldMkLst>
          <pc:docMk/>
          <pc:sldMk cId="1894441827" sldId="358"/>
        </pc:sldMkLst>
        <pc:spChg chg="mod">
          <ac:chgData name="WONGYONGLIN91" userId="S::wongyonglin91_gmail.com#ext#@risebcg.onmicrosoft.com::b2d94f93-e580-4f0d-9dda-2138509d25ae" providerId="AD" clId="Web-{EC2A99E8-D57E-404D-978A-0C90CBE96F0A}" dt="2022-01-08T18:31:59.862" v="34" actId="1076"/>
          <ac:spMkLst>
            <pc:docMk/>
            <pc:sldMk cId="1894441827" sldId="358"/>
            <ac:spMk id="10" creationId="{42FB9C20-3D6F-40FF-ABFC-89E5858742B1}"/>
          </ac:spMkLst>
        </pc:spChg>
        <pc:spChg chg="mod">
          <ac:chgData name="WONGYONGLIN91" userId="S::wongyonglin91_gmail.com#ext#@risebcg.onmicrosoft.com::b2d94f93-e580-4f0d-9dda-2138509d25ae" providerId="AD" clId="Web-{EC2A99E8-D57E-404D-978A-0C90CBE96F0A}" dt="2022-01-08T18:24:39.059" v="31" actId="1076"/>
          <ac:spMkLst>
            <pc:docMk/>
            <pc:sldMk cId="1894441827" sldId="358"/>
            <ac:spMk id="12" creationId="{95E46411-4A0C-41AA-9250-790D71323EA7}"/>
          </ac:spMkLst>
        </pc:spChg>
        <pc:spChg chg="mod">
          <ac:chgData name="WONGYONGLIN91" userId="S::wongyonglin91_gmail.com#ext#@risebcg.onmicrosoft.com::b2d94f93-e580-4f0d-9dda-2138509d25ae" providerId="AD" clId="Web-{EC2A99E8-D57E-404D-978A-0C90CBE96F0A}" dt="2022-01-08T18:32:05.659" v="35" actId="1076"/>
          <ac:spMkLst>
            <pc:docMk/>
            <pc:sldMk cId="1894441827" sldId="358"/>
            <ac:spMk id="17" creationId="{815F3179-193A-4F5E-A1A9-12297C608458}"/>
          </ac:spMkLst>
        </pc:spChg>
        <pc:picChg chg="add del mod">
          <ac:chgData name="WONGYONGLIN91" userId="S::wongyonglin91_gmail.com#ext#@risebcg.onmicrosoft.com::b2d94f93-e580-4f0d-9dda-2138509d25ae" providerId="AD" clId="Web-{EC2A99E8-D57E-404D-978A-0C90CBE96F0A}" dt="2022-01-08T18:20:06.770" v="14"/>
          <ac:picMkLst>
            <pc:docMk/>
            <pc:sldMk cId="1894441827" sldId="358"/>
            <ac:picMk id="4" creationId="{0A2CEA9C-3B44-4930-8C81-9261CEA29D54}"/>
          </ac:picMkLst>
        </pc:picChg>
        <pc:picChg chg="add del mod">
          <ac:chgData name="WONGYONGLIN91" userId="S::wongyonglin91_gmail.com#ext#@risebcg.onmicrosoft.com::b2d94f93-e580-4f0d-9dda-2138509d25ae" providerId="AD" clId="Web-{EC2A99E8-D57E-404D-978A-0C90CBE96F0A}" dt="2022-01-08T18:35:48.244" v="45"/>
          <ac:picMkLst>
            <pc:docMk/>
            <pc:sldMk cId="1894441827" sldId="358"/>
            <ac:picMk id="6" creationId="{C94AA325-23D9-4628-A982-751B8727F001}"/>
          </ac:picMkLst>
        </pc:picChg>
        <pc:picChg chg="add del mod">
          <ac:chgData name="WONGYONGLIN91" userId="S::wongyonglin91_gmail.com#ext#@risebcg.onmicrosoft.com::b2d94f93-e580-4f0d-9dda-2138509d25ae" providerId="AD" clId="Web-{EC2A99E8-D57E-404D-978A-0C90CBE96F0A}" dt="2022-01-08T18:35:51.009" v="46"/>
          <ac:picMkLst>
            <pc:docMk/>
            <pc:sldMk cId="1894441827" sldId="358"/>
            <ac:picMk id="7" creationId="{0C442316-BA83-4A6C-8E4B-61FE22300DF2}"/>
          </ac:picMkLst>
        </pc:picChg>
        <pc:picChg chg="del">
          <ac:chgData name="WONGYONGLIN91" userId="S::wongyonglin91_gmail.com#ext#@risebcg.onmicrosoft.com::b2d94f93-e580-4f0d-9dda-2138509d25ae" providerId="AD" clId="Web-{EC2A99E8-D57E-404D-978A-0C90CBE96F0A}" dt="2022-01-08T18:03:31.236" v="13"/>
          <ac:picMkLst>
            <pc:docMk/>
            <pc:sldMk cId="1894441827" sldId="358"/>
            <ac:picMk id="7" creationId="{F2806C6D-F724-4DED-AEF0-61ECCAB05DB6}"/>
          </ac:picMkLst>
        </pc:picChg>
        <pc:picChg chg="del">
          <ac:chgData name="WONGYONGLIN91" userId="S::wongyonglin91_gmail.com#ext#@risebcg.onmicrosoft.com::b2d94f93-e580-4f0d-9dda-2138509d25ae" providerId="AD" clId="Web-{EC2A99E8-D57E-404D-978A-0C90CBE96F0A}" dt="2022-01-08T16:19:07.489" v="3"/>
          <ac:picMkLst>
            <pc:docMk/>
            <pc:sldMk cId="1894441827" sldId="358"/>
            <ac:picMk id="8" creationId="{1C37FA25-553F-4164-8C97-7E76EEDF8003}"/>
          </ac:picMkLst>
        </pc:picChg>
        <pc:picChg chg="add mod">
          <ac:chgData name="WONGYONGLIN91" userId="S::wongyonglin91_gmail.com#ext#@risebcg.onmicrosoft.com::b2d94f93-e580-4f0d-9dda-2138509d25ae" providerId="AD" clId="Web-{EC2A99E8-D57E-404D-978A-0C90CBE96F0A}" dt="2022-01-08T18:33:12.599" v="39" actId="1076"/>
          <ac:picMkLst>
            <pc:docMk/>
            <pc:sldMk cId="1894441827" sldId="358"/>
            <ac:picMk id="8" creationId="{80090A9D-A882-4EB8-927C-696FEDD289AC}"/>
          </ac:picMkLst>
        </pc:picChg>
        <pc:picChg chg="add mod">
          <ac:chgData name="WONGYONGLIN91" userId="S::wongyonglin91_gmail.com#ext#@risebcg.onmicrosoft.com::b2d94f93-e580-4f0d-9dda-2138509d25ae" providerId="AD" clId="Web-{EC2A99E8-D57E-404D-978A-0C90CBE96F0A}" dt="2022-01-08T18:34:40.742" v="44" actId="14100"/>
          <ac:picMkLst>
            <pc:docMk/>
            <pc:sldMk cId="1894441827" sldId="358"/>
            <ac:picMk id="9" creationId="{AE0C5261-EE51-4A4C-8F2E-CF83910177AF}"/>
          </ac:picMkLst>
        </pc:picChg>
        <pc:picChg chg="del">
          <ac:chgData name="WONGYONGLIN91" userId="S::wongyonglin91_gmail.com#ext#@risebcg.onmicrosoft.com::b2d94f93-e580-4f0d-9dda-2138509d25ae" providerId="AD" clId="Web-{EC2A99E8-D57E-404D-978A-0C90CBE96F0A}" dt="2022-01-08T16:20:09.178" v="6"/>
          <ac:picMkLst>
            <pc:docMk/>
            <pc:sldMk cId="1894441827" sldId="358"/>
            <ac:picMk id="11" creationId="{B9CA3DF6-D1DE-4B59-9A07-B34CE4EC9917}"/>
          </ac:picMkLst>
        </pc:picChg>
        <pc:picChg chg="add mod">
          <ac:chgData name="WONGYONGLIN91" userId="S::wongyonglin91_gmail.com#ext#@risebcg.onmicrosoft.com::b2d94f93-e580-4f0d-9dda-2138509d25ae" providerId="AD" clId="Web-{EC2A99E8-D57E-404D-978A-0C90CBE96F0A}" dt="2022-01-08T18:36:15.260" v="49" actId="14100"/>
          <ac:picMkLst>
            <pc:docMk/>
            <pc:sldMk cId="1894441827" sldId="358"/>
            <ac:picMk id="11" creationId="{BCAB455B-1F72-43F9-AE57-6EC5913938BF}"/>
          </ac:picMkLst>
        </pc:picChg>
        <pc:picChg chg="add mod">
          <ac:chgData name="WONGYONGLIN91" userId="S::wongyonglin91_gmail.com#ext#@risebcg.onmicrosoft.com::b2d94f93-e580-4f0d-9dda-2138509d25ae" providerId="AD" clId="Web-{EC2A99E8-D57E-404D-978A-0C90CBE96F0A}" dt="2022-01-08T18:36:54.308" v="52" actId="14100"/>
          <ac:picMkLst>
            <pc:docMk/>
            <pc:sldMk cId="1894441827" sldId="358"/>
            <ac:picMk id="13" creationId="{527B4510-4D9B-455A-B6C2-3238A0275F12}"/>
          </ac:picMkLst>
        </pc:picChg>
        <pc:picChg chg="del">
          <ac:chgData name="WONGYONGLIN91" userId="S::wongyonglin91_gmail.com#ext#@risebcg.onmicrosoft.com::b2d94f93-e580-4f0d-9dda-2138509d25ae" providerId="AD" clId="Web-{EC2A99E8-D57E-404D-978A-0C90CBE96F0A}" dt="2022-01-08T16:19:06.771" v="2"/>
          <ac:picMkLst>
            <pc:docMk/>
            <pc:sldMk cId="1894441827" sldId="358"/>
            <ac:picMk id="13" creationId="{6031EC29-FB42-4498-A4A9-E35C4E061CC4}"/>
          </ac:picMkLst>
        </pc:picChg>
        <pc:cxnChg chg="mod">
          <ac:chgData name="WONGYONGLIN91" userId="S::wongyonglin91_gmail.com#ext#@risebcg.onmicrosoft.com::b2d94f93-e580-4f0d-9dda-2138509d25ae" providerId="AD" clId="Web-{EC2A99E8-D57E-404D-978A-0C90CBE96F0A}" dt="2022-01-08T18:31:37.909" v="33" actId="14100"/>
          <ac:cxnSpMkLst>
            <pc:docMk/>
            <pc:sldMk cId="1894441827" sldId="358"/>
            <ac:cxnSpMk id="5" creationId="{7650244C-E06B-41BA-A77C-2D20639EA927}"/>
          </ac:cxnSpMkLst>
        </pc:cxnChg>
      </pc:sldChg>
      <pc:sldChg chg="add replId">
        <pc:chgData name="WONGYONGLIN91" userId="S::wongyonglin91_gmail.com#ext#@risebcg.onmicrosoft.com::b2d94f93-e580-4f0d-9dda-2138509d25ae" providerId="AD" clId="Web-{EC2A99E8-D57E-404D-978A-0C90CBE96F0A}" dt="2022-01-08T16:17:37.284" v="0"/>
        <pc:sldMkLst>
          <pc:docMk/>
          <pc:sldMk cId="373009354" sldId="359"/>
        </pc:sldMkLst>
      </pc:sldChg>
    </pc:docChg>
  </pc:docChgLst>
  <pc:docChgLst>
    <pc:chgData name="EVELYNSM.YONG" userId="S::evelynsm.yong_gmail.com#ext#@risebcg.onmicrosoft.com::67a27a72-2420-4d38-b745-316a53f4b99a" providerId="AD" clId="Web-{192FE1B7-07D2-4ABF-9850-5AAFACEA36B3}"/>
    <pc:docChg chg="modSld">
      <pc:chgData name="EVELYNSM.YONG" userId="S::evelynsm.yong_gmail.com#ext#@risebcg.onmicrosoft.com::67a27a72-2420-4d38-b745-316a53f4b99a" providerId="AD" clId="Web-{192FE1B7-07D2-4ABF-9850-5AAFACEA36B3}" dt="2022-01-07T13:59:52.882" v="55" actId="14100"/>
      <pc:docMkLst>
        <pc:docMk/>
      </pc:docMkLst>
      <pc:sldChg chg="modSp">
        <pc:chgData name="EVELYNSM.YONG" userId="S::evelynsm.yong_gmail.com#ext#@risebcg.onmicrosoft.com::67a27a72-2420-4d38-b745-316a53f4b99a" providerId="AD" clId="Web-{192FE1B7-07D2-4ABF-9850-5AAFACEA36B3}" dt="2022-01-07T13:59:52.882" v="55" actId="14100"/>
        <pc:sldMkLst>
          <pc:docMk/>
          <pc:sldMk cId="2256265757" sldId="315"/>
        </pc:sldMkLst>
        <pc:graphicFrameChg chg="mod modGraphic">
          <ac:chgData name="EVELYNSM.YONG" userId="S::evelynsm.yong_gmail.com#ext#@risebcg.onmicrosoft.com::67a27a72-2420-4d38-b745-316a53f4b99a" providerId="AD" clId="Web-{192FE1B7-07D2-4ABF-9850-5AAFACEA36B3}" dt="2022-01-07T13:59:52.882" v="55" actId="14100"/>
          <ac:graphicFrameMkLst>
            <pc:docMk/>
            <pc:sldMk cId="2256265757" sldId="315"/>
            <ac:graphicFrameMk id="18" creationId="{2289CFB1-4EE4-43EC-A8B5-4E5FC402B3C5}"/>
          </ac:graphicFrameMkLst>
        </pc:graphicFrameChg>
      </pc:sldChg>
    </pc:docChg>
  </pc:docChgLst>
  <pc:docChgLst>
    <pc:chgData name="COSMOSFREN" userId="S::cosmosfren_yahoo.com#ext#@risebcg.onmicrosoft.com::5462f5f4-f618-47aa-abd8-fd504e002570" providerId="AD" clId="Web-{3EB0FAEB-12AC-4A2E-B9FA-FADDBCDDECE3}"/>
    <pc:docChg chg="modSld sldOrd">
      <pc:chgData name="COSMOSFREN" userId="S::cosmosfren_yahoo.com#ext#@risebcg.onmicrosoft.com::5462f5f4-f618-47aa-abd8-fd504e002570" providerId="AD" clId="Web-{3EB0FAEB-12AC-4A2E-B9FA-FADDBCDDECE3}" dt="2022-01-09T08:51:53.917" v="1782"/>
      <pc:docMkLst>
        <pc:docMk/>
      </pc:docMkLst>
      <pc:sldChg chg="modSp modNotes">
        <pc:chgData name="COSMOSFREN" userId="S::cosmosfren_yahoo.com#ext#@risebcg.onmicrosoft.com::5462f5f4-f618-47aa-abd8-fd504e002570" providerId="AD" clId="Web-{3EB0FAEB-12AC-4A2E-B9FA-FADDBCDDECE3}" dt="2022-01-09T08:41:08.778" v="1044"/>
        <pc:sldMkLst>
          <pc:docMk/>
          <pc:sldMk cId="1960038968" sldId="302"/>
        </pc:sldMkLst>
        <pc:spChg chg="mod">
          <ac:chgData name="COSMOSFREN" userId="S::cosmosfren_yahoo.com#ext#@risebcg.onmicrosoft.com::5462f5f4-f618-47aa-abd8-fd504e002570" providerId="AD" clId="Web-{3EB0FAEB-12AC-4A2E-B9FA-FADDBCDDECE3}" dt="2022-01-09T08:40:12.011" v="1037" actId="20577"/>
          <ac:spMkLst>
            <pc:docMk/>
            <pc:sldMk cId="1960038968" sldId="302"/>
            <ac:spMk id="3" creationId="{24EA6045-D161-499A-99D8-27A9B2007106}"/>
          </ac:spMkLst>
        </pc:spChg>
        <pc:spChg chg="mod">
          <ac:chgData name="COSMOSFREN" userId="S::cosmosfren_yahoo.com#ext#@risebcg.onmicrosoft.com::5462f5f4-f618-47aa-abd8-fd504e002570" providerId="AD" clId="Web-{3EB0FAEB-12AC-4A2E-B9FA-FADDBCDDECE3}" dt="2022-01-09T07:41:10.303" v="673" actId="1076"/>
          <ac:spMkLst>
            <pc:docMk/>
            <pc:sldMk cId="1960038968" sldId="302"/>
            <ac:spMk id="5" creationId="{22119D13-7FBA-40D8-9A7E-FC8FC5756573}"/>
          </ac:spMkLst>
        </pc:spChg>
      </pc:sldChg>
      <pc:sldChg chg="modNotes">
        <pc:chgData name="COSMOSFREN" userId="S::cosmosfren_yahoo.com#ext#@risebcg.onmicrosoft.com::5462f5f4-f618-47aa-abd8-fd504e002570" providerId="AD" clId="Web-{3EB0FAEB-12AC-4A2E-B9FA-FADDBCDDECE3}" dt="2022-01-09T08:42:26.186" v="1198"/>
        <pc:sldMkLst>
          <pc:docMk/>
          <pc:sldMk cId="2067521295" sldId="323"/>
        </pc:sldMkLst>
      </pc:sldChg>
      <pc:sldChg chg="modNotes">
        <pc:chgData name="COSMOSFREN" userId="S::cosmosfren_yahoo.com#ext#@risebcg.onmicrosoft.com::5462f5f4-f618-47aa-abd8-fd504e002570" providerId="AD" clId="Web-{3EB0FAEB-12AC-4A2E-B9FA-FADDBCDDECE3}" dt="2022-01-09T08:51:53.917" v="1782"/>
        <pc:sldMkLst>
          <pc:docMk/>
          <pc:sldMk cId="416007632" sldId="327"/>
        </pc:sldMkLst>
      </pc:sldChg>
      <pc:sldChg chg="modSp ord">
        <pc:chgData name="COSMOSFREN" userId="S::cosmosfren_yahoo.com#ext#@risebcg.onmicrosoft.com::5462f5f4-f618-47aa-abd8-fd504e002570" providerId="AD" clId="Web-{3EB0FAEB-12AC-4A2E-B9FA-FADDBCDDECE3}" dt="2022-01-09T07:30:45.118" v="625"/>
        <pc:sldMkLst>
          <pc:docMk/>
          <pc:sldMk cId="2652119032" sldId="335"/>
        </pc:sldMkLst>
        <pc:spChg chg="mod">
          <ac:chgData name="COSMOSFREN" userId="S::cosmosfren_yahoo.com#ext#@risebcg.onmicrosoft.com::5462f5f4-f618-47aa-abd8-fd504e002570" providerId="AD" clId="Web-{3EB0FAEB-12AC-4A2E-B9FA-FADDBCDDECE3}" dt="2022-01-09T07:08:05.239" v="1" actId="20577"/>
          <ac:spMkLst>
            <pc:docMk/>
            <pc:sldMk cId="2652119032" sldId="335"/>
            <ac:spMk id="4" creationId="{7BCAFA08-4D06-4459-BDE0-CAB790C8CB40}"/>
          </ac:spMkLst>
        </pc:spChg>
        <pc:spChg chg="mod">
          <ac:chgData name="COSMOSFREN" userId="S::cosmosfren_yahoo.com#ext#@risebcg.onmicrosoft.com::5462f5f4-f618-47aa-abd8-fd504e002570" providerId="AD" clId="Web-{3EB0FAEB-12AC-4A2E-B9FA-FADDBCDDECE3}" dt="2022-01-09T07:08:16.380" v="3" actId="20577"/>
          <ac:spMkLst>
            <pc:docMk/>
            <pc:sldMk cId="2652119032" sldId="335"/>
            <ac:spMk id="10" creationId="{5B136050-0C52-4973-B00A-9438EBC773F2}"/>
          </ac:spMkLst>
        </pc:spChg>
      </pc:sldChg>
      <pc:sldChg chg="ord">
        <pc:chgData name="COSMOSFREN" userId="S::cosmosfren_yahoo.com#ext#@risebcg.onmicrosoft.com::5462f5f4-f618-47aa-abd8-fd504e002570" providerId="AD" clId="Web-{3EB0FAEB-12AC-4A2E-B9FA-FADDBCDDECE3}" dt="2022-01-09T07:59:20.975" v="819"/>
        <pc:sldMkLst>
          <pc:docMk/>
          <pc:sldMk cId="2538826858" sldId="336"/>
        </pc:sldMkLst>
      </pc:sldChg>
      <pc:sldChg chg="modSp">
        <pc:chgData name="COSMOSFREN" userId="S::cosmosfren_yahoo.com#ext#@risebcg.onmicrosoft.com::5462f5f4-f618-47aa-abd8-fd504e002570" providerId="AD" clId="Web-{3EB0FAEB-12AC-4A2E-B9FA-FADDBCDDECE3}" dt="2022-01-09T08:19:49.157" v="832" actId="20577"/>
        <pc:sldMkLst>
          <pc:docMk/>
          <pc:sldMk cId="3391215681" sldId="339"/>
        </pc:sldMkLst>
        <pc:spChg chg="mod">
          <ac:chgData name="COSMOSFREN" userId="S::cosmosfren_yahoo.com#ext#@risebcg.onmicrosoft.com::5462f5f4-f618-47aa-abd8-fd504e002570" providerId="AD" clId="Web-{3EB0FAEB-12AC-4A2E-B9FA-FADDBCDDECE3}" dt="2022-01-09T08:19:49.157" v="832" actId="20577"/>
          <ac:spMkLst>
            <pc:docMk/>
            <pc:sldMk cId="3391215681" sldId="339"/>
            <ac:spMk id="160" creationId="{129EBF9C-3DCE-40EC-8CFB-1CB201B252BE}"/>
          </ac:spMkLst>
        </pc:spChg>
      </pc:sldChg>
      <pc:sldChg chg="modSp">
        <pc:chgData name="COSMOSFREN" userId="S::cosmosfren_yahoo.com#ext#@risebcg.onmicrosoft.com::5462f5f4-f618-47aa-abd8-fd504e002570" providerId="AD" clId="Web-{3EB0FAEB-12AC-4A2E-B9FA-FADDBCDDECE3}" dt="2022-01-09T07:59:13.802" v="818" actId="1076"/>
        <pc:sldMkLst>
          <pc:docMk/>
          <pc:sldMk cId="4159389698" sldId="342"/>
        </pc:sldMkLst>
        <pc:spChg chg="mod">
          <ac:chgData name="COSMOSFREN" userId="S::cosmosfren_yahoo.com#ext#@risebcg.onmicrosoft.com::5462f5f4-f618-47aa-abd8-fd504e002570" providerId="AD" clId="Web-{3EB0FAEB-12AC-4A2E-B9FA-FADDBCDDECE3}" dt="2022-01-09T07:51:53.606" v="815" actId="20577"/>
          <ac:spMkLst>
            <pc:docMk/>
            <pc:sldMk cId="4159389698" sldId="342"/>
            <ac:spMk id="2" creationId="{080435EA-AD4F-4934-83BC-D5D53AFD93E9}"/>
          </ac:spMkLst>
        </pc:spChg>
        <pc:picChg chg="mod">
          <ac:chgData name="COSMOSFREN" userId="S::cosmosfren_yahoo.com#ext#@risebcg.onmicrosoft.com::5462f5f4-f618-47aa-abd8-fd504e002570" providerId="AD" clId="Web-{3EB0FAEB-12AC-4A2E-B9FA-FADDBCDDECE3}" dt="2022-01-09T07:59:13.802" v="818" actId="1076"/>
          <ac:picMkLst>
            <pc:docMk/>
            <pc:sldMk cId="4159389698" sldId="342"/>
            <ac:picMk id="8" creationId="{6B01C6A5-3C80-4889-B1DA-40342676F95C}"/>
          </ac:picMkLst>
        </pc:picChg>
      </pc:sldChg>
      <pc:sldChg chg="modSp">
        <pc:chgData name="COSMOSFREN" userId="S::cosmosfren_yahoo.com#ext#@risebcg.onmicrosoft.com::5462f5f4-f618-47aa-abd8-fd504e002570" providerId="AD" clId="Web-{3EB0FAEB-12AC-4A2E-B9FA-FADDBCDDECE3}" dt="2022-01-09T07:19:59.101" v="550" actId="1076"/>
        <pc:sldMkLst>
          <pc:docMk/>
          <pc:sldMk cId="1894441827" sldId="358"/>
        </pc:sldMkLst>
        <pc:spChg chg="mod">
          <ac:chgData name="COSMOSFREN" userId="S::cosmosfren_yahoo.com#ext#@risebcg.onmicrosoft.com::5462f5f4-f618-47aa-abd8-fd504e002570" providerId="AD" clId="Web-{3EB0FAEB-12AC-4A2E-B9FA-FADDBCDDECE3}" dt="2022-01-09T07:18:48.365" v="541" actId="1076"/>
          <ac:spMkLst>
            <pc:docMk/>
            <pc:sldMk cId="1894441827" sldId="358"/>
            <ac:spMk id="3" creationId="{2321500F-B116-49E9-B713-1C89E59A92D6}"/>
          </ac:spMkLst>
        </pc:spChg>
        <pc:spChg chg="mod">
          <ac:chgData name="COSMOSFREN" userId="S::cosmosfren_yahoo.com#ext#@risebcg.onmicrosoft.com::5462f5f4-f618-47aa-abd8-fd504e002570" providerId="AD" clId="Web-{3EB0FAEB-12AC-4A2E-B9FA-FADDBCDDECE3}" dt="2022-01-09T07:19:00.443" v="545" actId="1076"/>
          <ac:spMkLst>
            <pc:docMk/>
            <pc:sldMk cId="1894441827" sldId="358"/>
            <ac:spMk id="12" creationId="{95E46411-4A0C-41AA-9250-790D71323EA7}"/>
          </ac:spMkLst>
        </pc:spChg>
        <pc:spChg chg="mod">
          <ac:chgData name="COSMOSFREN" userId="S::cosmosfren_yahoo.com#ext#@risebcg.onmicrosoft.com::5462f5f4-f618-47aa-abd8-fd504e002570" providerId="AD" clId="Web-{3EB0FAEB-12AC-4A2E-B9FA-FADDBCDDECE3}" dt="2022-01-09T07:19:11.881" v="548" actId="1076"/>
          <ac:spMkLst>
            <pc:docMk/>
            <pc:sldMk cId="1894441827" sldId="358"/>
            <ac:spMk id="17" creationId="{815F3179-193A-4F5E-A1A9-12297C608458}"/>
          </ac:spMkLst>
        </pc:spChg>
        <pc:picChg chg="mod">
          <ac:chgData name="COSMOSFREN" userId="S::cosmosfren_yahoo.com#ext#@risebcg.onmicrosoft.com::5462f5f4-f618-47aa-abd8-fd504e002570" providerId="AD" clId="Web-{3EB0FAEB-12AC-4A2E-B9FA-FADDBCDDECE3}" dt="2022-01-09T07:18:53.599" v="543" actId="1076"/>
          <ac:picMkLst>
            <pc:docMk/>
            <pc:sldMk cId="1894441827" sldId="358"/>
            <ac:picMk id="4" creationId="{BA22EAA2-4B47-4688-9DD6-1B3E79191AAF}"/>
          </ac:picMkLst>
        </pc:picChg>
        <pc:picChg chg="mod">
          <ac:chgData name="COSMOSFREN" userId="S::cosmosfren_yahoo.com#ext#@risebcg.onmicrosoft.com::5462f5f4-f618-47aa-abd8-fd504e002570" providerId="AD" clId="Web-{3EB0FAEB-12AC-4A2E-B9FA-FADDBCDDECE3}" dt="2022-01-09T07:19:06.428" v="547" actId="1076"/>
          <ac:picMkLst>
            <pc:docMk/>
            <pc:sldMk cId="1894441827" sldId="358"/>
            <ac:picMk id="6" creationId="{5F5024CD-EB7B-49D0-9E4B-B6BFDC4F5683}"/>
          </ac:picMkLst>
        </pc:picChg>
        <pc:picChg chg="mod">
          <ac:chgData name="COSMOSFREN" userId="S::cosmosfren_yahoo.com#ext#@risebcg.onmicrosoft.com::5462f5f4-f618-47aa-abd8-fd504e002570" providerId="AD" clId="Web-{3EB0FAEB-12AC-4A2E-B9FA-FADDBCDDECE3}" dt="2022-01-09T07:19:04.303" v="546" actId="1076"/>
          <ac:picMkLst>
            <pc:docMk/>
            <pc:sldMk cId="1894441827" sldId="358"/>
            <ac:picMk id="8" creationId="{80090A9D-A882-4EB8-927C-696FEDD289AC}"/>
          </ac:picMkLst>
        </pc:picChg>
        <pc:picChg chg="mod">
          <ac:chgData name="COSMOSFREN" userId="S::cosmosfren_yahoo.com#ext#@risebcg.onmicrosoft.com::5462f5f4-f618-47aa-abd8-fd504e002570" providerId="AD" clId="Web-{3EB0FAEB-12AC-4A2E-B9FA-FADDBCDDECE3}" dt="2022-01-09T07:18:51.287" v="542" actId="1076"/>
          <ac:picMkLst>
            <pc:docMk/>
            <pc:sldMk cId="1894441827" sldId="358"/>
            <ac:picMk id="11" creationId="{BCAB455B-1F72-43F9-AE57-6EC5913938BF}"/>
          </ac:picMkLst>
        </pc:picChg>
        <pc:cxnChg chg="mod">
          <ac:chgData name="COSMOSFREN" userId="S::cosmosfren_yahoo.com#ext#@risebcg.onmicrosoft.com::5462f5f4-f618-47aa-abd8-fd504e002570" providerId="AD" clId="Web-{3EB0FAEB-12AC-4A2E-B9FA-FADDBCDDECE3}" dt="2022-01-09T07:19:59.101" v="550" actId="1076"/>
          <ac:cxnSpMkLst>
            <pc:docMk/>
            <pc:sldMk cId="1894441827" sldId="358"/>
            <ac:cxnSpMk id="5" creationId="{7650244C-E06B-41BA-A77C-2D20639EA927}"/>
          </ac:cxnSpMkLst>
        </pc:cxnChg>
      </pc:sldChg>
      <pc:sldChg chg="modSp">
        <pc:chgData name="COSMOSFREN" userId="S::cosmosfren_yahoo.com#ext#@risebcg.onmicrosoft.com::5462f5f4-f618-47aa-abd8-fd504e002570" providerId="AD" clId="Web-{3EB0FAEB-12AC-4A2E-B9FA-FADDBCDDECE3}" dt="2022-01-09T08:29:35.076" v="884" actId="20577"/>
        <pc:sldMkLst>
          <pc:docMk/>
          <pc:sldMk cId="3531645893" sldId="360"/>
        </pc:sldMkLst>
        <pc:spChg chg="mod">
          <ac:chgData name="COSMOSFREN" userId="S::cosmosfren_yahoo.com#ext#@risebcg.onmicrosoft.com::5462f5f4-f618-47aa-abd8-fd504e002570" providerId="AD" clId="Web-{3EB0FAEB-12AC-4A2E-B9FA-FADDBCDDECE3}" dt="2022-01-09T08:29:35.076" v="884" actId="20577"/>
          <ac:spMkLst>
            <pc:docMk/>
            <pc:sldMk cId="3531645893" sldId="360"/>
            <ac:spMk id="15" creationId="{EA512C5C-B61E-4EDE-A2CD-308BFA2920DA}"/>
          </ac:spMkLst>
        </pc:spChg>
      </pc:sldChg>
    </pc:docChg>
  </pc:docChgLst>
  <pc:docChgLst>
    <pc:chgData name="wei yuan" userId="S::pwy_92_hotmail.com#ext#@risebcg.onmicrosoft.com::ca38e7f8-9ace-4d94-b37a-86e65e91f2b0" providerId="AD" clId="Web-{DFDD5CEE-4220-4D97-8780-A131383F4A54}"/>
    <pc:docChg chg="modSld">
      <pc:chgData name="wei yuan" userId="S::pwy_92_hotmail.com#ext#@risebcg.onmicrosoft.com::ca38e7f8-9ace-4d94-b37a-86e65e91f2b0" providerId="AD" clId="Web-{DFDD5CEE-4220-4D97-8780-A131383F4A54}" dt="2022-01-08T11:59:46.481" v="703" actId="20577"/>
      <pc:docMkLst>
        <pc:docMk/>
      </pc:docMkLst>
      <pc:sldChg chg="addSp modSp">
        <pc:chgData name="wei yuan" userId="S::pwy_92_hotmail.com#ext#@risebcg.onmicrosoft.com::ca38e7f8-9ace-4d94-b37a-86e65e91f2b0" providerId="AD" clId="Web-{DFDD5CEE-4220-4D97-8780-A131383F4A54}" dt="2022-01-08T11:59:46.481" v="703" actId="20577"/>
        <pc:sldMkLst>
          <pc:docMk/>
          <pc:sldMk cId="2316358039" sldId="325"/>
        </pc:sldMkLst>
        <pc:spChg chg="mod">
          <ac:chgData name="wei yuan" userId="S::pwy_92_hotmail.com#ext#@risebcg.onmicrosoft.com::ca38e7f8-9ace-4d94-b37a-86e65e91f2b0" providerId="AD" clId="Web-{DFDD5CEE-4220-4D97-8780-A131383F4A54}" dt="2022-01-08T11:59:12.746" v="699" actId="1076"/>
          <ac:spMkLst>
            <pc:docMk/>
            <pc:sldMk cId="2316358039" sldId="325"/>
            <ac:spMk id="3" creationId="{424AF61A-30BE-4BE9-9F56-D2497C21C355}"/>
          </ac:spMkLst>
        </pc:spChg>
        <pc:spChg chg="add mod">
          <ac:chgData name="wei yuan" userId="S::pwy_92_hotmail.com#ext#@risebcg.onmicrosoft.com::ca38e7f8-9ace-4d94-b37a-86e65e91f2b0" providerId="AD" clId="Web-{DFDD5CEE-4220-4D97-8780-A131383F4A54}" dt="2022-01-08T11:59:46.481" v="703" actId="20577"/>
          <ac:spMkLst>
            <pc:docMk/>
            <pc:sldMk cId="2316358039" sldId="325"/>
            <ac:spMk id="9" creationId="{CE26EE87-2792-4EC3-8D5C-A7F50F434726}"/>
          </ac:spMkLst>
        </pc:spChg>
        <pc:spChg chg="mod">
          <ac:chgData name="wei yuan" userId="S::pwy_92_hotmail.com#ext#@risebcg.onmicrosoft.com::ca38e7f8-9ace-4d94-b37a-86e65e91f2b0" providerId="AD" clId="Web-{DFDD5CEE-4220-4D97-8780-A131383F4A54}" dt="2022-01-08T11:58:00.260" v="694" actId="1076"/>
          <ac:spMkLst>
            <pc:docMk/>
            <pc:sldMk cId="2316358039" sldId="325"/>
            <ac:spMk id="14" creationId="{3C1C8EDA-91F1-403C-A371-164289F5FB16}"/>
          </ac:spMkLst>
        </pc:spChg>
        <pc:picChg chg="mod">
          <ac:chgData name="wei yuan" userId="S::pwy_92_hotmail.com#ext#@risebcg.onmicrosoft.com::ca38e7f8-9ace-4d94-b37a-86e65e91f2b0" providerId="AD" clId="Web-{DFDD5CEE-4220-4D97-8780-A131383F4A54}" dt="2022-01-08T11:57:29.056" v="688" actId="1076"/>
          <ac:picMkLst>
            <pc:docMk/>
            <pc:sldMk cId="2316358039" sldId="325"/>
            <ac:picMk id="2" creationId="{69CF128B-0B09-4BF1-B2CA-1BA877B1F78B}"/>
          </ac:picMkLst>
        </pc:picChg>
      </pc:sldChg>
    </pc:docChg>
  </pc:docChgLst>
  <pc:docChgLst>
    <pc:chgData name="wei yuan" userId="S::pwy_92_hotmail.com#ext#@risebcg.onmicrosoft.com::ca38e7f8-9ace-4d94-b37a-86e65e91f2b0" providerId="AD" clId="Web-{0F3143D1-733D-4693-A1B4-4AC0E952203C}"/>
    <pc:docChg chg="modSld">
      <pc:chgData name="wei yuan" userId="S::pwy_92_hotmail.com#ext#@risebcg.onmicrosoft.com::ca38e7f8-9ace-4d94-b37a-86e65e91f2b0" providerId="AD" clId="Web-{0F3143D1-733D-4693-A1B4-4AC0E952203C}" dt="2022-01-07T13:10:42.577" v="1096" actId="20577"/>
      <pc:docMkLst>
        <pc:docMk/>
      </pc:docMkLst>
      <pc:sldChg chg="modSp">
        <pc:chgData name="wei yuan" userId="S::pwy_92_hotmail.com#ext#@risebcg.onmicrosoft.com::ca38e7f8-9ace-4d94-b37a-86e65e91f2b0" providerId="AD" clId="Web-{0F3143D1-733D-4693-A1B4-4AC0E952203C}" dt="2022-01-07T13:10:42.577" v="1096" actId="20577"/>
        <pc:sldMkLst>
          <pc:docMk/>
          <pc:sldMk cId="2316358039" sldId="325"/>
        </pc:sldMkLst>
        <pc:spChg chg="mod">
          <ac:chgData name="wei yuan" userId="S::pwy_92_hotmail.com#ext#@risebcg.onmicrosoft.com::ca38e7f8-9ace-4d94-b37a-86e65e91f2b0" providerId="AD" clId="Web-{0F3143D1-733D-4693-A1B4-4AC0E952203C}" dt="2022-01-07T13:10:42.577" v="1096" actId="20577"/>
          <ac:spMkLst>
            <pc:docMk/>
            <pc:sldMk cId="2316358039" sldId="325"/>
            <ac:spMk id="14" creationId="{3C1C8EDA-91F1-403C-A371-164289F5FB16}"/>
          </ac:spMkLst>
        </pc:spChg>
      </pc:sldChg>
    </pc:docChg>
  </pc:docChgLst>
  <pc:docChgLst>
    <pc:chgData name="COSMOSFREN" userId="S::cosmosfren_yahoo.com#ext#@risebcg.onmicrosoft.com::5462f5f4-f618-47aa-abd8-fd504e002570" providerId="AD" clId="Web-{FE7A7410-B3C7-4707-853A-BB53FCF4B11C}"/>
    <pc:docChg chg="modSld sldOrd">
      <pc:chgData name="COSMOSFREN" userId="S::cosmosfren_yahoo.com#ext#@risebcg.onmicrosoft.com::5462f5f4-f618-47aa-abd8-fd504e002570" providerId="AD" clId="Web-{FE7A7410-B3C7-4707-853A-BB53FCF4B11C}" dt="2022-01-09T06:53:57.815" v="2"/>
      <pc:docMkLst>
        <pc:docMk/>
      </pc:docMkLst>
      <pc:sldChg chg="ord">
        <pc:chgData name="COSMOSFREN" userId="S::cosmosfren_yahoo.com#ext#@risebcg.onmicrosoft.com::5462f5f4-f618-47aa-abd8-fd504e002570" providerId="AD" clId="Web-{FE7A7410-B3C7-4707-853A-BB53FCF4B11C}" dt="2022-01-09T06:53:57.815" v="2"/>
        <pc:sldMkLst>
          <pc:docMk/>
          <pc:sldMk cId="1791060006" sldId="319"/>
        </pc:sldMkLst>
      </pc:sldChg>
      <pc:sldChg chg="modSp">
        <pc:chgData name="COSMOSFREN" userId="S::cosmosfren_yahoo.com#ext#@risebcg.onmicrosoft.com::5462f5f4-f618-47aa-abd8-fd504e002570" providerId="AD" clId="Web-{FE7A7410-B3C7-4707-853A-BB53FCF4B11C}" dt="2022-01-09T06:53:47.347" v="1" actId="20577"/>
        <pc:sldMkLst>
          <pc:docMk/>
          <pc:sldMk cId="2652119032" sldId="335"/>
        </pc:sldMkLst>
        <pc:spChg chg="mod">
          <ac:chgData name="COSMOSFREN" userId="S::cosmosfren_yahoo.com#ext#@risebcg.onmicrosoft.com::5462f5f4-f618-47aa-abd8-fd504e002570" providerId="AD" clId="Web-{FE7A7410-B3C7-4707-853A-BB53FCF4B11C}" dt="2022-01-09T06:53:47.347" v="1" actId="20577"/>
          <ac:spMkLst>
            <pc:docMk/>
            <pc:sldMk cId="2652119032" sldId="335"/>
            <ac:spMk id="10" creationId="{5B136050-0C52-4973-B00A-9438EBC773F2}"/>
          </ac:spMkLst>
        </pc:spChg>
      </pc:sldChg>
    </pc:docChg>
  </pc:docChgLst>
  <pc:docChgLst>
    <pc:chgData name="EVELYNSM.YONG" userId="S::evelynsm.yong_gmail.com#ext#@risebcg.onmicrosoft.com::67a27a72-2420-4d38-b745-316a53f4b99a" providerId="AD" clId="Web-{11BCB7EC-2CD9-4DDE-8140-3BA1CF4EA7FC}"/>
    <pc:docChg chg="modSld">
      <pc:chgData name="EVELYNSM.YONG" userId="S::evelynsm.yong_gmail.com#ext#@risebcg.onmicrosoft.com::67a27a72-2420-4d38-b745-316a53f4b99a" providerId="AD" clId="Web-{11BCB7EC-2CD9-4DDE-8140-3BA1CF4EA7FC}" dt="2022-01-07T15:49:01.823" v="347" actId="1076"/>
      <pc:docMkLst>
        <pc:docMk/>
      </pc:docMkLst>
      <pc:sldChg chg="modSp">
        <pc:chgData name="EVELYNSM.YONG" userId="S::evelynsm.yong_gmail.com#ext#@risebcg.onmicrosoft.com::67a27a72-2420-4d38-b745-316a53f4b99a" providerId="AD" clId="Web-{11BCB7EC-2CD9-4DDE-8140-3BA1CF4EA7FC}" dt="2022-01-07T14:31:30.196" v="248" actId="14100"/>
        <pc:sldMkLst>
          <pc:docMk/>
          <pc:sldMk cId="2651815169" sldId="283"/>
        </pc:sldMkLst>
        <pc:spChg chg="mod">
          <ac:chgData name="EVELYNSM.YONG" userId="S::evelynsm.yong_gmail.com#ext#@risebcg.onmicrosoft.com::67a27a72-2420-4d38-b745-316a53f4b99a" providerId="AD" clId="Web-{11BCB7EC-2CD9-4DDE-8140-3BA1CF4EA7FC}" dt="2022-01-07T14:31:30.196" v="248" actId="14100"/>
          <ac:spMkLst>
            <pc:docMk/>
            <pc:sldMk cId="2651815169" sldId="283"/>
            <ac:spMk id="4" creationId="{C3F6C5B1-254F-4FE6-BDCC-5FB9103008E3}"/>
          </ac:spMkLst>
        </pc:spChg>
      </pc:sldChg>
      <pc:sldChg chg="modSp">
        <pc:chgData name="EVELYNSM.YONG" userId="S::evelynsm.yong_gmail.com#ext#@risebcg.onmicrosoft.com::67a27a72-2420-4d38-b745-316a53f4b99a" providerId="AD" clId="Web-{11BCB7EC-2CD9-4DDE-8140-3BA1CF4EA7FC}" dt="2022-01-07T15:46:59.492" v="307" actId="1076"/>
        <pc:sldMkLst>
          <pc:docMk/>
          <pc:sldMk cId="1791060006" sldId="319"/>
        </pc:sldMkLst>
        <pc:picChg chg="mod">
          <ac:chgData name="EVELYNSM.YONG" userId="S::evelynsm.yong_gmail.com#ext#@risebcg.onmicrosoft.com::67a27a72-2420-4d38-b745-316a53f4b99a" providerId="AD" clId="Web-{11BCB7EC-2CD9-4DDE-8140-3BA1CF4EA7FC}" dt="2022-01-07T15:46:59.492" v="307" actId="1076"/>
          <ac:picMkLst>
            <pc:docMk/>
            <pc:sldMk cId="1791060006" sldId="319"/>
            <ac:picMk id="3" creationId="{E1B7C9CC-CAC9-40CB-9FC8-D33951793167}"/>
          </ac:picMkLst>
        </pc:picChg>
      </pc:sldChg>
      <pc:sldChg chg="addSp delSp modSp">
        <pc:chgData name="EVELYNSM.YONG" userId="S::evelynsm.yong_gmail.com#ext#@risebcg.onmicrosoft.com::67a27a72-2420-4d38-b745-316a53f4b99a" providerId="AD" clId="Web-{11BCB7EC-2CD9-4DDE-8140-3BA1CF4EA7FC}" dt="2022-01-07T15:08:30.352" v="254" actId="1076"/>
        <pc:sldMkLst>
          <pc:docMk/>
          <pc:sldMk cId="3666302761" sldId="324"/>
        </pc:sldMkLst>
        <pc:spChg chg="mod">
          <ac:chgData name="EVELYNSM.YONG" userId="S::evelynsm.yong_gmail.com#ext#@risebcg.onmicrosoft.com::67a27a72-2420-4d38-b745-316a53f4b99a" providerId="AD" clId="Web-{11BCB7EC-2CD9-4DDE-8140-3BA1CF4EA7FC}" dt="2022-01-07T15:08:30.352" v="254" actId="1076"/>
          <ac:spMkLst>
            <pc:docMk/>
            <pc:sldMk cId="3666302761" sldId="324"/>
            <ac:spMk id="12" creationId="{844D08C5-3EE5-4BAC-9392-6CA8001CAD4E}"/>
          </ac:spMkLst>
        </pc:spChg>
        <pc:spChg chg="mod">
          <ac:chgData name="EVELYNSM.YONG" userId="S::evelynsm.yong_gmail.com#ext#@risebcg.onmicrosoft.com::67a27a72-2420-4d38-b745-316a53f4b99a" providerId="AD" clId="Web-{11BCB7EC-2CD9-4DDE-8140-3BA1CF4EA7FC}" dt="2022-01-07T14:26:53.440" v="165" actId="1076"/>
          <ac:spMkLst>
            <pc:docMk/>
            <pc:sldMk cId="3666302761" sldId="324"/>
            <ac:spMk id="13" creationId="{003E35E4-DB87-4D35-8663-60FF12DD7B69}"/>
          </ac:spMkLst>
        </pc:spChg>
        <pc:spChg chg="mod">
          <ac:chgData name="EVELYNSM.YONG" userId="S::evelynsm.yong_gmail.com#ext#@risebcg.onmicrosoft.com::67a27a72-2420-4d38-b745-316a53f4b99a" providerId="AD" clId="Web-{11BCB7EC-2CD9-4DDE-8140-3BA1CF4EA7FC}" dt="2022-01-07T14:27:04.097" v="168" actId="1076"/>
          <ac:spMkLst>
            <pc:docMk/>
            <pc:sldMk cId="3666302761" sldId="324"/>
            <ac:spMk id="14" creationId="{CD92118D-BCDA-4C90-B9D2-09972FA65EE3}"/>
          </ac:spMkLst>
        </pc:spChg>
        <pc:spChg chg="mod">
          <ac:chgData name="EVELYNSM.YONG" userId="S::evelynsm.yong_gmail.com#ext#@risebcg.onmicrosoft.com::67a27a72-2420-4d38-b745-316a53f4b99a" providerId="AD" clId="Web-{11BCB7EC-2CD9-4DDE-8140-3BA1CF4EA7FC}" dt="2022-01-07T14:27:07.659" v="169" actId="1076"/>
          <ac:spMkLst>
            <pc:docMk/>
            <pc:sldMk cId="3666302761" sldId="324"/>
            <ac:spMk id="21" creationId="{46156451-ECB4-4520-895C-009D1F9E8343}"/>
          </ac:spMkLst>
        </pc:spChg>
        <pc:spChg chg="mod">
          <ac:chgData name="EVELYNSM.YONG" userId="S::evelynsm.yong_gmail.com#ext#@risebcg.onmicrosoft.com::67a27a72-2420-4d38-b745-316a53f4b99a" providerId="AD" clId="Web-{11BCB7EC-2CD9-4DDE-8140-3BA1CF4EA7FC}" dt="2022-01-07T14:27:13.925" v="172" actId="1076"/>
          <ac:spMkLst>
            <pc:docMk/>
            <pc:sldMk cId="3666302761" sldId="324"/>
            <ac:spMk id="22" creationId="{C16AF6E1-B243-4B07-9F33-544B588862C6}"/>
          </ac:spMkLst>
        </pc:spChg>
        <pc:spChg chg="mod">
          <ac:chgData name="EVELYNSM.YONG" userId="S::evelynsm.yong_gmail.com#ext#@risebcg.onmicrosoft.com::67a27a72-2420-4d38-b745-316a53f4b99a" providerId="AD" clId="Web-{11BCB7EC-2CD9-4DDE-8140-3BA1CF4EA7FC}" dt="2022-01-07T14:27:20.456" v="174" actId="1076"/>
          <ac:spMkLst>
            <pc:docMk/>
            <pc:sldMk cId="3666302761" sldId="324"/>
            <ac:spMk id="23" creationId="{437837FB-28C6-4D49-A0CB-199C96E6B187}"/>
          </ac:spMkLst>
        </pc:spChg>
        <pc:spChg chg="mod">
          <ac:chgData name="EVELYNSM.YONG" userId="S::evelynsm.yong_gmail.com#ext#@risebcg.onmicrosoft.com::67a27a72-2420-4d38-b745-316a53f4b99a" providerId="AD" clId="Web-{11BCB7EC-2CD9-4DDE-8140-3BA1CF4EA7FC}" dt="2022-01-07T14:27:22.206" v="175" actId="1076"/>
          <ac:spMkLst>
            <pc:docMk/>
            <pc:sldMk cId="3666302761" sldId="324"/>
            <ac:spMk id="24" creationId="{3A5B42D3-2732-4D38-8D3A-233FB4F41BD0}"/>
          </ac:spMkLst>
        </pc:spChg>
        <pc:spChg chg="mod">
          <ac:chgData name="EVELYNSM.YONG" userId="S::evelynsm.yong_gmail.com#ext#@risebcg.onmicrosoft.com::67a27a72-2420-4d38-b745-316a53f4b99a" providerId="AD" clId="Web-{11BCB7EC-2CD9-4DDE-8140-3BA1CF4EA7FC}" dt="2022-01-07T14:27:58.848" v="179" actId="14100"/>
          <ac:spMkLst>
            <pc:docMk/>
            <pc:sldMk cId="3666302761" sldId="324"/>
            <ac:spMk id="25" creationId="{A72C66DB-3DFA-4DD0-BB16-94A4A31F5E94}"/>
          </ac:spMkLst>
        </pc:spChg>
        <pc:spChg chg="mod">
          <ac:chgData name="EVELYNSM.YONG" userId="S::evelynsm.yong_gmail.com#ext#@risebcg.onmicrosoft.com::67a27a72-2420-4d38-b745-316a53f4b99a" providerId="AD" clId="Web-{11BCB7EC-2CD9-4DDE-8140-3BA1CF4EA7FC}" dt="2022-01-07T14:26:56.003" v="166" actId="1076"/>
          <ac:spMkLst>
            <pc:docMk/>
            <pc:sldMk cId="3666302761" sldId="324"/>
            <ac:spMk id="26" creationId="{22DD1760-D9EC-405F-9AAD-63EC690DC033}"/>
          </ac:spMkLst>
        </pc:spChg>
        <pc:spChg chg="mod">
          <ac:chgData name="EVELYNSM.YONG" userId="S::evelynsm.yong_gmail.com#ext#@risebcg.onmicrosoft.com::67a27a72-2420-4d38-b745-316a53f4b99a" providerId="AD" clId="Web-{11BCB7EC-2CD9-4DDE-8140-3BA1CF4EA7FC}" dt="2022-01-07T14:26:59.378" v="167" actId="14100"/>
          <ac:spMkLst>
            <pc:docMk/>
            <pc:sldMk cId="3666302761" sldId="324"/>
            <ac:spMk id="27" creationId="{B2BF4484-08EE-483A-BA89-BC8EDC410538}"/>
          </ac:spMkLst>
        </pc:spChg>
        <pc:picChg chg="add del mod">
          <ac:chgData name="EVELYNSM.YONG" userId="S::evelynsm.yong_gmail.com#ext#@risebcg.onmicrosoft.com::67a27a72-2420-4d38-b745-316a53f4b99a" providerId="AD" clId="Web-{11BCB7EC-2CD9-4DDE-8140-3BA1CF4EA7FC}" dt="2022-01-07T14:11:57.734" v="65"/>
          <ac:picMkLst>
            <pc:docMk/>
            <pc:sldMk cId="3666302761" sldId="324"/>
            <ac:picMk id="2" creationId="{07083257-A2A9-4D1B-ABE4-5EA65B8A4D32}"/>
          </ac:picMkLst>
        </pc:picChg>
        <pc:picChg chg="del">
          <ac:chgData name="EVELYNSM.YONG" userId="S::evelynsm.yong_gmail.com#ext#@risebcg.onmicrosoft.com::67a27a72-2420-4d38-b745-316a53f4b99a" providerId="AD" clId="Web-{11BCB7EC-2CD9-4DDE-8140-3BA1CF4EA7FC}" dt="2022-01-07T14:15:48.473" v="87"/>
          <ac:picMkLst>
            <pc:docMk/>
            <pc:sldMk cId="3666302761" sldId="324"/>
            <ac:picMk id="3" creationId="{1E3FFB43-7F0A-45FE-BF03-B63BEC254DF1}"/>
          </ac:picMkLst>
        </pc:picChg>
        <pc:picChg chg="add del mod modCrop">
          <ac:chgData name="EVELYNSM.YONG" userId="S::evelynsm.yong_gmail.com#ext#@risebcg.onmicrosoft.com::67a27a72-2420-4d38-b745-316a53f4b99a" providerId="AD" clId="Web-{11BCB7EC-2CD9-4DDE-8140-3BA1CF4EA7FC}" dt="2022-01-07T14:19:21.212" v="120"/>
          <ac:picMkLst>
            <pc:docMk/>
            <pc:sldMk cId="3666302761" sldId="324"/>
            <ac:picMk id="5" creationId="{B816886F-D407-4652-B01A-40BCD59F2EC2}"/>
          </ac:picMkLst>
        </pc:picChg>
        <pc:picChg chg="add del mod">
          <ac:chgData name="EVELYNSM.YONG" userId="S::evelynsm.yong_gmail.com#ext#@risebcg.onmicrosoft.com::67a27a72-2420-4d38-b745-316a53f4b99a" providerId="AD" clId="Web-{11BCB7EC-2CD9-4DDE-8140-3BA1CF4EA7FC}" dt="2022-01-07T14:19:04.962" v="119"/>
          <ac:picMkLst>
            <pc:docMk/>
            <pc:sldMk cId="3666302761" sldId="324"/>
            <ac:picMk id="6" creationId="{89722958-31DF-4319-9CD2-E27447F9B68E}"/>
          </ac:picMkLst>
        </pc:picChg>
        <pc:picChg chg="add del mod modCrop">
          <ac:chgData name="EVELYNSM.YONG" userId="S::evelynsm.yong_gmail.com#ext#@risebcg.onmicrosoft.com::67a27a72-2420-4d38-b745-316a53f4b99a" providerId="AD" clId="Web-{11BCB7EC-2CD9-4DDE-8140-3BA1CF4EA7FC}" dt="2022-01-07T14:23:59.687" v="134"/>
          <ac:picMkLst>
            <pc:docMk/>
            <pc:sldMk cId="3666302761" sldId="324"/>
            <ac:picMk id="8" creationId="{BF1E0173-F402-4BB7-84EB-B7B1EA72E13B}"/>
          </ac:picMkLst>
        </pc:picChg>
        <pc:picChg chg="add del mod">
          <ac:chgData name="EVELYNSM.YONG" userId="S::evelynsm.yong_gmail.com#ext#@risebcg.onmicrosoft.com::67a27a72-2420-4d38-b745-316a53f4b99a" providerId="AD" clId="Web-{11BCB7EC-2CD9-4DDE-8140-3BA1CF4EA7FC}" dt="2022-01-07T14:24:05.030" v="137"/>
          <ac:picMkLst>
            <pc:docMk/>
            <pc:sldMk cId="3666302761" sldId="324"/>
            <ac:picMk id="9" creationId="{DD124C38-7B13-4276-8CDE-C3E9F8FC1B36}"/>
          </ac:picMkLst>
        </pc:picChg>
        <pc:picChg chg="add del mod">
          <ac:chgData name="EVELYNSM.YONG" userId="S::evelynsm.yong_gmail.com#ext#@risebcg.onmicrosoft.com::67a27a72-2420-4d38-b745-316a53f4b99a" providerId="AD" clId="Web-{11BCB7EC-2CD9-4DDE-8140-3BA1CF4EA7FC}" dt="2022-01-07T14:24:29.125" v="144"/>
          <ac:picMkLst>
            <pc:docMk/>
            <pc:sldMk cId="3666302761" sldId="324"/>
            <ac:picMk id="10" creationId="{B8F47726-A30A-4691-BD13-A70A3E844138}"/>
          </ac:picMkLst>
        </pc:picChg>
        <pc:picChg chg="mod">
          <ac:chgData name="EVELYNSM.YONG" userId="S::evelynsm.yong_gmail.com#ext#@risebcg.onmicrosoft.com::67a27a72-2420-4d38-b745-316a53f4b99a" providerId="AD" clId="Web-{11BCB7EC-2CD9-4DDE-8140-3BA1CF4EA7FC}" dt="2022-01-07T14:27:10.034" v="171" actId="1076"/>
          <ac:picMkLst>
            <pc:docMk/>
            <pc:sldMk cId="3666302761" sldId="324"/>
            <ac:picMk id="11" creationId="{CD86A313-65D2-4D12-B76F-922156737525}"/>
          </ac:picMkLst>
        </pc:picChg>
        <pc:picChg chg="add mod">
          <ac:chgData name="EVELYNSM.YONG" userId="S::evelynsm.yong_gmail.com#ext#@risebcg.onmicrosoft.com::67a27a72-2420-4d38-b745-316a53f4b99a" providerId="AD" clId="Web-{11BCB7EC-2CD9-4DDE-8140-3BA1CF4EA7FC}" dt="2022-01-07T14:26:37.237" v="155" actId="1076"/>
          <ac:picMkLst>
            <pc:docMk/>
            <pc:sldMk cId="3666302761" sldId="324"/>
            <ac:picMk id="15" creationId="{5D59DB1C-172C-47ED-95FD-1E3F001466CE}"/>
          </ac:picMkLst>
        </pc:picChg>
      </pc:sldChg>
      <pc:sldChg chg="modSp">
        <pc:chgData name="EVELYNSM.YONG" userId="S::evelynsm.yong_gmail.com#ext#@risebcg.onmicrosoft.com::67a27a72-2420-4d38-b745-316a53f4b99a" providerId="AD" clId="Web-{11BCB7EC-2CD9-4DDE-8140-3BA1CF4EA7FC}" dt="2022-01-07T14:15:10.535" v="84" actId="14100"/>
        <pc:sldMkLst>
          <pc:docMk/>
          <pc:sldMk cId="2316358039" sldId="325"/>
        </pc:sldMkLst>
        <pc:spChg chg="mod">
          <ac:chgData name="EVELYNSM.YONG" userId="S::evelynsm.yong_gmail.com#ext#@risebcg.onmicrosoft.com::67a27a72-2420-4d38-b745-316a53f4b99a" providerId="AD" clId="Web-{11BCB7EC-2CD9-4DDE-8140-3BA1CF4EA7FC}" dt="2022-01-07T14:15:10.535" v="84" actId="14100"/>
          <ac:spMkLst>
            <pc:docMk/>
            <pc:sldMk cId="2316358039" sldId="325"/>
            <ac:spMk id="3" creationId="{424AF61A-30BE-4BE9-9F56-D2497C21C355}"/>
          </ac:spMkLst>
        </pc:spChg>
        <pc:picChg chg="mod">
          <ac:chgData name="EVELYNSM.YONG" userId="S::evelynsm.yong_gmail.com#ext#@risebcg.onmicrosoft.com::67a27a72-2420-4d38-b745-316a53f4b99a" providerId="AD" clId="Web-{11BCB7EC-2CD9-4DDE-8140-3BA1CF4EA7FC}" dt="2022-01-07T14:15:08.082" v="83" actId="14100"/>
          <ac:picMkLst>
            <pc:docMk/>
            <pc:sldMk cId="2316358039" sldId="325"/>
            <ac:picMk id="2" creationId="{69CF128B-0B09-4BF1-B2CA-1BA877B1F78B}"/>
          </ac:picMkLst>
        </pc:picChg>
      </pc:sldChg>
      <pc:sldChg chg="addSp modSp">
        <pc:chgData name="EVELYNSM.YONG" userId="S::evelynsm.yong_gmail.com#ext#@risebcg.onmicrosoft.com::67a27a72-2420-4d38-b745-316a53f4b99a" providerId="AD" clId="Web-{11BCB7EC-2CD9-4DDE-8140-3BA1CF4EA7FC}" dt="2022-01-07T15:49:01.823" v="347" actId="1076"/>
        <pc:sldMkLst>
          <pc:docMk/>
          <pc:sldMk cId="2652119032" sldId="335"/>
        </pc:sldMkLst>
        <pc:spChg chg="mod">
          <ac:chgData name="EVELYNSM.YONG" userId="S::evelynsm.yong_gmail.com#ext#@risebcg.onmicrosoft.com::67a27a72-2420-4d38-b745-316a53f4b99a" providerId="AD" clId="Web-{11BCB7EC-2CD9-4DDE-8140-3BA1CF4EA7FC}" dt="2022-01-07T14:40:12.193" v="251" actId="20577"/>
          <ac:spMkLst>
            <pc:docMk/>
            <pc:sldMk cId="2652119032" sldId="335"/>
            <ac:spMk id="3" creationId="{CB7BAFB0-445F-4F96-BCE3-50C0E2AB21AD}"/>
          </ac:spMkLst>
        </pc:spChg>
        <pc:spChg chg="mod">
          <ac:chgData name="EVELYNSM.YONG" userId="S::evelynsm.yong_gmail.com#ext#@risebcg.onmicrosoft.com::67a27a72-2420-4d38-b745-316a53f4b99a" providerId="AD" clId="Web-{11BCB7EC-2CD9-4DDE-8140-3BA1CF4EA7FC}" dt="2022-01-07T14:09:02.997" v="53" actId="14100"/>
          <ac:spMkLst>
            <pc:docMk/>
            <pc:sldMk cId="2652119032" sldId="335"/>
            <ac:spMk id="4" creationId="{7BCAFA08-4D06-4459-BDE0-CAB790C8CB40}"/>
          </ac:spMkLst>
        </pc:spChg>
        <pc:spChg chg="add mod">
          <ac:chgData name="EVELYNSM.YONG" userId="S::evelynsm.yong_gmail.com#ext#@risebcg.onmicrosoft.com::67a27a72-2420-4d38-b745-316a53f4b99a" providerId="AD" clId="Web-{11BCB7EC-2CD9-4DDE-8140-3BA1CF4EA7FC}" dt="2022-01-07T15:49:01.823" v="347" actId="1076"/>
          <ac:spMkLst>
            <pc:docMk/>
            <pc:sldMk cId="2652119032" sldId="335"/>
            <ac:spMk id="9" creationId="{7E2F8E19-F56B-4CB8-9CA2-A1277727EBFD}"/>
          </ac:spMkLst>
        </pc:spChg>
      </pc:sldChg>
      <pc:sldChg chg="modSp">
        <pc:chgData name="EVELYNSM.YONG" userId="S::evelynsm.yong_gmail.com#ext#@risebcg.onmicrosoft.com::67a27a72-2420-4d38-b745-316a53f4b99a" providerId="AD" clId="Web-{11BCB7EC-2CD9-4DDE-8140-3BA1CF4EA7FC}" dt="2022-01-07T14:05:05.158" v="50" actId="20577"/>
        <pc:sldMkLst>
          <pc:docMk/>
          <pc:sldMk cId="3391215681" sldId="339"/>
        </pc:sldMkLst>
        <pc:spChg chg="mod">
          <ac:chgData name="EVELYNSM.YONG" userId="S::evelynsm.yong_gmail.com#ext#@risebcg.onmicrosoft.com::67a27a72-2420-4d38-b745-316a53f4b99a" providerId="AD" clId="Web-{11BCB7EC-2CD9-4DDE-8140-3BA1CF4EA7FC}" dt="2022-01-07T14:04:36.548" v="47" actId="14100"/>
          <ac:spMkLst>
            <pc:docMk/>
            <pc:sldMk cId="3391215681" sldId="339"/>
            <ac:spMk id="47" creationId="{B72F6C48-B470-4163-9AC9-2982A10656DA}"/>
          </ac:spMkLst>
        </pc:spChg>
        <pc:graphicFrameChg chg="modGraphic">
          <ac:chgData name="EVELYNSM.YONG" userId="S::evelynsm.yong_gmail.com#ext#@risebcg.onmicrosoft.com::67a27a72-2420-4d38-b745-316a53f4b99a" providerId="AD" clId="Web-{11BCB7EC-2CD9-4DDE-8140-3BA1CF4EA7FC}" dt="2022-01-07T14:05:05.158" v="50" actId="20577"/>
          <ac:graphicFrameMkLst>
            <pc:docMk/>
            <pc:sldMk cId="3391215681" sldId="339"/>
            <ac:graphicFrameMk id="28" creationId="{9D58B7B4-DE29-4DDF-BB8A-729D2B705659}"/>
          </ac:graphicFrameMkLst>
        </pc:graphicFrameChg>
      </pc:sldChg>
      <pc:sldChg chg="modSp">
        <pc:chgData name="EVELYNSM.YONG" userId="S::evelynsm.yong_gmail.com#ext#@risebcg.onmicrosoft.com::67a27a72-2420-4d38-b745-316a53f4b99a" providerId="AD" clId="Web-{11BCB7EC-2CD9-4DDE-8140-3BA1CF4EA7FC}" dt="2022-01-07T15:42:19.002" v="286" actId="20577"/>
        <pc:sldMkLst>
          <pc:docMk/>
          <pc:sldMk cId="4159389698" sldId="342"/>
        </pc:sldMkLst>
        <pc:spChg chg="mod">
          <ac:chgData name="EVELYNSM.YONG" userId="S::evelynsm.yong_gmail.com#ext#@risebcg.onmicrosoft.com::67a27a72-2420-4d38-b745-316a53f4b99a" providerId="AD" clId="Web-{11BCB7EC-2CD9-4DDE-8140-3BA1CF4EA7FC}" dt="2022-01-07T15:42:19.002" v="286" actId="20577"/>
          <ac:spMkLst>
            <pc:docMk/>
            <pc:sldMk cId="4159389698" sldId="342"/>
            <ac:spMk id="3" creationId="{1EADC3E2-9A88-4CFF-8CDC-C7B034C116B1}"/>
          </ac:spMkLst>
        </pc:spChg>
      </pc:sldChg>
    </pc:docChg>
  </pc:docChgLst>
  <pc:docChgLst>
    <pc:chgData name="wei yuan" userId="S::pwy_92_hotmail.com#ext#@risebcg.onmicrosoft.com::ca38e7f8-9ace-4d94-b37a-86e65e91f2b0" providerId="AD" clId="Web-{29E29440-0DE4-4097-B1BF-169145A03F4F}"/>
    <pc:docChg chg="addSld delSld modSld">
      <pc:chgData name="wei yuan" userId="S::pwy_92_hotmail.com#ext#@risebcg.onmicrosoft.com::ca38e7f8-9ace-4d94-b37a-86e65e91f2b0" providerId="AD" clId="Web-{29E29440-0DE4-4097-B1BF-169145A03F4F}" dt="2022-01-09T08:56:03.225" v="356" actId="20577"/>
      <pc:docMkLst>
        <pc:docMk/>
      </pc:docMkLst>
      <pc:sldChg chg="modNotes">
        <pc:chgData name="wei yuan" userId="S::pwy_92_hotmail.com#ext#@risebcg.onmicrosoft.com::ca38e7f8-9ace-4d94-b37a-86e65e91f2b0" providerId="AD" clId="Web-{29E29440-0DE4-4097-B1BF-169145A03F4F}" dt="2022-01-09T08:50:25.609" v="346"/>
        <pc:sldMkLst>
          <pc:docMk/>
          <pc:sldMk cId="2316358039" sldId="325"/>
        </pc:sldMkLst>
      </pc:sldChg>
      <pc:sldChg chg="modNotes">
        <pc:chgData name="wei yuan" userId="S::pwy_92_hotmail.com#ext#@risebcg.onmicrosoft.com::ca38e7f8-9ace-4d94-b37a-86e65e91f2b0" providerId="AD" clId="Web-{29E29440-0DE4-4097-B1BF-169145A03F4F}" dt="2022-01-09T08:52:35.111" v="348"/>
        <pc:sldMkLst>
          <pc:docMk/>
          <pc:sldMk cId="2160415509" sldId="326"/>
        </pc:sldMkLst>
      </pc:sldChg>
      <pc:sldChg chg="addSp delSp modSp add del modNotes">
        <pc:chgData name="wei yuan" userId="S::pwy_92_hotmail.com#ext#@risebcg.onmicrosoft.com::ca38e7f8-9ace-4d94-b37a-86e65e91f2b0" providerId="AD" clId="Web-{29E29440-0DE4-4097-B1BF-169145A03F4F}" dt="2022-01-09T08:56:03.225" v="356" actId="20577"/>
        <pc:sldMkLst>
          <pc:docMk/>
          <pc:sldMk cId="1894441827" sldId="358"/>
        </pc:sldMkLst>
        <pc:spChg chg="add del mod">
          <ac:chgData name="wei yuan" userId="S::pwy_92_hotmail.com#ext#@risebcg.onmicrosoft.com::ca38e7f8-9ace-4d94-b37a-86e65e91f2b0" providerId="AD" clId="Web-{29E29440-0DE4-4097-B1BF-169145A03F4F}" dt="2022-01-09T08:17:59.860" v="250"/>
          <ac:spMkLst>
            <pc:docMk/>
            <pc:sldMk cId="1894441827" sldId="358"/>
            <ac:spMk id="7" creationId="{C875E6A0-EABB-449F-9ECB-6A3C65E04861}"/>
          </ac:spMkLst>
        </pc:spChg>
        <pc:spChg chg="add del mod">
          <ac:chgData name="wei yuan" userId="S::pwy_92_hotmail.com#ext#@risebcg.onmicrosoft.com::ca38e7f8-9ace-4d94-b37a-86e65e91f2b0" providerId="AD" clId="Web-{29E29440-0DE4-4097-B1BF-169145A03F4F}" dt="2022-01-09T08:45:44.853" v="273"/>
          <ac:spMkLst>
            <pc:docMk/>
            <pc:sldMk cId="1894441827" sldId="358"/>
            <ac:spMk id="9" creationId="{92EEB0AA-64C3-4E13-8BEA-F77E623D694C}"/>
          </ac:spMkLst>
        </pc:spChg>
        <pc:spChg chg="add mod">
          <ac:chgData name="wei yuan" userId="S::pwy_92_hotmail.com#ext#@risebcg.onmicrosoft.com::ca38e7f8-9ace-4d94-b37a-86e65e91f2b0" providerId="AD" clId="Web-{29E29440-0DE4-4097-B1BF-169145A03F4F}" dt="2022-01-09T08:56:03.225" v="356" actId="20577"/>
          <ac:spMkLst>
            <pc:docMk/>
            <pc:sldMk cId="1894441827" sldId="358"/>
            <ac:spMk id="13" creationId="{E2455A5F-294A-4EA7-8956-A3DA20378328}"/>
          </ac:spMkLst>
        </pc:spChg>
        <pc:spChg chg="add del mod">
          <ac:chgData name="wei yuan" userId="S::pwy_92_hotmail.com#ext#@risebcg.onmicrosoft.com::ca38e7f8-9ace-4d94-b37a-86e65e91f2b0" providerId="AD" clId="Web-{29E29440-0DE4-4097-B1BF-169145A03F4F}" dt="2022-01-09T08:45:06.290" v="262"/>
          <ac:spMkLst>
            <pc:docMk/>
            <pc:sldMk cId="1894441827" sldId="358"/>
            <ac:spMk id="15" creationId="{63ED1F91-0863-42D5-A8F2-EA890B5F54CF}"/>
          </ac:spMkLst>
        </pc:spChg>
      </pc:sldChg>
    </pc:docChg>
  </pc:docChgLst>
  <pc:docChgLst>
    <pc:chgData name="WONGYONGLIN91" userId="S::wongyonglin91_gmail.com#ext#@risebcg.onmicrosoft.com::b2d94f93-e580-4f0d-9dda-2138509d25ae" providerId="AD" clId="Web-{AA8F84BC-5D19-4691-B461-BEF25C6106FD}"/>
    <pc:docChg chg="modSld">
      <pc:chgData name="WONGYONGLIN91" userId="S::wongyonglin91_gmail.com#ext#@risebcg.onmicrosoft.com::b2d94f93-e580-4f0d-9dda-2138509d25ae" providerId="AD" clId="Web-{AA8F84BC-5D19-4691-B461-BEF25C6106FD}" dt="2022-01-07T15:00:23.632" v="81" actId="20577"/>
      <pc:docMkLst>
        <pc:docMk/>
      </pc:docMkLst>
      <pc:sldChg chg="addSp modSp">
        <pc:chgData name="WONGYONGLIN91" userId="S::wongyonglin91_gmail.com#ext#@risebcg.onmicrosoft.com::b2d94f93-e580-4f0d-9dda-2138509d25ae" providerId="AD" clId="Web-{AA8F84BC-5D19-4691-B461-BEF25C6106FD}" dt="2022-01-07T14:13:33.466" v="5" actId="1076"/>
        <pc:sldMkLst>
          <pc:docMk/>
          <pc:sldMk cId="3666302761" sldId="324"/>
        </pc:sldMkLst>
        <pc:picChg chg="add mod">
          <ac:chgData name="WONGYONGLIN91" userId="S::wongyonglin91_gmail.com#ext#@risebcg.onmicrosoft.com::b2d94f93-e580-4f0d-9dda-2138509d25ae" providerId="AD" clId="Web-{AA8F84BC-5D19-4691-B461-BEF25C6106FD}" dt="2022-01-07T14:13:33.466" v="5" actId="1076"/>
          <ac:picMkLst>
            <pc:docMk/>
            <pc:sldMk cId="3666302761" sldId="324"/>
            <ac:picMk id="3" creationId="{1E3FFB43-7F0A-45FE-BF03-B63BEC254DF1}"/>
          </ac:picMkLst>
        </pc:picChg>
      </pc:sldChg>
      <pc:sldChg chg="addSp delSp modSp">
        <pc:chgData name="WONGYONGLIN91" userId="S::wongyonglin91_gmail.com#ext#@risebcg.onmicrosoft.com::b2d94f93-e580-4f0d-9dda-2138509d25ae" providerId="AD" clId="Web-{AA8F84BC-5D19-4691-B461-BEF25C6106FD}" dt="2022-01-07T15:00:23.632" v="81" actId="20577"/>
        <pc:sldMkLst>
          <pc:docMk/>
          <pc:sldMk cId="2728944561" sldId="333"/>
        </pc:sldMkLst>
        <pc:spChg chg="mod">
          <ac:chgData name="WONGYONGLIN91" userId="S::wongyonglin91_gmail.com#ext#@risebcg.onmicrosoft.com::b2d94f93-e580-4f0d-9dda-2138509d25ae" providerId="AD" clId="Web-{AA8F84BC-5D19-4691-B461-BEF25C6106FD}" dt="2022-01-07T15:00:23.632" v="81" actId="20577"/>
          <ac:spMkLst>
            <pc:docMk/>
            <pc:sldMk cId="2728944561" sldId="333"/>
            <ac:spMk id="3" creationId="{9C545F2D-9E52-4C81-8BAE-363F523739FD}"/>
          </ac:spMkLst>
        </pc:spChg>
        <pc:spChg chg="del">
          <ac:chgData name="WONGYONGLIN91" userId="S::wongyonglin91_gmail.com#ext#@risebcg.onmicrosoft.com::b2d94f93-e580-4f0d-9dda-2138509d25ae" providerId="AD" clId="Web-{AA8F84BC-5D19-4691-B461-BEF25C6106FD}" dt="2022-01-07T14:50:59.305" v="30"/>
          <ac:spMkLst>
            <pc:docMk/>
            <pc:sldMk cId="2728944561" sldId="333"/>
            <ac:spMk id="15" creationId="{AAF3EE67-387A-430E-A8DA-4FF50FD506BC}"/>
          </ac:spMkLst>
        </pc:spChg>
        <pc:picChg chg="add del mod">
          <ac:chgData name="WONGYONGLIN91" userId="S::wongyonglin91_gmail.com#ext#@risebcg.onmicrosoft.com::b2d94f93-e580-4f0d-9dda-2138509d25ae" providerId="AD" clId="Web-{AA8F84BC-5D19-4691-B461-BEF25C6106FD}" dt="2022-01-07T14:42:47.654" v="9"/>
          <ac:picMkLst>
            <pc:docMk/>
            <pc:sldMk cId="2728944561" sldId="333"/>
            <ac:picMk id="4" creationId="{DEC86D4E-94C5-4CF4-B77C-49D72B4611AF}"/>
          </ac:picMkLst>
        </pc:picChg>
        <pc:picChg chg="add del mod">
          <ac:chgData name="WONGYONGLIN91" userId="S::wongyonglin91_gmail.com#ext#@risebcg.onmicrosoft.com::b2d94f93-e580-4f0d-9dda-2138509d25ae" providerId="AD" clId="Web-{AA8F84BC-5D19-4691-B461-BEF25C6106FD}" dt="2022-01-07T14:46:12.180" v="15"/>
          <ac:picMkLst>
            <pc:docMk/>
            <pc:sldMk cId="2728944561" sldId="333"/>
            <ac:picMk id="5" creationId="{9EDF73D7-6001-4A08-8EE8-495C9F93D383}"/>
          </ac:picMkLst>
        </pc:picChg>
        <pc:picChg chg="add mod">
          <ac:chgData name="WONGYONGLIN91" userId="S::wongyonglin91_gmail.com#ext#@risebcg.onmicrosoft.com::b2d94f93-e580-4f0d-9dda-2138509d25ae" providerId="AD" clId="Web-{AA8F84BC-5D19-4691-B461-BEF25C6106FD}" dt="2022-01-07T14:55:35.945" v="56" actId="14100"/>
          <ac:picMkLst>
            <pc:docMk/>
            <pc:sldMk cId="2728944561" sldId="333"/>
            <ac:picMk id="6" creationId="{5C7BC333-AC07-4C92-9439-0C248DD469B7}"/>
          </ac:picMkLst>
        </pc:picChg>
        <pc:picChg chg="add mod">
          <ac:chgData name="WONGYONGLIN91" userId="S::wongyonglin91_gmail.com#ext#@risebcg.onmicrosoft.com::b2d94f93-e580-4f0d-9dda-2138509d25ae" providerId="AD" clId="Web-{AA8F84BC-5D19-4691-B461-BEF25C6106FD}" dt="2022-01-07T14:55:07.631" v="50" actId="14100"/>
          <ac:picMkLst>
            <pc:docMk/>
            <pc:sldMk cId="2728944561" sldId="333"/>
            <ac:picMk id="7" creationId="{5DBECBC5-E506-4844-9DFC-8CEEA581E35F}"/>
          </ac:picMkLst>
        </pc:picChg>
      </pc:sldChg>
    </pc:docChg>
  </pc:docChgLst>
  <pc:docChgLst>
    <pc:chgData name="EVELYNSM.YONG" userId="S::evelynsm.yong_gmail.com#ext#@risebcg.onmicrosoft.com::67a27a72-2420-4d38-b745-316a53f4b99a" providerId="AD" clId="Web-{42D81030-C5C2-460C-A637-800465825350}"/>
    <pc:docChg chg="modSld">
      <pc:chgData name="EVELYNSM.YONG" userId="S::evelynsm.yong_gmail.com#ext#@risebcg.onmicrosoft.com::67a27a72-2420-4d38-b745-316a53f4b99a" providerId="AD" clId="Web-{42D81030-C5C2-460C-A637-800465825350}" dt="2022-01-07T16:02:55.108" v="305" actId="1076"/>
      <pc:docMkLst>
        <pc:docMk/>
      </pc:docMkLst>
      <pc:sldChg chg="addSp modSp">
        <pc:chgData name="EVELYNSM.YONG" userId="S::evelynsm.yong_gmail.com#ext#@risebcg.onmicrosoft.com::67a27a72-2420-4d38-b745-316a53f4b99a" providerId="AD" clId="Web-{42D81030-C5C2-460C-A637-800465825350}" dt="2022-01-07T16:02:55.108" v="305" actId="1076"/>
        <pc:sldMkLst>
          <pc:docMk/>
          <pc:sldMk cId="2651815169" sldId="283"/>
        </pc:sldMkLst>
        <pc:spChg chg="mod">
          <ac:chgData name="EVELYNSM.YONG" userId="S::evelynsm.yong_gmail.com#ext#@risebcg.onmicrosoft.com::67a27a72-2420-4d38-b745-316a53f4b99a" providerId="AD" clId="Web-{42D81030-C5C2-460C-A637-800465825350}" dt="2022-01-07T16:02:45.499" v="302" actId="20577"/>
          <ac:spMkLst>
            <pc:docMk/>
            <pc:sldMk cId="2651815169" sldId="283"/>
            <ac:spMk id="4" creationId="{C3F6C5B1-254F-4FE6-BDCC-5FB9103008E3}"/>
          </ac:spMkLst>
        </pc:spChg>
        <pc:spChg chg="mod">
          <ac:chgData name="EVELYNSM.YONG" userId="S::evelynsm.yong_gmail.com#ext#@risebcg.onmicrosoft.com::67a27a72-2420-4d38-b745-316a53f4b99a" providerId="AD" clId="Web-{42D81030-C5C2-460C-A637-800465825350}" dt="2022-01-07T15:59:54.073" v="149" actId="20577"/>
          <ac:spMkLst>
            <pc:docMk/>
            <pc:sldMk cId="2651815169" sldId="283"/>
            <ac:spMk id="7" creationId="{E61FCFC1-D89A-45B3-AC51-C90F2B6D8A09}"/>
          </ac:spMkLst>
        </pc:spChg>
        <pc:picChg chg="add mod">
          <ac:chgData name="EVELYNSM.YONG" userId="S::evelynsm.yong_gmail.com#ext#@risebcg.onmicrosoft.com::67a27a72-2420-4d38-b745-316a53f4b99a" providerId="AD" clId="Web-{42D81030-C5C2-460C-A637-800465825350}" dt="2022-01-07T16:02:55.108" v="305" actId="1076"/>
          <ac:picMkLst>
            <pc:docMk/>
            <pc:sldMk cId="2651815169" sldId="283"/>
            <ac:picMk id="3" creationId="{08FA628E-AD39-4DCF-A5CF-78CFA592FB2B}"/>
          </ac:picMkLst>
        </pc:picChg>
      </pc:sldChg>
      <pc:sldChg chg="addSp delSp modSp">
        <pc:chgData name="EVELYNSM.YONG" userId="S::evelynsm.yong_gmail.com#ext#@risebcg.onmicrosoft.com::67a27a72-2420-4d38-b745-316a53f4b99a" providerId="AD" clId="Web-{42D81030-C5C2-460C-A637-800465825350}" dt="2022-01-07T15:59:44.745" v="147"/>
        <pc:sldMkLst>
          <pc:docMk/>
          <pc:sldMk cId="2652119032" sldId="335"/>
        </pc:sldMkLst>
        <pc:spChg chg="mod">
          <ac:chgData name="EVELYNSM.YONG" userId="S::evelynsm.yong_gmail.com#ext#@risebcg.onmicrosoft.com::67a27a72-2420-4d38-b745-316a53f4b99a" providerId="AD" clId="Web-{42D81030-C5C2-460C-A637-800465825350}" dt="2022-01-07T15:59:25.885" v="142" actId="20577"/>
          <ac:spMkLst>
            <pc:docMk/>
            <pc:sldMk cId="2652119032" sldId="335"/>
            <ac:spMk id="9" creationId="{7E2F8E19-F56B-4CB8-9CA2-A1277727EBFD}"/>
          </ac:spMkLst>
        </pc:spChg>
        <pc:picChg chg="add del mod">
          <ac:chgData name="EVELYNSM.YONG" userId="S::evelynsm.yong_gmail.com#ext#@risebcg.onmicrosoft.com::67a27a72-2420-4d38-b745-316a53f4b99a" providerId="AD" clId="Web-{42D81030-C5C2-460C-A637-800465825350}" dt="2022-01-07T15:59:44.745" v="147"/>
          <ac:picMkLst>
            <pc:docMk/>
            <pc:sldMk cId="2652119032" sldId="335"/>
            <ac:picMk id="11" creationId="{21FEB314-45CB-4638-830C-4B44E32C1484}"/>
          </ac:picMkLst>
        </pc:picChg>
      </pc:sldChg>
    </pc:docChg>
  </pc:docChgLst>
  <pc:docChgLst>
    <pc:chgData name="EVELYNSM.YONG" userId="S::evelynsm.yong_gmail.com#ext#@risebcg.onmicrosoft.com::67a27a72-2420-4d38-b745-316a53f4b99a" providerId="AD" clId="Web-{EBBE918A-CD43-47AE-9637-5ACE8C97E877}"/>
    <pc:docChg chg="addSld delSld modSld sldOrd">
      <pc:chgData name="EVELYNSM.YONG" userId="S::evelynsm.yong_gmail.com#ext#@risebcg.onmicrosoft.com::67a27a72-2420-4d38-b745-316a53f4b99a" providerId="AD" clId="Web-{EBBE918A-CD43-47AE-9637-5ACE8C97E877}" dt="2022-01-07T12:56:47.011" v="368" actId="14100"/>
      <pc:docMkLst>
        <pc:docMk/>
      </pc:docMkLst>
      <pc:sldChg chg="addSp modSp">
        <pc:chgData name="EVELYNSM.YONG" userId="S::evelynsm.yong_gmail.com#ext#@risebcg.onmicrosoft.com::67a27a72-2420-4d38-b745-316a53f4b99a" providerId="AD" clId="Web-{EBBE918A-CD43-47AE-9637-5ACE8C97E877}" dt="2022-01-07T12:29:39.295" v="82" actId="1076"/>
        <pc:sldMkLst>
          <pc:docMk/>
          <pc:sldMk cId="873372039" sldId="275"/>
        </pc:sldMkLst>
        <pc:picChg chg="add mod">
          <ac:chgData name="EVELYNSM.YONG" userId="S::evelynsm.yong_gmail.com#ext#@risebcg.onmicrosoft.com::67a27a72-2420-4d38-b745-316a53f4b99a" providerId="AD" clId="Web-{EBBE918A-CD43-47AE-9637-5ACE8C97E877}" dt="2022-01-07T12:29:39.295" v="82" actId="1076"/>
          <ac:picMkLst>
            <pc:docMk/>
            <pc:sldMk cId="873372039" sldId="275"/>
            <ac:picMk id="6" creationId="{10A24290-E732-4617-AA59-875D328AC0B4}"/>
          </ac:picMkLst>
        </pc:picChg>
      </pc:sldChg>
      <pc:sldChg chg="addSp delSp modSp">
        <pc:chgData name="EVELYNSM.YONG" userId="S::evelynsm.yong_gmail.com#ext#@risebcg.onmicrosoft.com::67a27a72-2420-4d38-b745-316a53f4b99a" providerId="AD" clId="Web-{EBBE918A-CD43-47AE-9637-5ACE8C97E877}" dt="2022-01-07T12:41:12.682" v="236" actId="1076"/>
        <pc:sldMkLst>
          <pc:docMk/>
          <pc:sldMk cId="2256265757" sldId="315"/>
        </pc:sldMkLst>
        <pc:spChg chg="del mod">
          <ac:chgData name="EVELYNSM.YONG" userId="S::evelynsm.yong_gmail.com#ext#@risebcg.onmicrosoft.com::67a27a72-2420-4d38-b745-316a53f4b99a" providerId="AD" clId="Web-{EBBE918A-CD43-47AE-9637-5ACE8C97E877}" dt="2022-01-07T12:33:58.971" v="136"/>
          <ac:spMkLst>
            <pc:docMk/>
            <pc:sldMk cId="2256265757" sldId="315"/>
            <ac:spMk id="2" creationId="{1CAEE4F4-60D4-46CA-A79F-1CD22235EEA0}"/>
          </ac:spMkLst>
        </pc:spChg>
        <pc:spChg chg="mod">
          <ac:chgData name="EVELYNSM.YONG" userId="S::evelynsm.yong_gmail.com#ext#@risebcg.onmicrosoft.com::67a27a72-2420-4d38-b745-316a53f4b99a" providerId="AD" clId="Web-{EBBE918A-CD43-47AE-9637-5ACE8C97E877}" dt="2022-01-07T12:36:10.130" v="184" actId="14100"/>
          <ac:spMkLst>
            <pc:docMk/>
            <pc:sldMk cId="2256265757" sldId="315"/>
            <ac:spMk id="3" creationId="{3AAD55FA-63B7-4DBA-8DC0-293DEF7C309C}"/>
          </ac:spMkLst>
        </pc:spChg>
        <pc:spChg chg="add del">
          <ac:chgData name="EVELYNSM.YONG" userId="S::evelynsm.yong_gmail.com#ext#@risebcg.onmicrosoft.com::67a27a72-2420-4d38-b745-316a53f4b99a" providerId="AD" clId="Web-{EBBE918A-CD43-47AE-9637-5ACE8C97E877}" dt="2022-01-07T12:33:50.987" v="133"/>
          <ac:spMkLst>
            <pc:docMk/>
            <pc:sldMk cId="2256265757" sldId="315"/>
            <ac:spMk id="5" creationId="{BC548F5D-22A4-4AE1-AAE3-81EFDF7C85DD}"/>
          </ac:spMkLst>
        </pc:spChg>
        <pc:spChg chg="add del mod">
          <ac:chgData name="EVELYNSM.YONG" userId="S::evelynsm.yong_gmail.com#ext#@risebcg.onmicrosoft.com::67a27a72-2420-4d38-b745-316a53f4b99a" providerId="AD" clId="Web-{EBBE918A-CD43-47AE-9637-5ACE8C97E877}" dt="2022-01-07T12:34:04.393" v="140"/>
          <ac:spMkLst>
            <pc:docMk/>
            <pc:sldMk cId="2256265757" sldId="315"/>
            <ac:spMk id="7" creationId="{69F09AC7-6E7E-4BD5-98BE-95F8A10BB903}"/>
          </ac:spMkLst>
        </pc:spChg>
        <pc:spChg chg="add del mod">
          <ac:chgData name="EVELYNSM.YONG" userId="S::evelynsm.yong_gmail.com#ext#@risebcg.onmicrosoft.com::67a27a72-2420-4d38-b745-316a53f4b99a" providerId="AD" clId="Web-{EBBE918A-CD43-47AE-9637-5ACE8C97E877}" dt="2022-01-07T12:35:47.442" v="165"/>
          <ac:spMkLst>
            <pc:docMk/>
            <pc:sldMk cId="2256265757" sldId="315"/>
            <ac:spMk id="9" creationId="{AEF3B6E3-8290-43AD-A524-6723818C18A3}"/>
          </ac:spMkLst>
        </pc:spChg>
        <pc:spChg chg="add del">
          <ac:chgData name="EVELYNSM.YONG" userId="S::evelynsm.yong_gmail.com#ext#@risebcg.onmicrosoft.com::67a27a72-2420-4d38-b745-316a53f4b99a" providerId="AD" clId="Web-{EBBE918A-CD43-47AE-9637-5ACE8C97E877}" dt="2022-01-07T12:35:35.489" v="162"/>
          <ac:spMkLst>
            <pc:docMk/>
            <pc:sldMk cId="2256265757" sldId="315"/>
            <ac:spMk id="11" creationId="{30DA594D-7EAE-4555-8BD9-7C9A9AFC72A5}"/>
          </ac:spMkLst>
        </pc:spChg>
        <pc:spChg chg="add del">
          <ac:chgData name="EVELYNSM.YONG" userId="S::evelynsm.yong_gmail.com#ext#@risebcg.onmicrosoft.com::67a27a72-2420-4d38-b745-316a53f4b99a" providerId="AD" clId="Web-{EBBE918A-CD43-47AE-9637-5ACE8C97E877}" dt="2022-01-07T12:35:45.505" v="164"/>
          <ac:spMkLst>
            <pc:docMk/>
            <pc:sldMk cId="2256265757" sldId="315"/>
            <ac:spMk id="13" creationId="{34F96AA4-2FEE-46C5-A239-C854225AE188}"/>
          </ac:spMkLst>
        </pc:spChg>
        <pc:spChg chg="add mod">
          <ac:chgData name="EVELYNSM.YONG" userId="S::evelynsm.yong_gmail.com#ext#@risebcg.onmicrosoft.com::67a27a72-2420-4d38-b745-316a53f4b99a" providerId="AD" clId="Web-{EBBE918A-CD43-47AE-9637-5ACE8C97E877}" dt="2022-01-07T12:40:25.260" v="227" actId="20577"/>
          <ac:spMkLst>
            <pc:docMk/>
            <pc:sldMk cId="2256265757" sldId="315"/>
            <ac:spMk id="15" creationId="{16793C5A-1FE2-4545-A578-A16C2B6C45C4}"/>
          </ac:spMkLst>
        </pc:spChg>
        <pc:spChg chg="add mod">
          <ac:chgData name="EVELYNSM.YONG" userId="S::evelynsm.yong_gmail.com#ext#@risebcg.onmicrosoft.com::67a27a72-2420-4d38-b745-316a53f4b99a" providerId="AD" clId="Web-{EBBE918A-CD43-47AE-9637-5ACE8C97E877}" dt="2022-01-07T12:40:02.275" v="218" actId="20577"/>
          <ac:spMkLst>
            <pc:docMk/>
            <pc:sldMk cId="2256265757" sldId="315"/>
            <ac:spMk id="17" creationId="{BADD6901-4349-466A-837B-49CC2A6BB764}"/>
          </ac:spMkLst>
        </pc:spChg>
        <pc:graphicFrameChg chg="add mod modGraphic">
          <ac:chgData name="EVELYNSM.YONG" userId="S::evelynsm.yong_gmail.com#ext#@risebcg.onmicrosoft.com::67a27a72-2420-4d38-b745-316a53f4b99a" providerId="AD" clId="Web-{EBBE918A-CD43-47AE-9637-5ACE8C97E877}" dt="2022-01-07T12:40:30.447" v="228" actId="14100"/>
          <ac:graphicFrameMkLst>
            <pc:docMk/>
            <pc:sldMk cId="2256265757" sldId="315"/>
            <ac:graphicFrameMk id="18" creationId="{2289CFB1-4EE4-43EC-A8B5-4E5FC402B3C5}"/>
          </ac:graphicFrameMkLst>
        </pc:graphicFrameChg>
        <pc:picChg chg="add mod">
          <ac:chgData name="EVELYNSM.YONG" userId="S::evelynsm.yong_gmail.com#ext#@risebcg.onmicrosoft.com::67a27a72-2420-4d38-b745-316a53f4b99a" providerId="AD" clId="Web-{EBBE918A-CD43-47AE-9637-5ACE8C97E877}" dt="2022-01-07T12:41:12.682" v="236" actId="1076"/>
          <ac:picMkLst>
            <pc:docMk/>
            <pc:sldMk cId="2256265757" sldId="315"/>
            <ac:picMk id="60" creationId="{30AA7644-B695-49AF-A4E1-C86E1691F805}"/>
          </ac:picMkLst>
        </pc:picChg>
      </pc:sldChg>
      <pc:sldChg chg="modSp">
        <pc:chgData name="EVELYNSM.YONG" userId="S::evelynsm.yong_gmail.com#ext#@risebcg.onmicrosoft.com::67a27a72-2420-4d38-b745-316a53f4b99a" providerId="AD" clId="Web-{EBBE918A-CD43-47AE-9637-5ACE8C97E877}" dt="2022-01-07T12:37:55.429" v="202" actId="20577"/>
        <pc:sldMkLst>
          <pc:docMk/>
          <pc:sldMk cId="2761597836" sldId="317"/>
        </pc:sldMkLst>
        <pc:spChg chg="mod">
          <ac:chgData name="EVELYNSM.YONG" userId="S::evelynsm.yong_gmail.com#ext#@risebcg.onmicrosoft.com::67a27a72-2420-4d38-b745-316a53f4b99a" providerId="AD" clId="Web-{EBBE918A-CD43-47AE-9637-5ACE8C97E877}" dt="2022-01-07T12:37:55.429" v="202" actId="20577"/>
          <ac:spMkLst>
            <pc:docMk/>
            <pc:sldMk cId="2761597836" sldId="317"/>
            <ac:spMk id="3" creationId="{3AAD55FA-63B7-4DBA-8DC0-293DEF7C309C}"/>
          </ac:spMkLst>
        </pc:spChg>
      </pc:sldChg>
      <pc:sldChg chg="addSp delSp modSp">
        <pc:chgData name="EVELYNSM.YONG" userId="S::evelynsm.yong_gmail.com#ext#@risebcg.onmicrosoft.com::67a27a72-2420-4d38-b745-316a53f4b99a" providerId="AD" clId="Web-{EBBE918A-CD43-47AE-9637-5ACE8C97E877}" dt="2022-01-07T12:45:35.640" v="263"/>
        <pc:sldMkLst>
          <pc:docMk/>
          <pc:sldMk cId="4084366951" sldId="318"/>
        </pc:sldMkLst>
        <pc:spChg chg="add mod">
          <ac:chgData name="EVELYNSM.YONG" userId="S::evelynsm.yong_gmail.com#ext#@risebcg.onmicrosoft.com::67a27a72-2420-4d38-b745-316a53f4b99a" providerId="AD" clId="Web-{EBBE918A-CD43-47AE-9637-5ACE8C97E877}" dt="2022-01-07T12:41:54.542" v="251" actId="20577"/>
          <ac:spMkLst>
            <pc:docMk/>
            <pc:sldMk cId="4084366951" sldId="318"/>
            <ac:spMk id="6" creationId="{CF9E7E23-E6AE-4EAD-BC81-7763A524FABE}"/>
          </ac:spMkLst>
        </pc:spChg>
        <pc:grpChg chg="add">
          <ac:chgData name="EVELYNSM.YONG" userId="S::evelynsm.yong_gmail.com#ext#@risebcg.onmicrosoft.com::67a27a72-2420-4d38-b745-316a53f4b99a" providerId="AD" clId="Web-{EBBE918A-CD43-47AE-9637-5ACE8C97E877}" dt="2022-01-07T12:45:35.640" v="263"/>
          <ac:grpSpMkLst>
            <pc:docMk/>
            <pc:sldMk cId="4084366951" sldId="318"/>
            <ac:grpSpMk id="15" creationId="{55FFC18C-8093-41B4-9A1B-E8868316B7F3}"/>
          </ac:grpSpMkLst>
        </pc:grpChg>
        <pc:picChg chg="add del mod">
          <ac:chgData name="EVELYNSM.YONG" userId="S::evelynsm.yong_gmail.com#ext#@risebcg.onmicrosoft.com::67a27a72-2420-4d38-b745-316a53f4b99a" providerId="AD" clId="Web-{EBBE918A-CD43-47AE-9637-5ACE8C97E877}" dt="2022-01-07T12:41:00.135" v="232"/>
          <ac:picMkLst>
            <pc:docMk/>
            <pc:sldMk cId="4084366951" sldId="318"/>
            <ac:picMk id="8" creationId="{4679ED56-C946-4E6E-92C5-302D59B78B49}"/>
          </ac:picMkLst>
        </pc:picChg>
        <pc:picChg chg="add del">
          <ac:chgData name="EVELYNSM.YONG" userId="S::evelynsm.yong_gmail.com#ext#@risebcg.onmicrosoft.com::67a27a72-2420-4d38-b745-316a53f4b99a" providerId="AD" clId="Web-{EBBE918A-CD43-47AE-9637-5ACE8C97E877}" dt="2022-01-07T12:41:58.511" v="255"/>
          <ac:picMkLst>
            <pc:docMk/>
            <pc:sldMk cId="4084366951" sldId="318"/>
            <ac:picMk id="10" creationId="{8E3248CC-8B17-4C3E-AD2C-A36B9B332856}"/>
          </ac:picMkLst>
        </pc:picChg>
        <pc:picChg chg="add mod">
          <ac:chgData name="EVELYNSM.YONG" userId="S::evelynsm.yong_gmail.com#ext#@risebcg.onmicrosoft.com::67a27a72-2420-4d38-b745-316a53f4b99a" providerId="AD" clId="Web-{EBBE918A-CD43-47AE-9637-5ACE8C97E877}" dt="2022-01-07T12:42:05.355" v="258" actId="14100"/>
          <ac:picMkLst>
            <pc:docMk/>
            <pc:sldMk cId="4084366951" sldId="318"/>
            <ac:picMk id="12" creationId="{DFD7E0DD-9A8A-4E18-BA95-743EB51DCCD2}"/>
          </ac:picMkLst>
        </pc:picChg>
        <pc:picChg chg="add mod">
          <ac:chgData name="EVELYNSM.YONG" userId="S::evelynsm.yong_gmail.com#ext#@risebcg.onmicrosoft.com::67a27a72-2420-4d38-b745-316a53f4b99a" providerId="AD" clId="Web-{EBBE918A-CD43-47AE-9637-5ACE8C97E877}" dt="2022-01-07T12:44:45.639" v="262" actId="1076"/>
          <ac:picMkLst>
            <pc:docMk/>
            <pc:sldMk cId="4084366951" sldId="318"/>
            <ac:picMk id="14" creationId="{9E82A69E-4635-4809-8566-FFBDBAB122DE}"/>
          </ac:picMkLst>
        </pc:picChg>
      </pc:sldChg>
      <pc:sldChg chg="ord">
        <pc:chgData name="EVELYNSM.YONG" userId="S::evelynsm.yong_gmail.com#ext#@risebcg.onmicrosoft.com::67a27a72-2420-4d38-b745-316a53f4b99a" providerId="AD" clId="Web-{EBBE918A-CD43-47AE-9637-5ACE8C97E877}" dt="2022-01-07T12:29:31.232" v="81"/>
        <pc:sldMkLst>
          <pc:docMk/>
          <pc:sldMk cId="1791060006" sldId="319"/>
        </pc:sldMkLst>
      </pc:sldChg>
      <pc:sldChg chg="addSp delSp modSp">
        <pc:chgData name="EVELYNSM.YONG" userId="S::evelynsm.yong_gmail.com#ext#@risebcg.onmicrosoft.com::67a27a72-2420-4d38-b745-316a53f4b99a" providerId="AD" clId="Web-{EBBE918A-CD43-47AE-9637-5ACE8C97E877}" dt="2022-01-07T12:56:28.245" v="362" actId="14100"/>
        <pc:sldMkLst>
          <pc:docMk/>
          <pc:sldMk cId="3666302761" sldId="324"/>
        </pc:sldMkLst>
        <pc:spChg chg="add del mod">
          <ac:chgData name="EVELYNSM.YONG" userId="S::evelynsm.yong_gmail.com#ext#@risebcg.onmicrosoft.com::67a27a72-2420-4d38-b745-316a53f4b99a" providerId="AD" clId="Web-{EBBE918A-CD43-47AE-9637-5ACE8C97E877}" dt="2022-01-07T12:56:21.011" v="359"/>
          <ac:spMkLst>
            <pc:docMk/>
            <pc:sldMk cId="3666302761" sldId="324"/>
            <ac:spMk id="2" creationId="{98B2AA84-8D26-48D4-ACF1-F588A4D90ECE}"/>
          </ac:spMkLst>
        </pc:spChg>
        <pc:spChg chg="del mod">
          <ac:chgData name="EVELYNSM.YONG" userId="S::evelynsm.yong_gmail.com#ext#@risebcg.onmicrosoft.com::67a27a72-2420-4d38-b745-316a53f4b99a" providerId="AD" clId="Web-{EBBE918A-CD43-47AE-9637-5ACE8C97E877}" dt="2022-01-07T12:34:22.878" v="143"/>
          <ac:spMkLst>
            <pc:docMk/>
            <pc:sldMk cId="3666302761" sldId="324"/>
            <ac:spMk id="2" creationId="{ED14AA63-35D8-4136-8B2F-DE1837A583A2}"/>
          </ac:spMkLst>
        </pc:spChg>
        <pc:spChg chg="del mod">
          <ac:chgData name="EVELYNSM.YONG" userId="S::evelynsm.yong_gmail.com#ext#@risebcg.onmicrosoft.com::67a27a72-2420-4d38-b745-316a53f4b99a" providerId="AD" clId="Web-{EBBE918A-CD43-47AE-9637-5ACE8C97E877}" dt="2022-01-07T12:56:24.277" v="361"/>
          <ac:spMkLst>
            <pc:docMk/>
            <pc:sldMk cId="3666302761" sldId="324"/>
            <ac:spMk id="3" creationId="{586DE4D9-4048-428A-A0B8-BE3F71D34991}"/>
          </ac:spMkLst>
        </pc:spChg>
        <pc:spChg chg="mod">
          <ac:chgData name="EVELYNSM.YONG" userId="S::evelynsm.yong_gmail.com#ext#@risebcg.onmicrosoft.com::67a27a72-2420-4d38-b745-316a53f4b99a" providerId="AD" clId="Web-{EBBE918A-CD43-47AE-9637-5ACE8C97E877}" dt="2022-01-07T12:20:12.926" v="38" actId="1076"/>
          <ac:spMkLst>
            <pc:docMk/>
            <pc:sldMk cId="3666302761" sldId="324"/>
            <ac:spMk id="4" creationId="{19708EDC-3A90-4EC0-A789-51301070BDC6}"/>
          </ac:spMkLst>
        </pc:spChg>
        <pc:spChg chg="add mod">
          <ac:chgData name="EVELYNSM.YONG" userId="S::evelynsm.yong_gmail.com#ext#@risebcg.onmicrosoft.com::67a27a72-2420-4d38-b745-316a53f4b99a" providerId="AD" clId="Web-{EBBE918A-CD43-47AE-9637-5ACE8C97E877}" dt="2022-01-07T12:35:25.270" v="160" actId="20577"/>
          <ac:spMkLst>
            <pc:docMk/>
            <pc:sldMk cId="3666302761" sldId="324"/>
            <ac:spMk id="7" creationId="{5040411B-0A54-429E-94AB-0F4DA7C1917E}"/>
          </ac:spMkLst>
        </pc:spChg>
        <pc:spChg chg="add del mod">
          <ac:chgData name="EVELYNSM.YONG" userId="S::evelynsm.yong_gmail.com#ext#@risebcg.onmicrosoft.com::67a27a72-2420-4d38-b745-316a53f4b99a" providerId="AD" clId="Web-{EBBE918A-CD43-47AE-9637-5ACE8C97E877}" dt="2022-01-07T12:34:32.316" v="149"/>
          <ac:spMkLst>
            <pc:docMk/>
            <pc:sldMk cId="3666302761" sldId="324"/>
            <ac:spMk id="8" creationId="{436E6BAC-2B07-462C-8383-6D40DE037140}"/>
          </ac:spMkLst>
        </pc:spChg>
        <pc:spChg chg="mod">
          <ac:chgData name="EVELYNSM.YONG" userId="S::evelynsm.yong_gmail.com#ext#@risebcg.onmicrosoft.com::67a27a72-2420-4d38-b745-316a53f4b99a" providerId="AD" clId="Web-{EBBE918A-CD43-47AE-9637-5ACE8C97E877}" dt="2022-01-07T12:36:59.584" v="194" actId="20577"/>
          <ac:spMkLst>
            <pc:docMk/>
            <pc:sldMk cId="3666302761" sldId="324"/>
            <ac:spMk id="18" creationId="{4C8E7E93-D719-4D68-AF75-84A3D92DD60C}"/>
          </ac:spMkLst>
        </pc:spChg>
        <pc:spChg chg="mod">
          <ac:chgData name="EVELYNSM.YONG" userId="S::evelynsm.yong_gmail.com#ext#@risebcg.onmicrosoft.com::67a27a72-2420-4d38-b745-316a53f4b99a" providerId="AD" clId="Web-{EBBE918A-CD43-47AE-9637-5ACE8C97E877}" dt="2022-01-07T12:56:28.245" v="362" actId="14100"/>
          <ac:spMkLst>
            <pc:docMk/>
            <pc:sldMk cId="3666302761" sldId="324"/>
            <ac:spMk id="25" creationId="{A72C66DB-3DFA-4DD0-BB16-94A4A31F5E94}"/>
          </ac:spMkLst>
        </pc:spChg>
        <pc:spChg chg="mod">
          <ac:chgData name="EVELYNSM.YONG" userId="S::evelynsm.yong_gmail.com#ext#@risebcg.onmicrosoft.com::67a27a72-2420-4d38-b745-316a53f4b99a" providerId="AD" clId="Web-{EBBE918A-CD43-47AE-9637-5ACE8C97E877}" dt="2022-01-07T12:30:12.842" v="85" actId="1076"/>
          <ac:spMkLst>
            <pc:docMk/>
            <pc:sldMk cId="3666302761" sldId="324"/>
            <ac:spMk id="27" creationId="{B2BF4484-08EE-483A-BA89-BC8EDC410538}"/>
          </ac:spMkLst>
        </pc:spChg>
        <pc:picChg chg="del mod">
          <ac:chgData name="EVELYNSM.YONG" userId="S::evelynsm.yong_gmail.com#ext#@risebcg.onmicrosoft.com::67a27a72-2420-4d38-b745-316a53f4b99a" providerId="AD" clId="Web-{EBBE918A-CD43-47AE-9637-5ACE8C97E877}" dt="2022-01-07T12:50:28.130" v="308"/>
          <ac:picMkLst>
            <pc:docMk/>
            <pc:sldMk cId="3666302761" sldId="324"/>
            <ac:picMk id="5" creationId="{0DC6DA42-FA9C-46DF-89EE-4B312877E1A7}"/>
          </ac:picMkLst>
        </pc:picChg>
        <pc:picChg chg="mod">
          <ac:chgData name="EVELYNSM.YONG" userId="S::evelynsm.yong_gmail.com#ext#@risebcg.onmicrosoft.com::67a27a72-2420-4d38-b745-316a53f4b99a" providerId="AD" clId="Web-{EBBE918A-CD43-47AE-9637-5ACE8C97E877}" dt="2022-01-07T12:36:52.740" v="192" actId="1076"/>
          <ac:picMkLst>
            <pc:docMk/>
            <pc:sldMk cId="3666302761" sldId="324"/>
            <ac:picMk id="19" creationId="{34C08A26-CA1B-4581-85D4-0D95F9633BCA}"/>
          </ac:picMkLst>
        </pc:picChg>
      </pc:sldChg>
      <pc:sldChg chg="addSp delSp modSp">
        <pc:chgData name="EVELYNSM.YONG" userId="S::evelynsm.yong_gmail.com#ext#@risebcg.onmicrosoft.com::67a27a72-2420-4d38-b745-316a53f4b99a" providerId="AD" clId="Web-{EBBE918A-CD43-47AE-9637-5ACE8C97E877}" dt="2022-01-07T12:55:44.776" v="356" actId="14100"/>
        <pc:sldMkLst>
          <pc:docMk/>
          <pc:sldMk cId="2316358039" sldId="325"/>
        </pc:sldMkLst>
        <pc:spChg chg="del mod">
          <ac:chgData name="EVELYNSM.YONG" userId="S::evelynsm.yong_gmail.com#ext#@risebcg.onmicrosoft.com::67a27a72-2420-4d38-b745-316a53f4b99a" providerId="AD" clId="Web-{EBBE918A-CD43-47AE-9637-5ACE8C97E877}" dt="2022-01-07T12:32:58.049" v="123"/>
          <ac:spMkLst>
            <pc:docMk/>
            <pc:sldMk cId="2316358039" sldId="325"/>
            <ac:spMk id="2" creationId="{ED14AA63-35D8-4136-8B2F-DE1837A583A2}"/>
          </ac:spMkLst>
        </pc:spChg>
        <pc:spChg chg="del mod">
          <ac:chgData name="EVELYNSM.YONG" userId="S::evelynsm.yong_gmail.com#ext#@risebcg.onmicrosoft.com::67a27a72-2420-4d38-b745-316a53f4b99a" providerId="AD" clId="Web-{EBBE918A-CD43-47AE-9637-5ACE8C97E877}" dt="2022-01-07T12:54:34.603" v="342"/>
          <ac:spMkLst>
            <pc:docMk/>
            <pc:sldMk cId="2316358039" sldId="325"/>
            <ac:spMk id="3" creationId="{3EAAE696-94B0-42DC-B0E6-3874740CC294}"/>
          </ac:spMkLst>
        </pc:spChg>
        <pc:spChg chg="add mod">
          <ac:chgData name="EVELYNSM.YONG" userId="S::evelynsm.yong_gmail.com#ext#@risebcg.onmicrosoft.com::67a27a72-2420-4d38-b745-316a53f4b99a" providerId="AD" clId="Web-{EBBE918A-CD43-47AE-9637-5ACE8C97E877}" dt="2022-01-07T12:55:16.697" v="353" actId="14100"/>
          <ac:spMkLst>
            <pc:docMk/>
            <pc:sldMk cId="2316358039" sldId="325"/>
            <ac:spMk id="3" creationId="{424AF61A-30BE-4BE9-9F56-D2497C21C355}"/>
          </ac:spMkLst>
        </pc:spChg>
        <pc:spChg chg="add del">
          <ac:chgData name="EVELYNSM.YONG" userId="S::evelynsm.yong_gmail.com#ext#@risebcg.onmicrosoft.com::67a27a72-2420-4d38-b745-316a53f4b99a" providerId="AD" clId="Web-{EBBE918A-CD43-47AE-9637-5ACE8C97E877}" dt="2022-01-07T12:31:19.141" v="101"/>
          <ac:spMkLst>
            <pc:docMk/>
            <pc:sldMk cId="2316358039" sldId="325"/>
            <ac:spMk id="4" creationId="{A3E40BA0-991B-4576-B7A4-C0DA5FC2579C}"/>
          </ac:spMkLst>
        </pc:spChg>
        <pc:spChg chg="add mod">
          <ac:chgData name="EVELYNSM.YONG" userId="S::evelynsm.yong_gmail.com#ext#@risebcg.onmicrosoft.com::67a27a72-2420-4d38-b745-316a53f4b99a" providerId="AD" clId="Web-{EBBE918A-CD43-47AE-9637-5ACE8C97E877}" dt="2022-01-07T12:32:54.048" v="122" actId="14100"/>
          <ac:spMkLst>
            <pc:docMk/>
            <pc:sldMk cId="2316358039" sldId="325"/>
            <ac:spMk id="5" creationId="{66362E8C-07A8-4B97-87C8-091A9FDB599A}"/>
          </ac:spMkLst>
        </pc:spChg>
        <pc:spChg chg="del">
          <ac:chgData name="EVELYNSM.YONG" userId="S::evelynsm.yong_gmail.com#ext#@risebcg.onmicrosoft.com::67a27a72-2420-4d38-b745-316a53f4b99a" providerId="AD" clId="Web-{EBBE918A-CD43-47AE-9637-5ACE8C97E877}" dt="2022-01-07T12:13:42.856" v="10"/>
          <ac:spMkLst>
            <pc:docMk/>
            <pc:sldMk cId="2316358039" sldId="325"/>
            <ac:spMk id="7" creationId="{F3057648-3AD9-401B-8B8E-890A4F0B8BB8}"/>
          </ac:spMkLst>
        </pc:spChg>
        <pc:spChg chg="add del mod">
          <ac:chgData name="EVELYNSM.YONG" userId="S::evelynsm.yong_gmail.com#ext#@risebcg.onmicrosoft.com::67a27a72-2420-4d38-b745-316a53f4b99a" providerId="AD" clId="Web-{EBBE918A-CD43-47AE-9637-5ACE8C97E877}" dt="2022-01-07T12:33:40.393" v="130"/>
          <ac:spMkLst>
            <pc:docMk/>
            <pc:sldMk cId="2316358039" sldId="325"/>
            <ac:spMk id="10" creationId="{5ADDBDDC-0792-47A7-BC5D-13C03DA9A945}"/>
          </ac:spMkLst>
        </pc:spChg>
        <pc:spChg chg="del mod">
          <ac:chgData name="EVELYNSM.YONG" userId="S::evelynsm.yong_gmail.com#ext#@risebcg.onmicrosoft.com::67a27a72-2420-4d38-b745-316a53f4b99a" providerId="AD" clId="Web-{EBBE918A-CD43-47AE-9637-5ACE8C97E877}" dt="2022-01-07T12:49:03.628" v="289"/>
          <ac:spMkLst>
            <pc:docMk/>
            <pc:sldMk cId="2316358039" sldId="325"/>
            <ac:spMk id="11" creationId="{F659B4BD-50AD-4CA3-95ED-DEC3DABB4313}"/>
          </ac:spMkLst>
        </pc:spChg>
        <pc:spChg chg="add mod">
          <ac:chgData name="EVELYNSM.YONG" userId="S::evelynsm.yong_gmail.com#ext#@risebcg.onmicrosoft.com::67a27a72-2420-4d38-b745-316a53f4b99a" providerId="AD" clId="Web-{EBBE918A-CD43-47AE-9637-5ACE8C97E877}" dt="2022-01-07T12:53:33.789" v="328" actId="14100"/>
          <ac:spMkLst>
            <pc:docMk/>
            <pc:sldMk cId="2316358039" sldId="325"/>
            <ac:spMk id="14" creationId="{3C1C8EDA-91F1-403C-A371-164289F5FB16}"/>
          </ac:spMkLst>
        </pc:spChg>
        <pc:spChg chg="add del">
          <ac:chgData name="EVELYNSM.YONG" userId="S::evelynsm.yong_gmail.com#ext#@risebcg.onmicrosoft.com::67a27a72-2420-4d38-b745-316a53f4b99a" providerId="AD" clId="Web-{EBBE918A-CD43-47AE-9637-5ACE8C97E877}" dt="2022-01-07T12:54:00.587" v="335"/>
          <ac:spMkLst>
            <pc:docMk/>
            <pc:sldMk cId="2316358039" sldId="325"/>
            <ac:spMk id="15" creationId="{E649DBD4-55D8-4DAB-B729-9E11691B45F6}"/>
          </ac:spMkLst>
        </pc:spChg>
        <pc:spChg chg="del mod">
          <ac:chgData name="EVELYNSM.YONG" userId="S::evelynsm.yong_gmail.com#ext#@risebcg.onmicrosoft.com::67a27a72-2420-4d38-b745-316a53f4b99a" providerId="AD" clId="Web-{EBBE918A-CD43-47AE-9637-5ACE8C97E877}" dt="2022-01-07T12:49:04.894" v="291"/>
          <ac:spMkLst>
            <pc:docMk/>
            <pc:sldMk cId="2316358039" sldId="325"/>
            <ac:spMk id="16" creationId="{E9F09C74-B1ED-48F0-B094-FCB61FD07FD8}"/>
          </ac:spMkLst>
        </pc:spChg>
        <pc:spChg chg="add mod">
          <ac:chgData name="EVELYNSM.YONG" userId="S::evelynsm.yong_gmail.com#ext#@risebcg.onmicrosoft.com::67a27a72-2420-4d38-b745-316a53f4b99a" providerId="AD" clId="Web-{EBBE918A-CD43-47AE-9637-5ACE8C97E877}" dt="2022-01-07T12:55:44.776" v="356" actId="14100"/>
          <ac:spMkLst>
            <pc:docMk/>
            <pc:sldMk cId="2316358039" sldId="325"/>
            <ac:spMk id="21" creationId="{E9143E79-0358-464A-ACC6-31293226C369}"/>
          </ac:spMkLst>
        </pc:spChg>
        <pc:spChg chg="add del mod">
          <ac:chgData name="EVELYNSM.YONG" userId="S::evelynsm.yong_gmail.com#ext#@risebcg.onmicrosoft.com::67a27a72-2420-4d38-b745-316a53f4b99a" providerId="AD" clId="Web-{EBBE918A-CD43-47AE-9637-5ACE8C97E877}" dt="2022-01-07T12:54:43.572" v="347"/>
          <ac:spMkLst>
            <pc:docMk/>
            <pc:sldMk cId="2316358039" sldId="325"/>
            <ac:spMk id="22" creationId="{57E59C8D-E114-4ED4-8719-FCDA55E852FA}"/>
          </ac:spMkLst>
        </pc:spChg>
        <pc:picChg chg="mod">
          <ac:chgData name="EVELYNSM.YONG" userId="S::evelynsm.yong_gmail.com#ext#@risebcg.onmicrosoft.com::67a27a72-2420-4d38-b745-316a53f4b99a" providerId="AD" clId="Web-{EBBE918A-CD43-47AE-9637-5ACE8C97E877}" dt="2022-01-07T12:54:53.431" v="348" actId="1076"/>
          <ac:picMkLst>
            <pc:docMk/>
            <pc:sldMk cId="2316358039" sldId="325"/>
            <ac:picMk id="2" creationId="{69CF128B-0B09-4BF1-B2CA-1BA877B1F78B}"/>
          </ac:picMkLst>
        </pc:picChg>
        <pc:picChg chg="del mod">
          <ac:chgData name="EVELYNSM.YONG" userId="S::evelynsm.yong_gmail.com#ext#@risebcg.onmicrosoft.com::67a27a72-2420-4d38-b745-316a53f4b99a" providerId="AD" clId="Web-{EBBE918A-CD43-47AE-9637-5ACE8C97E877}" dt="2022-01-07T12:49:00.831" v="288"/>
          <ac:picMkLst>
            <pc:docMk/>
            <pc:sldMk cId="2316358039" sldId="325"/>
            <ac:picMk id="6" creationId="{3476209F-81B0-4A6C-8B12-F6D764D3E106}"/>
          </ac:picMkLst>
        </pc:picChg>
        <pc:picChg chg="del mod">
          <ac:chgData name="EVELYNSM.YONG" userId="S::evelynsm.yong_gmail.com#ext#@risebcg.onmicrosoft.com::67a27a72-2420-4d38-b745-316a53f4b99a" providerId="AD" clId="Web-{EBBE918A-CD43-47AE-9637-5ACE8C97E877}" dt="2022-01-07T12:49:04.175" v="290"/>
          <ac:picMkLst>
            <pc:docMk/>
            <pc:sldMk cId="2316358039" sldId="325"/>
            <ac:picMk id="9" creationId="{A76048B9-7E18-4DEE-8C9E-48B93DFE3F73}"/>
          </ac:picMkLst>
        </pc:picChg>
      </pc:sldChg>
      <pc:sldChg chg="addSp delSp modSp">
        <pc:chgData name="EVELYNSM.YONG" userId="S::evelynsm.yong_gmail.com#ext#@risebcg.onmicrosoft.com::67a27a72-2420-4d38-b745-316a53f4b99a" providerId="AD" clId="Web-{EBBE918A-CD43-47AE-9637-5ACE8C97E877}" dt="2022-01-07T12:47:45.814" v="282"/>
        <pc:sldMkLst>
          <pc:docMk/>
          <pc:sldMk cId="2160415509" sldId="326"/>
        </pc:sldMkLst>
        <pc:spChg chg="mod">
          <ac:chgData name="EVELYNSM.YONG" userId="S::evelynsm.yong_gmail.com#ext#@risebcg.onmicrosoft.com::67a27a72-2420-4d38-b745-316a53f4b99a" providerId="AD" clId="Web-{EBBE918A-CD43-47AE-9637-5ACE8C97E877}" dt="2022-01-07T12:30:23.546" v="86" actId="1076"/>
          <ac:spMkLst>
            <pc:docMk/>
            <pc:sldMk cId="2160415509" sldId="326"/>
            <ac:spMk id="3" creationId="{2A938E9D-39F3-463F-BEAD-B91F6168A34D}"/>
          </ac:spMkLst>
        </pc:spChg>
        <pc:spChg chg="add mod">
          <ac:chgData name="EVELYNSM.YONG" userId="S::evelynsm.yong_gmail.com#ext#@risebcg.onmicrosoft.com::67a27a72-2420-4d38-b745-316a53f4b99a" providerId="AD" clId="Web-{EBBE918A-CD43-47AE-9637-5ACE8C97E877}" dt="2022-01-07T12:31:41.688" v="114" actId="14100"/>
          <ac:spMkLst>
            <pc:docMk/>
            <pc:sldMk cId="2160415509" sldId="326"/>
            <ac:spMk id="4" creationId="{215644EC-E1A2-4B5F-BA53-79EB189605EC}"/>
          </ac:spMkLst>
        </pc:spChg>
        <pc:spChg chg="add del">
          <ac:chgData name="EVELYNSM.YONG" userId="S::evelynsm.yong_gmail.com#ext#@risebcg.onmicrosoft.com::67a27a72-2420-4d38-b745-316a53f4b99a" providerId="AD" clId="Web-{EBBE918A-CD43-47AE-9637-5ACE8C97E877}" dt="2022-01-07T12:30:48.546" v="93"/>
          <ac:spMkLst>
            <pc:docMk/>
            <pc:sldMk cId="2160415509" sldId="326"/>
            <ac:spMk id="5" creationId="{C35BBA10-0D37-4760-8898-CB2A401CB13F}"/>
          </ac:spMkLst>
        </pc:spChg>
        <pc:spChg chg="mod">
          <ac:chgData name="EVELYNSM.YONG" userId="S::evelynsm.yong_gmail.com#ext#@risebcg.onmicrosoft.com::67a27a72-2420-4d38-b745-316a53f4b99a" providerId="AD" clId="Web-{EBBE918A-CD43-47AE-9637-5ACE8C97E877}" dt="2022-01-07T12:47:45.814" v="282"/>
          <ac:spMkLst>
            <pc:docMk/>
            <pc:sldMk cId="2160415509" sldId="326"/>
            <ac:spMk id="15" creationId="{AAF3EE67-387A-430E-A8DA-4FF50FD506BC}"/>
          </ac:spMkLst>
        </pc:spChg>
      </pc:sldChg>
      <pc:sldChg chg="addSp delSp modSp">
        <pc:chgData name="EVELYNSM.YONG" userId="S::evelynsm.yong_gmail.com#ext#@risebcg.onmicrosoft.com::67a27a72-2420-4d38-b745-316a53f4b99a" providerId="AD" clId="Web-{EBBE918A-CD43-47AE-9637-5ACE8C97E877}" dt="2022-01-07T12:41:38.151" v="242" actId="1076"/>
        <pc:sldMkLst>
          <pc:docMk/>
          <pc:sldMk cId="416007632" sldId="327"/>
        </pc:sldMkLst>
        <pc:spChg chg="mod">
          <ac:chgData name="EVELYNSM.YONG" userId="S::evelynsm.yong_gmail.com#ext#@risebcg.onmicrosoft.com::67a27a72-2420-4d38-b745-316a53f4b99a" providerId="AD" clId="Web-{EBBE918A-CD43-47AE-9637-5ACE8C97E877}" dt="2022-01-07T12:29:10.841" v="78" actId="20577"/>
          <ac:spMkLst>
            <pc:docMk/>
            <pc:sldMk cId="416007632" sldId="327"/>
            <ac:spMk id="2" creationId="{ED14AA63-35D8-4136-8B2F-DE1837A583A2}"/>
          </ac:spMkLst>
        </pc:spChg>
        <pc:spChg chg="mod">
          <ac:chgData name="EVELYNSM.YONG" userId="S::evelynsm.yong_gmail.com#ext#@risebcg.onmicrosoft.com::67a27a72-2420-4d38-b745-316a53f4b99a" providerId="AD" clId="Web-{EBBE918A-CD43-47AE-9637-5ACE8C97E877}" dt="2022-01-07T12:27:39.527" v="71"/>
          <ac:spMkLst>
            <pc:docMk/>
            <pc:sldMk cId="416007632" sldId="327"/>
            <ac:spMk id="4" creationId="{F2781DB5-90E2-4089-BA07-2F83778C3F07}"/>
          </ac:spMkLst>
        </pc:spChg>
        <pc:spChg chg="mod">
          <ac:chgData name="EVELYNSM.YONG" userId="S::evelynsm.yong_gmail.com#ext#@risebcg.onmicrosoft.com::67a27a72-2420-4d38-b745-316a53f4b99a" providerId="AD" clId="Web-{EBBE918A-CD43-47AE-9637-5ACE8C97E877}" dt="2022-01-07T12:27:39.543" v="72"/>
          <ac:spMkLst>
            <pc:docMk/>
            <pc:sldMk cId="416007632" sldId="327"/>
            <ac:spMk id="5" creationId="{AA1B9715-B961-42AF-90C9-79A87F13D1B8}"/>
          </ac:spMkLst>
        </pc:spChg>
        <pc:spChg chg="mod">
          <ac:chgData name="EVELYNSM.YONG" userId="S::evelynsm.yong_gmail.com#ext#@risebcg.onmicrosoft.com::67a27a72-2420-4d38-b745-316a53f4b99a" providerId="AD" clId="Web-{EBBE918A-CD43-47AE-9637-5ACE8C97E877}" dt="2022-01-07T12:36:26.208" v="186" actId="20577"/>
          <ac:spMkLst>
            <pc:docMk/>
            <pc:sldMk cId="416007632" sldId="327"/>
            <ac:spMk id="10" creationId="{6903E9BF-EB5F-4900-A7C3-8046B86C2485}"/>
          </ac:spMkLst>
        </pc:spChg>
        <pc:spChg chg="mod">
          <ac:chgData name="EVELYNSM.YONG" userId="S::evelynsm.yong_gmail.com#ext#@risebcg.onmicrosoft.com::67a27a72-2420-4d38-b745-316a53f4b99a" providerId="AD" clId="Web-{EBBE918A-CD43-47AE-9637-5ACE8C97E877}" dt="2022-01-07T12:27:39.590" v="74"/>
          <ac:spMkLst>
            <pc:docMk/>
            <pc:sldMk cId="416007632" sldId="327"/>
            <ac:spMk id="11" creationId="{41409821-5DD4-4CE8-8A23-90E7022670FB}"/>
          </ac:spMkLst>
        </pc:spChg>
        <pc:spChg chg="mod">
          <ac:chgData name="EVELYNSM.YONG" userId="S::evelynsm.yong_gmail.com#ext#@risebcg.onmicrosoft.com::67a27a72-2420-4d38-b745-316a53f4b99a" providerId="AD" clId="Web-{EBBE918A-CD43-47AE-9637-5ACE8C97E877}" dt="2022-01-07T12:27:39.605" v="75"/>
          <ac:spMkLst>
            <pc:docMk/>
            <pc:sldMk cId="416007632" sldId="327"/>
            <ac:spMk id="17" creationId="{A342E76F-CBEB-45ED-8735-A83C6AD5D2B1}"/>
          </ac:spMkLst>
        </pc:spChg>
        <pc:spChg chg="mod">
          <ac:chgData name="EVELYNSM.YONG" userId="S::evelynsm.yong_gmail.com#ext#@risebcg.onmicrosoft.com::67a27a72-2420-4d38-b745-316a53f4b99a" providerId="AD" clId="Web-{EBBE918A-CD43-47AE-9637-5ACE8C97E877}" dt="2022-01-07T12:38:14.070" v="204" actId="1076"/>
          <ac:spMkLst>
            <pc:docMk/>
            <pc:sldMk cId="416007632" sldId="327"/>
            <ac:spMk id="32" creationId="{19924F50-9976-41A7-88C1-641F1509CEE0}"/>
          </ac:spMkLst>
        </pc:spChg>
        <pc:spChg chg="mod">
          <ac:chgData name="EVELYNSM.YONG" userId="S::evelynsm.yong_gmail.com#ext#@risebcg.onmicrosoft.com::67a27a72-2420-4d38-b745-316a53f4b99a" providerId="AD" clId="Web-{EBBE918A-CD43-47AE-9637-5ACE8C97E877}" dt="2022-01-07T12:38:16.710" v="205" actId="1076"/>
          <ac:spMkLst>
            <pc:docMk/>
            <pc:sldMk cId="416007632" sldId="327"/>
            <ac:spMk id="33" creationId="{C9B7F08E-D629-47BA-B28C-40CF22219379}"/>
          </ac:spMkLst>
        </pc:spChg>
        <pc:spChg chg="mod">
          <ac:chgData name="EVELYNSM.YONG" userId="S::evelynsm.yong_gmail.com#ext#@risebcg.onmicrosoft.com::67a27a72-2420-4d38-b745-316a53f4b99a" providerId="AD" clId="Web-{EBBE918A-CD43-47AE-9637-5ACE8C97E877}" dt="2022-01-07T12:38:24.132" v="206" actId="1076"/>
          <ac:spMkLst>
            <pc:docMk/>
            <pc:sldMk cId="416007632" sldId="327"/>
            <ac:spMk id="34" creationId="{06D19D76-F677-4AAA-AA6A-7CA4B9DAF436}"/>
          </ac:spMkLst>
        </pc:spChg>
        <pc:picChg chg="add del mod">
          <ac:chgData name="EVELYNSM.YONG" userId="S::evelynsm.yong_gmail.com#ext#@risebcg.onmicrosoft.com::67a27a72-2420-4d38-b745-316a53f4b99a" providerId="AD" clId="Web-{EBBE918A-CD43-47AE-9637-5ACE8C97E877}" dt="2022-01-07T12:29:15.591" v="79"/>
          <ac:picMkLst>
            <pc:docMk/>
            <pc:sldMk cId="416007632" sldId="327"/>
            <ac:picMk id="3" creationId="{1EE72CB4-04A3-4292-A220-270C05FC4D98}"/>
          </ac:picMkLst>
        </pc:picChg>
        <pc:picChg chg="mod">
          <ac:chgData name="EVELYNSM.YONG" userId="S::evelynsm.yong_gmail.com#ext#@risebcg.onmicrosoft.com::67a27a72-2420-4d38-b745-316a53f4b99a" providerId="AD" clId="Web-{EBBE918A-CD43-47AE-9637-5ACE8C97E877}" dt="2022-01-07T12:36:26.568" v="187" actId="1076"/>
          <ac:picMkLst>
            <pc:docMk/>
            <pc:sldMk cId="416007632" sldId="327"/>
            <ac:picMk id="13" creationId="{9D9C893F-03E6-48D6-942D-542F03E4CD7B}"/>
          </ac:picMkLst>
        </pc:picChg>
        <pc:picChg chg="mod">
          <ac:chgData name="EVELYNSM.YONG" userId="S::evelynsm.yong_gmail.com#ext#@risebcg.onmicrosoft.com::67a27a72-2420-4d38-b745-316a53f4b99a" providerId="AD" clId="Web-{EBBE918A-CD43-47AE-9637-5ACE8C97E877}" dt="2022-01-07T12:41:38.151" v="242" actId="1076"/>
          <ac:picMkLst>
            <pc:docMk/>
            <pc:sldMk cId="416007632" sldId="327"/>
            <ac:picMk id="21" creationId="{270AFCE7-EE99-4D66-AE35-2E7503A46115}"/>
          </ac:picMkLst>
        </pc:picChg>
        <pc:picChg chg="mod">
          <ac:chgData name="EVELYNSM.YONG" userId="S::evelynsm.yong_gmail.com#ext#@risebcg.onmicrosoft.com::67a27a72-2420-4d38-b745-316a53f4b99a" providerId="AD" clId="Web-{EBBE918A-CD43-47AE-9637-5ACE8C97E877}" dt="2022-01-07T12:41:38.151" v="241" actId="1076"/>
          <ac:picMkLst>
            <pc:docMk/>
            <pc:sldMk cId="416007632" sldId="327"/>
            <ac:picMk id="23" creationId="{AEC9587C-3F93-4045-ACEB-A1A4AFB0FC11}"/>
          </ac:picMkLst>
        </pc:picChg>
        <pc:picChg chg="mod">
          <ac:chgData name="EVELYNSM.YONG" userId="S::evelynsm.yong_gmail.com#ext#@risebcg.onmicrosoft.com::67a27a72-2420-4d38-b745-316a53f4b99a" providerId="AD" clId="Web-{EBBE918A-CD43-47AE-9637-5ACE8C97E877}" dt="2022-01-07T12:41:38.151" v="240" actId="1076"/>
          <ac:picMkLst>
            <pc:docMk/>
            <pc:sldMk cId="416007632" sldId="327"/>
            <ac:picMk id="29" creationId="{4F6899D5-3109-4938-82DA-041DEA46D7EF}"/>
          </ac:picMkLst>
        </pc:picChg>
      </pc:sldChg>
      <pc:sldChg chg="addSp delSp modSp">
        <pc:chgData name="EVELYNSM.YONG" userId="S::evelynsm.yong_gmail.com#ext#@risebcg.onmicrosoft.com::67a27a72-2420-4d38-b745-316a53f4b99a" providerId="AD" clId="Web-{EBBE918A-CD43-47AE-9637-5ACE8C97E877}" dt="2022-01-07T12:46:08.141" v="278"/>
        <pc:sldMkLst>
          <pc:docMk/>
          <pc:sldMk cId="4276505800" sldId="329"/>
        </pc:sldMkLst>
        <pc:spChg chg="add mod">
          <ac:chgData name="EVELYNSM.YONG" userId="S::evelynsm.yong_gmail.com#ext#@risebcg.onmicrosoft.com::67a27a72-2420-4d38-b745-316a53f4b99a" providerId="AD" clId="Web-{EBBE918A-CD43-47AE-9637-5ACE8C97E877}" dt="2022-01-07T12:32:34.814" v="115" actId="14100"/>
          <ac:spMkLst>
            <pc:docMk/>
            <pc:sldMk cId="4276505800" sldId="329"/>
            <ac:spMk id="3" creationId="{FA363FAE-9C13-49DF-A86A-6D93D63F5439}"/>
          </ac:spMkLst>
        </pc:spChg>
        <pc:spChg chg="add del">
          <ac:chgData name="EVELYNSM.YONG" userId="S::evelynsm.yong_gmail.com#ext#@risebcg.onmicrosoft.com::67a27a72-2420-4d38-b745-316a53f4b99a" providerId="AD" clId="Web-{EBBE918A-CD43-47AE-9637-5ACE8C97E877}" dt="2022-01-07T12:33:28.362" v="126"/>
          <ac:spMkLst>
            <pc:docMk/>
            <pc:sldMk cId="4276505800" sldId="329"/>
            <ac:spMk id="4" creationId="{9F126676-ECFC-424B-A66A-2CE8BBE8AF31}"/>
          </ac:spMkLst>
        </pc:spChg>
        <pc:spChg chg="mod">
          <ac:chgData name="EVELYNSM.YONG" userId="S::evelynsm.yong_gmail.com#ext#@risebcg.onmicrosoft.com::67a27a72-2420-4d38-b745-316a53f4b99a" providerId="AD" clId="Web-{EBBE918A-CD43-47AE-9637-5ACE8C97E877}" dt="2022-01-07T12:46:08.141" v="278"/>
          <ac:spMkLst>
            <pc:docMk/>
            <pc:sldMk cId="4276505800" sldId="329"/>
            <ac:spMk id="15" creationId="{AAF3EE67-387A-430E-A8DA-4FF50FD506BC}"/>
          </ac:spMkLst>
        </pc:spChg>
      </pc:sldChg>
      <pc:sldChg chg="addSp modSp">
        <pc:chgData name="EVELYNSM.YONG" userId="S::evelynsm.yong_gmail.com#ext#@risebcg.onmicrosoft.com::67a27a72-2420-4d38-b745-316a53f4b99a" providerId="AD" clId="Web-{EBBE918A-CD43-47AE-9637-5ACE8C97E877}" dt="2022-01-07T12:46:04.172" v="272"/>
        <pc:sldMkLst>
          <pc:docMk/>
          <pc:sldMk cId="2728944561" sldId="333"/>
        </pc:sldMkLst>
        <pc:spChg chg="add mod">
          <ac:chgData name="EVELYNSM.YONG" userId="S::evelynsm.yong_gmail.com#ext#@risebcg.onmicrosoft.com::67a27a72-2420-4d38-b745-316a53f4b99a" providerId="AD" clId="Web-{EBBE918A-CD43-47AE-9637-5ACE8C97E877}" dt="2022-01-07T12:33:44.331" v="131" actId="14100"/>
          <ac:spMkLst>
            <pc:docMk/>
            <pc:sldMk cId="2728944561" sldId="333"/>
            <ac:spMk id="3" creationId="{9C545F2D-9E52-4C81-8BAE-363F523739FD}"/>
          </ac:spMkLst>
        </pc:spChg>
        <pc:spChg chg="mod">
          <ac:chgData name="EVELYNSM.YONG" userId="S::evelynsm.yong_gmail.com#ext#@risebcg.onmicrosoft.com::67a27a72-2420-4d38-b745-316a53f4b99a" providerId="AD" clId="Web-{EBBE918A-CD43-47AE-9637-5ACE8C97E877}" dt="2022-01-07T12:46:04.172" v="272"/>
          <ac:spMkLst>
            <pc:docMk/>
            <pc:sldMk cId="2728944561" sldId="333"/>
            <ac:spMk id="15" creationId="{AAF3EE67-387A-430E-A8DA-4FF50FD506BC}"/>
          </ac:spMkLst>
        </pc:spChg>
      </pc:sldChg>
      <pc:sldChg chg="addSp">
        <pc:chgData name="EVELYNSM.YONG" userId="S::evelynsm.yong_gmail.com#ext#@risebcg.onmicrosoft.com::67a27a72-2420-4d38-b745-316a53f4b99a" providerId="AD" clId="Web-{EBBE918A-CD43-47AE-9637-5ACE8C97E877}" dt="2022-01-07T12:45:39.359" v="264"/>
        <pc:sldMkLst>
          <pc:docMk/>
          <pc:sldMk cId="1249418479" sldId="334"/>
        </pc:sldMkLst>
        <pc:grpChg chg="add">
          <ac:chgData name="EVELYNSM.YONG" userId="S::evelynsm.yong_gmail.com#ext#@risebcg.onmicrosoft.com::67a27a72-2420-4d38-b745-316a53f4b99a" providerId="AD" clId="Web-{EBBE918A-CD43-47AE-9637-5ACE8C97E877}" dt="2022-01-07T12:45:39.359" v="264"/>
          <ac:grpSpMkLst>
            <pc:docMk/>
            <pc:sldMk cId="1249418479" sldId="334"/>
            <ac:grpSpMk id="8" creationId="{0BA96E81-F16A-4482-9E7E-049FDFCE8DF3}"/>
          </ac:grpSpMkLst>
        </pc:grpChg>
      </pc:sldChg>
      <pc:sldChg chg="addSp">
        <pc:chgData name="EVELYNSM.YONG" userId="S::evelynsm.yong_gmail.com#ext#@risebcg.onmicrosoft.com::67a27a72-2420-4d38-b745-316a53f4b99a" providerId="AD" clId="Web-{EBBE918A-CD43-47AE-9637-5ACE8C97E877}" dt="2022-01-07T12:45:41.421" v="265"/>
        <pc:sldMkLst>
          <pc:docMk/>
          <pc:sldMk cId="2652119032" sldId="335"/>
        </pc:sldMkLst>
        <pc:grpChg chg="add">
          <ac:chgData name="EVELYNSM.YONG" userId="S::evelynsm.yong_gmail.com#ext#@risebcg.onmicrosoft.com::67a27a72-2420-4d38-b745-316a53f4b99a" providerId="AD" clId="Web-{EBBE918A-CD43-47AE-9637-5ACE8C97E877}" dt="2022-01-07T12:45:41.421" v="265"/>
          <ac:grpSpMkLst>
            <pc:docMk/>
            <pc:sldMk cId="2652119032" sldId="335"/>
            <ac:grpSpMk id="8" creationId="{CAEC6CD7-B066-4DF9-94AD-FBA7CF3B0107}"/>
          </ac:grpSpMkLst>
        </pc:grpChg>
      </pc:sldChg>
      <pc:sldChg chg="addSp modSp new del">
        <pc:chgData name="EVELYNSM.YONG" userId="S::evelynsm.yong_gmail.com#ext#@risebcg.onmicrosoft.com::67a27a72-2420-4d38-b745-316a53f4b99a" providerId="AD" clId="Web-{EBBE918A-CD43-47AE-9637-5ACE8C97E877}" dt="2022-01-07T12:29:21.310" v="80"/>
        <pc:sldMkLst>
          <pc:docMk/>
          <pc:sldMk cId="521801073" sldId="337"/>
        </pc:sldMkLst>
        <pc:spChg chg="add mod">
          <ac:chgData name="EVELYNSM.YONG" userId="S::evelynsm.yong_gmail.com#ext#@risebcg.onmicrosoft.com::67a27a72-2420-4d38-b745-316a53f4b99a" providerId="AD" clId="Web-{EBBE918A-CD43-47AE-9637-5ACE8C97E877}" dt="2022-01-07T12:22:04.334" v="57"/>
          <ac:spMkLst>
            <pc:docMk/>
            <pc:sldMk cId="521801073" sldId="337"/>
            <ac:spMk id="3" creationId="{478B85C6-5C34-4090-9D82-FDF63D74953C}"/>
          </ac:spMkLst>
        </pc:spChg>
        <pc:spChg chg="add">
          <ac:chgData name="EVELYNSM.YONG" userId="S::evelynsm.yong_gmail.com#ext#@risebcg.onmicrosoft.com::67a27a72-2420-4d38-b745-316a53f4b99a" providerId="AD" clId="Web-{EBBE918A-CD43-47AE-9637-5ACE8C97E877}" dt="2022-01-07T12:21:54.255" v="46"/>
          <ac:spMkLst>
            <pc:docMk/>
            <pc:sldMk cId="521801073" sldId="337"/>
            <ac:spMk id="5" creationId="{7ADF128F-F334-41F9-8EF9-27C034101E42}"/>
          </ac:spMkLst>
        </pc:spChg>
        <pc:spChg chg="add">
          <ac:chgData name="EVELYNSM.YONG" userId="S::evelynsm.yong_gmail.com#ext#@risebcg.onmicrosoft.com::67a27a72-2420-4d38-b745-316a53f4b99a" providerId="AD" clId="Web-{EBBE918A-CD43-47AE-9637-5ACE8C97E877}" dt="2022-01-07T12:21:54.255" v="47"/>
          <ac:spMkLst>
            <pc:docMk/>
            <pc:sldMk cId="521801073" sldId="337"/>
            <ac:spMk id="7" creationId="{EFD5A8D2-20D6-466F-AE9C-657391450584}"/>
          </ac:spMkLst>
        </pc:spChg>
        <pc:spChg chg="add mod">
          <ac:chgData name="EVELYNSM.YONG" userId="S::evelynsm.yong_gmail.com#ext#@risebcg.onmicrosoft.com::67a27a72-2420-4d38-b745-316a53f4b99a" providerId="AD" clId="Web-{EBBE918A-CD43-47AE-9637-5ACE8C97E877}" dt="2022-01-07T12:22:25.084" v="58"/>
          <ac:spMkLst>
            <pc:docMk/>
            <pc:sldMk cId="521801073" sldId="337"/>
            <ac:spMk id="13" creationId="{38A3CF76-0189-49A8-8564-1C1F8BECE4A6}"/>
          </ac:spMkLst>
        </pc:spChg>
        <pc:spChg chg="add mod">
          <ac:chgData name="EVELYNSM.YONG" userId="S::evelynsm.yong_gmail.com#ext#@risebcg.onmicrosoft.com::67a27a72-2420-4d38-b745-316a53f4b99a" providerId="AD" clId="Web-{EBBE918A-CD43-47AE-9637-5ACE8C97E877}" dt="2022-01-07T12:22:25.100" v="59"/>
          <ac:spMkLst>
            <pc:docMk/>
            <pc:sldMk cId="521801073" sldId="337"/>
            <ac:spMk id="15" creationId="{45F12D8B-794B-4507-9348-930CD28BC1CF}"/>
          </ac:spMkLst>
        </pc:spChg>
        <pc:spChg chg="add mod">
          <ac:chgData name="EVELYNSM.YONG" userId="S::evelynsm.yong_gmail.com#ext#@risebcg.onmicrosoft.com::67a27a72-2420-4d38-b745-316a53f4b99a" providerId="AD" clId="Web-{EBBE918A-CD43-47AE-9637-5ACE8C97E877}" dt="2022-01-07T12:22:25.100" v="60"/>
          <ac:spMkLst>
            <pc:docMk/>
            <pc:sldMk cId="521801073" sldId="337"/>
            <ac:spMk id="19" creationId="{3E07C347-64C7-4F14-8CF3-2E07888F3E0E}"/>
          </ac:spMkLst>
        </pc:spChg>
        <pc:picChg chg="add">
          <ac:chgData name="EVELYNSM.YONG" userId="S::evelynsm.yong_gmail.com#ext#@risebcg.onmicrosoft.com::67a27a72-2420-4d38-b745-316a53f4b99a" providerId="AD" clId="Web-{EBBE918A-CD43-47AE-9637-5ACE8C97E877}" dt="2022-01-07T12:21:54.271" v="48"/>
          <ac:picMkLst>
            <pc:docMk/>
            <pc:sldMk cId="521801073" sldId="337"/>
            <ac:picMk id="9" creationId="{13A86501-E993-470B-BF99-D2164F5A32BF}"/>
          </ac:picMkLst>
        </pc:picChg>
        <pc:picChg chg="add">
          <ac:chgData name="EVELYNSM.YONG" userId="S::evelynsm.yong_gmail.com#ext#@risebcg.onmicrosoft.com::67a27a72-2420-4d38-b745-316a53f4b99a" providerId="AD" clId="Web-{EBBE918A-CD43-47AE-9637-5ACE8C97E877}" dt="2022-01-07T12:21:54.287" v="49"/>
          <ac:picMkLst>
            <pc:docMk/>
            <pc:sldMk cId="521801073" sldId="337"/>
            <ac:picMk id="11" creationId="{0F2441DD-BC38-4495-88F8-60611C49F8B9}"/>
          </ac:picMkLst>
        </pc:picChg>
        <pc:picChg chg="add">
          <ac:chgData name="EVELYNSM.YONG" userId="S::evelynsm.yong_gmail.com#ext#@risebcg.onmicrosoft.com::67a27a72-2420-4d38-b745-316a53f4b99a" providerId="AD" clId="Web-{EBBE918A-CD43-47AE-9637-5ACE8C97E877}" dt="2022-01-07T12:21:54.318" v="52"/>
          <ac:picMkLst>
            <pc:docMk/>
            <pc:sldMk cId="521801073" sldId="337"/>
            <ac:picMk id="17" creationId="{55178E69-B1A8-4A52-8CEA-BC84FEBD4124}"/>
          </ac:picMkLst>
        </pc:picChg>
        <pc:picChg chg="add">
          <ac:chgData name="EVELYNSM.YONG" userId="S::evelynsm.yong_gmail.com#ext#@risebcg.onmicrosoft.com::67a27a72-2420-4d38-b745-316a53f4b99a" providerId="AD" clId="Web-{EBBE918A-CD43-47AE-9637-5ACE8C97E877}" dt="2022-01-07T12:21:54.349" v="54"/>
          <ac:picMkLst>
            <pc:docMk/>
            <pc:sldMk cId="521801073" sldId="337"/>
            <ac:picMk id="21" creationId="{54734CB3-D5AD-4492-ACE9-6E373EB1A605}"/>
          </ac:picMkLst>
        </pc:picChg>
        <pc:picChg chg="add">
          <ac:chgData name="EVELYNSM.YONG" userId="S::evelynsm.yong_gmail.com#ext#@risebcg.onmicrosoft.com::67a27a72-2420-4d38-b745-316a53f4b99a" providerId="AD" clId="Web-{EBBE918A-CD43-47AE-9637-5ACE8C97E877}" dt="2022-01-07T12:21:54.365" v="55"/>
          <ac:picMkLst>
            <pc:docMk/>
            <pc:sldMk cId="521801073" sldId="337"/>
            <ac:picMk id="23" creationId="{9A98F5FB-494D-4C7F-B860-EE91316C9D4E}"/>
          </ac:picMkLst>
        </pc:picChg>
        <pc:picChg chg="add">
          <ac:chgData name="EVELYNSM.YONG" userId="S::evelynsm.yong_gmail.com#ext#@risebcg.onmicrosoft.com::67a27a72-2420-4d38-b745-316a53f4b99a" providerId="AD" clId="Web-{EBBE918A-CD43-47AE-9637-5ACE8C97E877}" dt="2022-01-07T12:21:54.365" v="56"/>
          <ac:picMkLst>
            <pc:docMk/>
            <pc:sldMk cId="521801073" sldId="337"/>
            <ac:picMk id="25" creationId="{6A9C6F5B-69A9-4DC0-9124-E31F04230A02}"/>
          </ac:picMkLst>
        </pc:picChg>
      </pc:sldChg>
      <pc:sldChg chg="addSp delSp modSp add ord replId">
        <pc:chgData name="EVELYNSM.YONG" userId="S::evelynsm.yong_gmail.com#ext#@risebcg.onmicrosoft.com::67a27a72-2420-4d38-b745-316a53f4b99a" providerId="AD" clId="Web-{EBBE918A-CD43-47AE-9637-5ACE8C97E877}" dt="2022-01-07T12:56:47.011" v="368" actId="14100"/>
        <pc:sldMkLst>
          <pc:docMk/>
          <pc:sldMk cId="855648020" sldId="337"/>
        </pc:sldMkLst>
        <pc:spChg chg="del mod">
          <ac:chgData name="EVELYNSM.YONG" userId="S::evelynsm.yong_gmail.com#ext#@risebcg.onmicrosoft.com::67a27a72-2420-4d38-b745-316a53f4b99a" providerId="AD" clId="Web-{EBBE918A-CD43-47AE-9637-5ACE8C97E877}" dt="2022-01-07T12:50:36.770" v="310"/>
          <ac:spMkLst>
            <pc:docMk/>
            <pc:sldMk cId="855648020" sldId="337"/>
            <ac:spMk id="3" creationId="{3EAAE696-94B0-42DC-B0E6-3874740CC294}"/>
          </ac:spMkLst>
        </pc:spChg>
        <pc:spChg chg="add mod">
          <ac:chgData name="EVELYNSM.YONG" userId="S::evelynsm.yong_gmail.com#ext#@risebcg.onmicrosoft.com::67a27a72-2420-4d38-b745-316a53f4b99a" providerId="AD" clId="Web-{EBBE918A-CD43-47AE-9637-5ACE8C97E877}" dt="2022-01-07T12:56:47.011" v="368" actId="14100"/>
          <ac:spMkLst>
            <pc:docMk/>
            <pc:sldMk cId="855648020" sldId="337"/>
            <ac:spMk id="10" creationId="{07073218-5F15-4EF5-A452-773E04940AE9}"/>
          </ac:spMkLst>
        </pc:spChg>
        <pc:spChg chg="mod">
          <ac:chgData name="EVELYNSM.YONG" userId="S::evelynsm.yong_gmail.com#ext#@risebcg.onmicrosoft.com::67a27a72-2420-4d38-b745-316a53f4b99a" providerId="AD" clId="Web-{EBBE918A-CD43-47AE-9637-5ACE8C97E877}" dt="2022-01-07T12:50:56.505" v="319" actId="1076"/>
          <ac:spMkLst>
            <pc:docMk/>
            <pc:sldMk cId="855648020" sldId="337"/>
            <ac:spMk id="11" creationId="{F659B4BD-50AD-4CA3-95ED-DEC3DABB4313}"/>
          </ac:spMkLst>
        </pc:spChg>
        <pc:spChg chg="mod">
          <ac:chgData name="EVELYNSM.YONG" userId="S::evelynsm.yong_gmail.com#ext#@risebcg.onmicrosoft.com::67a27a72-2420-4d38-b745-316a53f4b99a" providerId="AD" clId="Web-{EBBE918A-CD43-47AE-9637-5ACE8C97E877}" dt="2022-01-07T12:51:06.708" v="323" actId="1076"/>
          <ac:spMkLst>
            <pc:docMk/>
            <pc:sldMk cId="855648020" sldId="337"/>
            <ac:spMk id="16" creationId="{E9F09C74-B1ED-48F0-B094-FCB61FD07FD8}"/>
          </ac:spMkLst>
        </pc:spChg>
        <pc:picChg chg="del">
          <ac:chgData name="EVELYNSM.YONG" userId="S::evelynsm.yong_gmail.com#ext#@risebcg.onmicrosoft.com::67a27a72-2420-4d38-b745-316a53f4b99a" providerId="AD" clId="Web-{EBBE918A-CD43-47AE-9637-5ACE8C97E877}" dt="2022-01-07T12:49:56.113" v="302"/>
          <ac:picMkLst>
            <pc:docMk/>
            <pc:sldMk cId="855648020" sldId="337"/>
            <ac:picMk id="2" creationId="{69CF128B-0B09-4BF1-B2CA-1BA877B1F78B}"/>
          </ac:picMkLst>
        </pc:picChg>
        <pc:picChg chg="add mod">
          <ac:chgData name="EVELYNSM.YONG" userId="S::evelynsm.yong_gmail.com#ext#@risebcg.onmicrosoft.com::67a27a72-2420-4d38-b745-316a53f4b99a" providerId="AD" clId="Web-{EBBE918A-CD43-47AE-9637-5ACE8C97E877}" dt="2022-01-07T12:56:39.136" v="365" actId="1076"/>
          <ac:picMkLst>
            <pc:docMk/>
            <pc:sldMk cId="855648020" sldId="337"/>
            <ac:picMk id="4" creationId="{D1E8906C-F7B4-4B64-A4F6-A75BD1D8E774}"/>
          </ac:picMkLst>
        </pc:picChg>
        <pc:picChg chg="mod">
          <ac:chgData name="EVELYNSM.YONG" userId="S::evelynsm.yong_gmail.com#ext#@risebcg.onmicrosoft.com::67a27a72-2420-4d38-b745-316a53f4b99a" providerId="AD" clId="Web-{EBBE918A-CD43-47AE-9637-5ACE8C97E877}" dt="2022-01-07T12:50:53.568" v="318" actId="1076"/>
          <ac:picMkLst>
            <pc:docMk/>
            <pc:sldMk cId="855648020" sldId="337"/>
            <ac:picMk id="6" creationId="{3476209F-81B0-4A6C-8B12-F6D764D3E106}"/>
          </ac:picMkLst>
        </pc:picChg>
        <pc:picChg chg="mod">
          <ac:chgData name="EVELYNSM.YONG" userId="S::evelynsm.yong_gmail.com#ext#@risebcg.onmicrosoft.com::67a27a72-2420-4d38-b745-316a53f4b99a" providerId="AD" clId="Web-{EBBE918A-CD43-47AE-9637-5ACE8C97E877}" dt="2022-01-07T12:51:02.287" v="322" actId="14100"/>
          <ac:picMkLst>
            <pc:docMk/>
            <pc:sldMk cId="855648020" sldId="337"/>
            <ac:picMk id="9" creationId="{A76048B9-7E18-4DEE-8C9E-48B93DFE3F73}"/>
          </ac:picMkLst>
        </pc:picChg>
      </pc:sldChg>
    </pc:docChg>
  </pc:docChgLst>
  <pc:docChgLst>
    <pc:chgData name="wei yuan" userId="S::pwy_92_hotmail.com#ext#@risebcg.onmicrosoft.com::ca38e7f8-9ace-4d94-b37a-86e65e91f2b0" providerId="AD" clId="Web-{ED715E7B-4604-42E7-9143-8C9AAFEFEE22}"/>
    <pc:docChg chg="addSld modSld">
      <pc:chgData name="wei yuan" userId="S::pwy_92_hotmail.com#ext#@risebcg.onmicrosoft.com::ca38e7f8-9ace-4d94-b37a-86e65e91f2b0" providerId="AD" clId="Web-{ED715E7B-4604-42E7-9143-8C9AAFEFEE22}" dt="2022-01-08T16:25:18.505" v="980" actId="1076"/>
      <pc:docMkLst>
        <pc:docMk/>
      </pc:docMkLst>
      <pc:sldChg chg="addSp delSp modSp">
        <pc:chgData name="wei yuan" userId="S::pwy_92_hotmail.com#ext#@risebcg.onmicrosoft.com::ca38e7f8-9ace-4d94-b37a-86e65e91f2b0" providerId="AD" clId="Web-{ED715E7B-4604-42E7-9143-8C9AAFEFEE22}" dt="2022-01-08T16:09:02.745" v="394" actId="20577"/>
        <pc:sldMkLst>
          <pc:docMk/>
          <pc:sldMk cId="2761597836" sldId="317"/>
        </pc:sldMkLst>
        <pc:spChg chg="mod">
          <ac:chgData name="wei yuan" userId="S::pwy_92_hotmail.com#ext#@risebcg.onmicrosoft.com::ca38e7f8-9ace-4d94-b37a-86e65e91f2b0" providerId="AD" clId="Web-{ED715E7B-4604-42E7-9143-8C9AAFEFEE22}" dt="2022-01-08T15:44:53.969" v="22" actId="20577"/>
          <ac:spMkLst>
            <pc:docMk/>
            <pc:sldMk cId="2761597836" sldId="317"/>
            <ac:spMk id="2" creationId="{1CAEE4F4-60D4-46CA-A79F-1CD22235EEA0}"/>
          </ac:spMkLst>
        </pc:spChg>
        <pc:spChg chg="mod">
          <ac:chgData name="wei yuan" userId="S::pwy_92_hotmail.com#ext#@risebcg.onmicrosoft.com::ca38e7f8-9ace-4d94-b37a-86e65e91f2b0" providerId="AD" clId="Web-{ED715E7B-4604-42E7-9143-8C9AAFEFEE22}" dt="2022-01-08T16:09:02.745" v="394" actId="20577"/>
          <ac:spMkLst>
            <pc:docMk/>
            <pc:sldMk cId="2761597836" sldId="317"/>
            <ac:spMk id="3" creationId="{3AAD55FA-63B7-4DBA-8DC0-293DEF7C309C}"/>
          </ac:spMkLst>
        </pc:spChg>
        <pc:spChg chg="add del">
          <ac:chgData name="wei yuan" userId="S::pwy_92_hotmail.com#ext#@risebcg.onmicrosoft.com::ca38e7f8-9ace-4d94-b37a-86e65e91f2b0" providerId="AD" clId="Web-{ED715E7B-4604-42E7-9143-8C9AAFEFEE22}" dt="2022-01-08T15:45:22.001" v="31"/>
          <ac:spMkLst>
            <pc:docMk/>
            <pc:sldMk cId="2761597836" sldId="317"/>
            <ac:spMk id="5" creationId="{A97CD14E-FC1B-4135-BD75-FBF0761B33E1}"/>
          </ac:spMkLst>
        </pc:spChg>
        <pc:picChg chg="add mod">
          <ac:chgData name="wei yuan" userId="S::pwy_92_hotmail.com#ext#@risebcg.onmicrosoft.com::ca38e7f8-9ace-4d94-b37a-86e65e91f2b0" providerId="AD" clId="Web-{ED715E7B-4604-42E7-9143-8C9AAFEFEE22}" dt="2022-01-08T15:50:34.371" v="202" actId="1076"/>
          <ac:picMkLst>
            <pc:docMk/>
            <pc:sldMk cId="2761597836" sldId="317"/>
            <ac:picMk id="4" creationId="{B052766A-13D1-4657-87F7-23139C8B3360}"/>
          </ac:picMkLst>
        </pc:picChg>
        <pc:picChg chg="add mod">
          <ac:chgData name="wei yuan" userId="S::pwy_92_hotmail.com#ext#@risebcg.onmicrosoft.com::ca38e7f8-9ace-4d94-b37a-86e65e91f2b0" providerId="AD" clId="Web-{ED715E7B-4604-42E7-9143-8C9AAFEFEE22}" dt="2022-01-08T16:06:09.178" v="224" actId="1076"/>
          <ac:picMkLst>
            <pc:docMk/>
            <pc:sldMk cId="2761597836" sldId="317"/>
            <ac:picMk id="6" creationId="{7CB028D9-5E81-4D63-A1E2-97D2DBFCDC09}"/>
          </ac:picMkLst>
        </pc:picChg>
      </pc:sldChg>
      <pc:sldChg chg="modSp">
        <pc:chgData name="wei yuan" userId="S::pwy_92_hotmail.com#ext#@risebcg.onmicrosoft.com::ca38e7f8-9ace-4d94-b37a-86e65e91f2b0" providerId="AD" clId="Web-{ED715E7B-4604-42E7-9143-8C9AAFEFEE22}" dt="2022-01-08T14:40:18.732" v="14" actId="20577"/>
        <pc:sldMkLst>
          <pc:docMk/>
          <pc:sldMk cId="2316358039" sldId="325"/>
        </pc:sldMkLst>
        <pc:spChg chg="mod">
          <ac:chgData name="wei yuan" userId="S::pwy_92_hotmail.com#ext#@risebcg.onmicrosoft.com::ca38e7f8-9ace-4d94-b37a-86e65e91f2b0" providerId="AD" clId="Web-{ED715E7B-4604-42E7-9143-8C9AAFEFEE22}" dt="2022-01-08T14:40:18.732" v="14" actId="20577"/>
          <ac:spMkLst>
            <pc:docMk/>
            <pc:sldMk cId="2316358039" sldId="325"/>
            <ac:spMk id="21" creationId="{E9143E79-0358-464A-ACC6-31293226C369}"/>
          </ac:spMkLst>
        </pc:spChg>
      </pc:sldChg>
      <pc:sldChg chg="addSp delSp modSp">
        <pc:chgData name="wei yuan" userId="S::pwy_92_hotmail.com#ext#@risebcg.onmicrosoft.com::ca38e7f8-9ace-4d94-b37a-86e65e91f2b0" providerId="AD" clId="Web-{ED715E7B-4604-42E7-9143-8C9AAFEFEE22}" dt="2022-01-08T14:39:32.995" v="10" actId="1076"/>
        <pc:sldMkLst>
          <pc:docMk/>
          <pc:sldMk cId="2160415509" sldId="326"/>
        </pc:sldMkLst>
        <pc:picChg chg="del mod">
          <ac:chgData name="wei yuan" userId="S::pwy_92_hotmail.com#ext#@risebcg.onmicrosoft.com::ca38e7f8-9ace-4d94-b37a-86e65e91f2b0" providerId="AD" clId="Web-{ED715E7B-4604-42E7-9143-8C9AAFEFEE22}" dt="2022-01-08T14:39:28.479" v="7"/>
          <ac:picMkLst>
            <pc:docMk/>
            <pc:sldMk cId="2160415509" sldId="326"/>
            <ac:picMk id="5" creationId="{8D9C3E5E-0B98-4B88-BFAE-486A9BD232FA}"/>
          </ac:picMkLst>
        </pc:picChg>
        <pc:picChg chg="add mod">
          <ac:chgData name="wei yuan" userId="S::pwy_92_hotmail.com#ext#@risebcg.onmicrosoft.com::ca38e7f8-9ace-4d94-b37a-86e65e91f2b0" providerId="AD" clId="Web-{ED715E7B-4604-42E7-9143-8C9AAFEFEE22}" dt="2022-01-08T14:39:32.995" v="10" actId="1076"/>
          <ac:picMkLst>
            <pc:docMk/>
            <pc:sldMk cId="2160415509" sldId="326"/>
            <ac:picMk id="6" creationId="{BFC712DB-8FC7-4ACB-AF6D-D3D38470A4A2}"/>
          </ac:picMkLst>
        </pc:picChg>
      </pc:sldChg>
      <pc:sldChg chg="addSp delSp modSp add replId">
        <pc:chgData name="wei yuan" userId="S::pwy_92_hotmail.com#ext#@risebcg.onmicrosoft.com::ca38e7f8-9ace-4d94-b37a-86e65e91f2b0" providerId="AD" clId="Web-{ED715E7B-4604-42E7-9143-8C9AAFEFEE22}" dt="2022-01-08T16:25:18.505" v="980" actId="1076"/>
        <pc:sldMkLst>
          <pc:docMk/>
          <pc:sldMk cId="744992136" sldId="357"/>
        </pc:sldMkLst>
        <pc:spChg chg="mod">
          <ac:chgData name="wei yuan" userId="S::pwy_92_hotmail.com#ext#@risebcg.onmicrosoft.com::ca38e7f8-9ace-4d94-b37a-86e65e91f2b0" providerId="AD" clId="Web-{ED715E7B-4604-42E7-9143-8C9AAFEFEE22}" dt="2022-01-08T16:23:50.206" v="971" actId="1076"/>
          <ac:spMkLst>
            <pc:docMk/>
            <pc:sldMk cId="744992136" sldId="357"/>
            <ac:spMk id="2" creationId="{1CAEE4F4-60D4-46CA-A79F-1CD22235EEA0}"/>
          </ac:spMkLst>
        </pc:spChg>
        <pc:spChg chg="mod">
          <ac:chgData name="wei yuan" userId="S::pwy_92_hotmail.com#ext#@risebcg.onmicrosoft.com::ca38e7f8-9ace-4d94-b37a-86e65e91f2b0" providerId="AD" clId="Web-{ED715E7B-4604-42E7-9143-8C9AAFEFEE22}" dt="2022-01-08T16:24:28.613" v="978" actId="20577"/>
          <ac:spMkLst>
            <pc:docMk/>
            <pc:sldMk cId="744992136" sldId="357"/>
            <ac:spMk id="3" creationId="{3AAD55FA-63B7-4DBA-8DC0-293DEF7C309C}"/>
          </ac:spMkLst>
        </pc:spChg>
        <pc:picChg chg="add mod">
          <ac:chgData name="wei yuan" userId="S::pwy_92_hotmail.com#ext#@risebcg.onmicrosoft.com::ca38e7f8-9ace-4d94-b37a-86e65e91f2b0" providerId="AD" clId="Web-{ED715E7B-4604-42E7-9143-8C9AAFEFEE22}" dt="2022-01-08T16:25:18.505" v="980" actId="1076"/>
          <ac:picMkLst>
            <pc:docMk/>
            <pc:sldMk cId="744992136" sldId="357"/>
            <ac:picMk id="4" creationId="{46E58862-E3FD-4841-8757-18ED8AB46909}"/>
          </ac:picMkLst>
        </pc:picChg>
        <pc:picChg chg="add del mod">
          <ac:chgData name="wei yuan" userId="S::pwy_92_hotmail.com#ext#@risebcg.onmicrosoft.com::ca38e7f8-9ace-4d94-b37a-86e65e91f2b0" providerId="AD" clId="Web-{ED715E7B-4604-42E7-9143-8C9AAFEFEE22}" dt="2022-01-08T16:23:37.253" v="962"/>
          <ac:picMkLst>
            <pc:docMk/>
            <pc:sldMk cId="744992136" sldId="357"/>
            <ac:picMk id="5" creationId="{8C6737B0-E6D2-4087-A241-447E2344C1CA}"/>
          </ac:picMkLst>
        </pc:picChg>
      </pc:sldChg>
      <pc:sldChg chg="add replId">
        <pc:chgData name="wei yuan" userId="S::pwy_92_hotmail.com#ext#@risebcg.onmicrosoft.com::ca38e7f8-9ace-4d94-b37a-86e65e91f2b0" providerId="AD" clId="Web-{ED715E7B-4604-42E7-9143-8C9AAFEFEE22}" dt="2022-01-08T16:09:10.307" v="395"/>
        <pc:sldMkLst>
          <pc:docMk/>
          <pc:sldMk cId="1365250593" sldId="359"/>
        </pc:sldMkLst>
      </pc:sldChg>
    </pc:docChg>
  </pc:docChgLst>
  <pc:docChgLst>
    <pc:chgData name="WESLEY.TBW" userId="S::wesley.tbw_gmail.com#ext#@risebcg.onmicrosoft.com::1034df62-ee6d-4b2f-8a56-03c4406a0a8a" providerId="AD" clId="Web-{F4D536A2-EFCC-4670-8C8C-E863D221E9CA}"/>
    <pc:docChg chg="modSld">
      <pc:chgData name="WESLEY.TBW" userId="S::wesley.tbw_gmail.com#ext#@risebcg.onmicrosoft.com::1034df62-ee6d-4b2f-8a56-03c4406a0a8a" providerId="AD" clId="Web-{F4D536A2-EFCC-4670-8C8C-E863D221E9CA}" dt="2022-01-09T03:38:54.926" v="1144"/>
      <pc:docMkLst>
        <pc:docMk/>
      </pc:docMkLst>
      <pc:sldChg chg="modNotes">
        <pc:chgData name="WESLEY.TBW" userId="S::wesley.tbw_gmail.com#ext#@risebcg.onmicrosoft.com::1034df62-ee6d-4b2f-8a56-03c4406a0a8a" providerId="AD" clId="Web-{F4D536A2-EFCC-4670-8C8C-E863D221E9CA}" dt="2022-01-09T03:38:54.926" v="1144"/>
        <pc:sldMkLst>
          <pc:docMk/>
          <pc:sldMk cId="4084366951" sldId="318"/>
        </pc:sldMkLst>
      </pc:sldChg>
      <pc:sldChg chg="modNotes">
        <pc:chgData name="WESLEY.TBW" userId="S::wesley.tbw_gmail.com#ext#@risebcg.onmicrosoft.com::1034df62-ee6d-4b2f-8a56-03c4406a0a8a" providerId="AD" clId="Web-{F4D536A2-EFCC-4670-8C8C-E863D221E9CA}" dt="2022-01-09T03:31:35.120" v="965"/>
        <pc:sldMkLst>
          <pc:docMk/>
          <pc:sldMk cId="1249418479" sldId="334"/>
        </pc:sldMkLst>
      </pc:sldChg>
      <pc:sldChg chg="addSp modSp">
        <pc:chgData name="WESLEY.TBW" userId="S::wesley.tbw_gmail.com#ext#@risebcg.onmicrosoft.com::1034df62-ee6d-4b2f-8a56-03c4406a0a8a" providerId="AD" clId="Web-{F4D536A2-EFCC-4670-8C8C-E863D221E9CA}" dt="2022-01-09T03:30:46.932" v="927" actId="20577"/>
        <pc:sldMkLst>
          <pc:docMk/>
          <pc:sldMk cId="4159389698" sldId="342"/>
        </pc:sldMkLst>
        <pc:spChg chg="add mod">
          <ac:chgData name="WESLEY.TBW" userId="S::wesley.tbw_gmail.com#ext#@risebcg.onmicrosoft.com::1034df62-ee6d-4b2f-8a56-03c4406a0a8a" providerId="AD" clId="Web-{F4D536A2-EFCC-4670-8C8C-E863D221E9CA}" dt="2022-01-09T03:30:46.932" v="927" actId="20577"/>
          <ac:spMkLst>
            <pc:docMk/>
            <pc:sldMk cId="4159389698" sldId="342"/>
            <ac:spMk id="3" creationId="{B28C9884-8065-4F65-A34B-525EA6731753}"/>
          </ac:spMkLst>
        </pc:spChg>
      </pc:sldChg>
    </pc:docChg>
  </pc:docChgLst>
  <pc:docChgLst>
    <pc:chgData name="EVELYNSM.YONG" userId="S::evelynsm.yong_gmail.com#ext#@risebcg.onmicrosoft.com::67a27a72-2420-4d38-b745-316a53f4b99a" providerId="AD" clId="Web-{D9D9CDA3-6727-4953-8803-8E71B7B07B33}"/>
    <pc:docChg chg="addSld delSld modSld sldOrd">
      <pc:chgData name="EVELYNSM.YONG" userId="S::evelynsm.yong_gmail.com#ext#@risebcg.onmicrosoft.com::67a27a72-2420-4d38-b745-316a53f4b99a" providerId="AD" clId="Web-{D9D9CDA3-6727-4953-8803-8E71B7B07B33}" dt="2022-01-07T13:56:36.878" v="982" actId="20577"/>
      <pc:docMkLst>
        <pc:docMk/>
      </pc:docMkLst>
      <pc:sldChg chg="addSp delSp modSp ord">
        <pc:chgData name="EVELYNSM.YONG" userId="S::evelynsm.yong_gmail.com#ext#@risebcg.onmicrosoft.com::67a27a72-2420-4d38-b745-316a53f4b99a" providerId="AD" clId="Web-{D9D9CDA3-6727-4953-8803-8E71B7B07B33}" dt="2022-01-07T13:43:32.971" v="835" actId="1076"/>
        <pc:sldMkLst>
          <pc:docMk/>
          <pc:sldMk cId="2651815169" sldId="283"/>
        </pc:sldMkLst>
        <pc:spChg chg="add mod">
          <ac:chgData name="EVELYNSM.YONG" userId="S::evelynsm.yong_gmail.com#ext#@risebcg.onmicrosoft.com::67a27a72-2420-4d38-b745-316a53f4b99a" providerId="AD" clId="Web-{D9D9CDA3-6727-4953-8803-8E71B7B07B33}" dt="2022-01-07T13:39:35.223" v="834" actId="20577"/>
          <ac:spMkLst>
            <pc:docMk/>
            <pc:sldMk cId="2651815169" sldId="283"/>
            <ac:spMk id="2" creationId="{47297F00-E37C-4720-8E11-7D7D4CBEF7C0}"/>
          </ac:spMkLst>
        </pc:spChg>
        <pc:spChg chg="del mod">
          <ac:chgData name="EVELYNSM.YONG" userId="S::evelynsm.yong_gmail.com#ext#@risebcg.onmicrosoft.com::67a27a72-2420-4d38-b745-316a53f4b99a" providerId="AD" clId="Web-{D9D9CDA3-6727-4953-8803-8E71B7B07B33}" dt="2022-01-07T13:38:46.235" v="814"/>
          <ac:spMkLst>
            <pc:docMk/>
            <pc:sldMk cId="2651815169" sldId="283"/>
            <ac:spMk id="3" creationId="{D7658774-7C5D-470E-9611-D078B29F1C08}"/>
          </ac:spMkLst>
        </pc:spChg>
        <pc:spChg chg="mod">
          <ac:chgData name="EVELYNSM.YONG" userId="S::evelynsm.yong_gmail.com#ext#@risebcg.onmicrosoft.com::67a27a72-2420-4d38-b745-316a53f4b99a" providerId="AD" clId="Web-{D9D9CDA3-6727-4953-8803-8E71B7B07B33}" dt="2022-01-07T13:43:32.971" v="835" actId="1076"/>
          <ac:spMkLst>
            <pc:docMk/>
            <pc:sldMk cId="2651815169" sldId="283"/>
            <ac:spMk id="5" creationId="{860E882A-0BA4-44D6-AAB6-065F26C5A510}"/>
          </ac:spMkLst>
        </pc:spChg>
      </pc:sldChg>
      <pc:sldChg chg="addSp delSp modSp del ord modNotes">
        <pc:chgData name="EVELYNSM.YONG" userId="S::evelynsm.yong_gmail.com#ext#@risebcg.onmicrosoft.com::67a27a72-2420-4d38-b745-316a53f4b99a" providerId="AD" clId="Web-{D9D9CDA3-6727-4953-8803-8E71B7B07B33}" dt="2022-01-07T13:48:00.019" v="887"/>
        <pc:sldMkLst>
          <pc:docMk/>
          <pc:sldMk cId="2242905629" sldId="284"/>
        </pc:sldMkLst>
        <pc:spChg chg="del mod">
          <ac:chgData name="EVELYNSM.YONG" userId="S::evelynsm.yong_gmail.com#ext#@risebcg.onmicrosoft.com::67a27a72-2420-4d38-b745-316a53f4b99a" providerId="AD" clId="Web-{D9D9CDA3-6727-4953-8803-8E71B7B07B33}" dt="2022-01-07T13:27:13.694" v="676"/>
          <ac:spMkLst>
            <pc:docMk/>
            <pc:sldMk cId="2242905629" sldId="284"/>
            <ac:spMk id="2" creationId="{7A418B35-B1B1-4178-B33E-45DE9A785089}"/>
          </ac:spMkLst>
        </pc:spChg>
        <pc:spChg chg="del mod">
          <ac:chgData name="EVELYNSM.YONG" userId="S::evelynsm.yong_gmail.com#ext#@risebcg.onmicrosoft.com::67a27a72-2420-4d38-b745-316a53f4b99a" providerId="AD" clId="Web-{D9D9CDA3-6727-4953-8803-8E71B7B07B33}" dt="2022-01-07T13:32:25.712" v="786"/>
          <ac:spMkLst>
            <pc:docMk/>
            <pc:sldMk cId="2242905629" sldId="284"/>
            <ac:spMk id="8" creationId="{26ECF983-0664-4D23-88F0-C6200BDD3A45}"/>
          </ac:spMkLst>
        </pc:spChg>
        <pc:spChg chg="del mod">
          <ac:chgData name="EVELYNSM.YONG" userId="S::evelynsm.yong_gmail.com#ext#@risebcg.onmicrosoft.com::67a27a72-2420-4d38-b745-316a53f4b99a" providerId="AD" clId="Web-{D9D9CDA3-6727-4953-8803-8E71B7B07B33}" dt="2022-01-07T13:32:28.197" v="788"/>
          <ac:spMkLst>
            <pc:docMk/>
            <pc:sldMk cId="2242905629" sldId="284"/>
            <ac:spMk id="9" creationId="{983C5545-27E6-411E-837D-1A1AD02AAAAE}"/>
          </ac:spMkLst>
        </pc:spChg>
        <pc:spChg chg="del mod">
          <ac:chgData name="EVELYNSM.YONG" userId="S::evelynsm.yong_gmail.com#ext#@risebcg.onmicrosoft.com::67a27a72-2420-4d38-b745-316a53f4b99a" providerId="AD" clId="Web-{D9D9CDA3-6727-4953-8803-8E71B7B07B33}" dt="2022-01-07T13:32:48.886" v="796"/>
          <ac:spMkLst>
            <pc:docMk/>
            <pc:sldMk cId="2242905629" sldId="284"/>
            <ac:spMk id="10" creationId="{EF472C38-9AC1-437F-A731-5D0C67816315}"/>
          </ac:spMkLst>
        </pc:spChg>
        <pc:spChg chg="del mod">
          <ac:chgData name="EVELYNSM.YONG" userId="S::evelynsm.yong_gmail.com#ext#@risebcg.onmicrosoft.com::67a27a72-2420-4d38-b745-316a53f4b99a" providerId="AD" clId="Web-{D9D9CDA3-6727-4953-8803-8E71B7B07B33}" dt="2022-01-07T13:32:26.963" v="787"/>
          <ac:spMkLst>
            <pc:docMk/>
            <pc:sldMk cId="2242905629" sldId="284"/>
            <ac:spMk id="11" creationId="{950066AA-AD2F-4FE6-A21A-017A30F6DC6B}"/>
          </ac:spMkLst>
        </pc:spChg>
        <pc:spChg chg="del mod">
          <ac:chgData name="EVELYNSM.YONG" userId="S::evelynsm.yong_gmail.com#ext#@risebcg.onmicrosoft.com::67a27a72-2420-4d38-b745-316a53f4b99a" providerId="AD" clId="Web-{D9D9CDA3-6727-4953-8803-8E71B7B07B33}" dt="2022-01-07T13:31:33.756" v="770"/>
          <ac:spMkLst>
            <pc:docMk/>
            <pc:sldMk cId="2242905629" sldId="284"/>
            <ac:spMk id="12" creationId="{CD71BA09-C371-41DB-B31E-0517C8E6B02A}"/>
          </ac:spMkLst>
        </pc:spChg>
        <pc:spChg chg="mod">
          <ac:chgData name="EVELYNSM.YONG" userId="S::evelynsm.yong_gmail.com#ext#@risebcg.onmicrosoft.com::67a27a72-2420-4d38-b745-316a53f4b99a" providerId="AD" clId="Web-{D9D9CDA3-6727-4953-8803-8E71B7B07B33}" dt="2022-01-07T13:47:22.626" v="873" actId="1076"/>
          <ac:spMkLst>
            <pc:docMk/>
            <pc:sldMk cId="2242905629" sldId="284"/>
            <ac:spMk id="13" creationId="{91715464-7B02-4BC2-B8C3-B0971CB5F2E3}"/>
          </ac:spMkLst>
        </pc:spChg>
        <pc:spChg chg="add mod">
          <ac:chgData name="EVELYNSM.YONG" userId="S::evelynsm.yong_gmail.com#ext#@risebcg.onmicrosoft.com::67a27a72-2420-4d38-b745-316a53f4b99a" providerId="AD" clId="Web-{D9D9CDA3-6727-4953-8803-8E71B7B07B33}" dt="2022-01-07T13:47:22.626" v="872" actId="1076"/>
          <ac:spMkLst>
            <pc:docMk/>
            <pc:sldMk cId="2242905629" sldId="284"/>
            <ac:spMk id="81" creationId="{C4C7ACA8-A329-472F-98B7-667C6D450A36}"/>
          </ac:spMkLst>
        </pc:spChg>
        <pc:spChg chg="add del mod">
          <ac:chgData name="EVELYNSM.YONG" userId="S::evelynsm.yong_gmail.com#ext#@risebcg.onmicrosoft.com::67a27a72-2420-4d38-b745-316a53f4b99a" providerId="AD" clId="Web-{D9D9CDA3-6727-4953-8803-8E71B7B07B33}" dt="2022-01-07T13:27:31.007" v="679"/>
          <ac:spMkLst>
            <pc:docMk/>
            <pc:sldMk cId="2242905629" sldId="284"/>
            <ac:spMk id="3253" creationId="{4ADA512D-7D91-4294-9F00-CA90CF9DF5EC}"/>
          </ac:spMkLst>
        </pc:spChg>
        <pc:grpChg chg="del">
          <ac:chgData name="EVELYNSM.YONG" userId="S::evelynsm.yong_gmail.com#ext#@risebcg.onmicrosoft.com::67a27a72-2420-4d38-b745-316a53f4b99a" providerId="AD" clId="Web-{D9D9CDA3-6727-4953-8803-8E71B7B07B33}" dt="2022-01-07T13:32:39.885" v="792"/>
          <ac:grpSpMkLst>
            <pc:docMk/>
            <pc:sldMk cId="2242905629" sldId="284"/>
            <ac:grpSpMk id="27" creationId="{648B6F6E-4330-45D2-94C3-A69F291847C9}"/>
          </ac:grpSpMkLst>
        </pc:grpChg>
        <pc:graphicFrameChg chg="add mod ord modGraphic">
          <ac:chgData name="EVELYNSM.YONG" userId="S::evelynsm.yong_gmail.com#ext#@risebcg.onmicrosoft.com::67a27a72-2420-4d38-b745-316a53f4b99a" providerId="AD" clId="Web-{D9D9CDA3-6727-4953-8803-8E71B7B07B33}" dt="2022-01-07T13:47:22.626" v="874" actId="1076"/>
          <ac:graphicFrameMkLst>
            <pc:docMk/>
            <pc:sldMk cId="2242905629" sldId="284"/>
            <ac:graphicFrameMk id="3" creationId="{280DE572-D646-437F-9187-A27A725C3F0B}"/>
          </ac:graphicFrameMkLst>
        </pc:graphicFrameChg>
        <pc:cxnChg chg="del mod">
          <ac:chgData name="EVELYNSM.YONG" userId="S::evelynsm.yong_gmail.com#ext#@risebcg.onmicrosoft.com::67a27a72-2420-4d38-b745-316a53f4b99a" providerId="AD" clId="Web-{D9D9CDA3-6727-4953-8803-8E71B7B07B33}" dt="2022-01-07T13:32:34.057" v="789"/>
          <ac:cxnSpMkLst>
            <pc:docMk/>
            <pc:sldMk cId="2242905629" sldId="284"/>
            <ac:cxnSpMk id="14" creationId="{A9DBFB20-18CD-464B-8677-6CA7B98CC5F1}"/>
          </ac:cxnSpMkLst>
        </pc:cxnChg>
      </pc:sldChg>
      <pc:sldChg chg="ord">
        <pc:chgData name="EVELYNSM.YONG" userId="S::evelynsm.yong_gmail.com#ext#@risebcg.onmicrosoft.com::67a27a72-2420-4d38-b745-316a53f4b99a" providerId="AD" clId="Web-{D9D9CDA3-6727-4953-8803-8E71B7B07B33}" dt="2022-01-07T13:38:39.391" v="813"/>
        <pc:sldMkLst>
          <pc:docMk/>
          <pc:sldMk cId="2307665363" sldId="309"/>
        </pc:sldMkLst>
      </pc:sldChg>
      <pc:sldChg chg="addSp delSp modSp modNotes">
        <pc:chgData name="EVELYNSM.YONG" userId="S::evelynsm.yong_gmail.com#ext#@risebcg.onmicrosoft.com::67a27a72-2420-4d38-b745-316a53f4b99a" providerId="AD" clId="Web-{D9D9CDA3-6727-4953-8803-8E71B7B07B33}" dt="2022-01-07T13:34:59.206" v="805" actId="1076"/>
        <pc:sldMkLst>
          <pc:docMk/>
          <pc:sldMk cId="2256265757" sldId="315"/>
        </pc:sldMkLst>
        <pc:spChg chg="del mod">
          <ac:chgData name="EVELYNSM.YONG" userId="S::evelynsm.yong_gmail.com#ext#@risebcg.onmicrosoft.com::67a27a72-2420-4d38-b745-316a53f4b99a" providerId="AD" clId="Web-{D9D9CDA3-6727-4953-8803-8E71B7B07B33}" dt="2022-01-07T13:05:03.814" v="280"/>
          <ac:spMkLst>
            <pc:docMk/>
            <pc:sldMk cId="2256265757" sldId="315"/>
            <ac:spMk id="3" creationId="{3AAD55FA-63B7-4DBA-8DC0-293DEF7C309C}"/>
          </ac:spMkLst>
        </pc:spChg>
        <pc:spChg chg="mod">
          <ac:chgData name="EVELYNSM.YONG" userId="S::evelynsm.yong_gmail.com#ext#@risebcg.onmicrosoft.com::67a27a72-2420-4d38-b745-316a53f4b99a" providerId="AD" clId="Web-{D9D9CDA3-6727-4953-8803-8E71B7B07B33}" dt="2022-01-07T12:57:50.647" v="0" actId="14100"/>
          <ac:spMkLst>
            <pc:docMk/>
            <pc:sldMk cId="2256265757" sldId="315"/>
            <ac:spMk id="15" creationId="{16793C5A-1FE2-4545-A578-A16C2B6C45C4}"/>
          </ac:spMkLst>
        </pc:spChg>
        <pc:spChg chg="add del mod">
          <ac:chgData name="EVELYNSM.YONG" userId="S::evelynsm.yong_gmail.com#ext#@risebcg.onmicrosoft.com::67a27a72-2420-4d38-b745-316a53f4b99a" providerId="AD" clId="Web-{D9D9CDA3-6727-4953-8803-8E71B7B07B33}" dt="2022-01-07T13:05:08.111" v="281"/>
          <ac:spMkLst>
            <pc:docMk/>
            <pc:sldMk cId="2256265757" sldId="315"/>
            <ac:spMk id="4482" creationId="{B0377FEA-83EB-4E71-9DD5-2D6EF64F9F8F}"/>
          </ac:spMkLst>
        </pc:spChg>
        <pc:graphicFrameChg chg="mod modGraphic">
          <ac:chgData name="EVELYNSM.YONG" userId="S::evelynsm.yong_gmail.com#ext#@risebcg.onmicrosoft.com::67a27a72-2420-4d38-b745-316a53f4b99a" providerId="AD" clId="Web-{D9D9CDA3-6727-4953-8803-8E71B7B07B33}" dt="2022-01-07T13:34:59.206" v="805" actId="1076"/>
          <ac:graphicFrameMkLst>
            <pc:docMk/>
            <pc:sldMk cId="2256265757" sldId="315"/>
            <ac:graphicFrameMk id="18" creationId="{2289CFB1-4EE4-43EC-A8B5-4E5FC402B3C5}"/>
          </ac:graphicFrameMkLst>
        </pc:graphicFrameChg>
        <pc:picChg chg="mod">
          <ac:chgData name="EVELYNSM.YONG" userId="S::evelynsm.yong_gmail.com#ext#@risebcg.onmicrosoft.com::67a27a72-2420-4d38-b745-316a53f4b99a" providerId="AD" clId="Web-{D9D9CDA3-6727-4953-8803-8E71B7B07B33}" dt="2022-01-07T13:09:11.238" v="371" actId="1076"/>
          <ac:picMkLst>
            <pc:docMk/>
            <pc:sldMk cId="2256265757" sldId="315"/>
            <ac:picMk id="60" creationId="{30AA7644-B695-49AF-A4E1-C86E1691F805}"/>
          </ac:picMkLst>
        </pc:picChg>
      </pc:sldChg>
      <pc:sldChg chg="addSp delSp modSp">
        <pc:chgData name="EVELYNSM.YONG" userId="S::evelynsm.yong_gmail.com#ext#@risebcg.onmicrosoft.com::67a27a72-2420-4d38-b745-316a53f4b99a" providerId="AD" clId="Web-{D9D9CDA3-6727-4953-8803-8E71B7B07B33}" dt="2022-01-07T13:11:02.760" v="394" actId="1076"/>
        <pc:sldMkLst>
          <pc:docMk/>
          <pc:sldMk cId="4084366951" sldId="318"/>
        </pc:sldMkLst>
        <pc:spChg chg="mod">
          <ac:chgData name="EVELYNSM.YONG" userId="S::evelynsm.yong_gmail.com#ext#@risebcg.onmicrosoft.com::67a27a72-2420-4d38-b745-316a53f4b99a" providerId="AD" clId="Web-{D9D9CDA3-6727-4953-8803-8E71B7B07B33}" dt="2022-01-07T13:10:29.430" v="384" actId="20577"/>
          <ac:spMkLst>
            <pc:docMk/>
            <pc:sldMk cId="4084366951" sldId="318"/>
            <ac:spMk id="2" creationId="{1CAEE4F4-60D4-46CA-A79F-1CD22235EEA0}"/>
          </ac:spMkLst>
        </pc:spChg>
        <pc:spChg chg="del mod">
          <ac:chgData name="EVELYNSM.YONG" userId="S::evelynsm.yong_gmail.com#ext#@risebcg.onmicrosoft.com::67a27a72-2420-4d38-b745-316a53f4b99a" providerId="AD" clId="Web-{D9D9CDA3-6727-4953-8803-8E71B7B07B33}" dt="2022-01-07T13:10:48.025" v="388"/>
          <ac:spMkLst>
            <pc:docMk/>
            <pc:sldMk cId="4084366951" sldId="318"/>
            <ac:spMk id="3" creationId="{3AAD55FA-63B7-4DBA-8DC0-293DEF7C309C}"/>
          </ac:spMkLst>
        </pc:spChg>
        <pc:spChg chg="add mod">
          <ac:chgData name="EVELYNSM.YONG" userId="S::evelynsm.yong_gmail.com#ext#@risebcg.onmicrosoft.com::67a27a72-2420-4d38-b745-316a53f4b99a" providerId="AD" clId="Web-{D9D9CDA3-6727-4953-8803-8E71B7B07B33}" dt="2022-01-07T13:10:59.682" v="393" actId="1076"/>
          <ac:spMkLst>
            <pc:docMk/>
            <pc:sldMk cId="4084366951" sldId="318"/>
            <ac:spMk id="5" creationId="{78DD61BE-D1D7-401B-B576-C4CC8A01AA78}"/>
          </ac:spMkLst>
        </pc:spChg>
        <pc:picChg chg="mod">
          <ac:chgData name="EVELYNSM.YONG" userId="S::evelynsm.yong_gmail.com#ext#@risebcg.onmicrosoft.com::67a27a72-2420-4d38-b745-316a53f4b99a" providerId="AD" clId="Web-{D9D9CDA3-6727-4953-8803-8E71B7B07B33}" dt="2022-01-07T13:11:02.760" v="394" actId="1076"/>
          <ac:picMkLst>
            <pc:docMk/>
            <pc:sldMk cId="4084366951" sldId="318"/>
            <ac:picMk id="4" creationId="{E637BE80-4027-4B69-9D4B-56D59ADC9A3A}"/>
          </ac:picMkLst>
        </pc:picChg>
      </pc:sldChg>
      <pc:sldChg chg="modSp">
        <pc:chgData name="EVELYNSM.YONG" userId="S::evelynsm.yong_gmail.com#ext#@risebcg.onmicrosoft.com::67a27a72-2420-4d38-b745-316a53f4b99a" providerId="AD" clId="Web-{D9D9CDA3-6727-4953-8803-8E71B7B07B33}" dt="2022-01-07T13:45:14.477" v="854" actId="14100"/>
        <pc:sldMkLst>
          <pc:docMk/>
          <pc:sldMk cId="3666302761" sldId="324"/>
        </pc:sldMkLst>
        <pc:spChg chg="mod">
          <ac:chgData name="EVELYNSM.YONG" userId="S::evelynsm.yong_gmail.com#ext#@risebcg.onmicrosoft.com::67a27a72-2420-4d38-b745-316a53f4b99a" providerId="AD" clId="Web-{D9D9CDA3-6727-4953-8803-8E71B7B07B33}" dt="2022-01-07T13:45:14.477" v="854" actId="14100"/>
          <ac:spMkLst>
            <pc:docMk/>
            <pc:sldMk cId="3666302761" sldId="324"/>
            <ac:spMk id="25" creationId="{A72C66DB-3DFA-4DD0-BB16-94A4A31F5E94}"/>
          </ac:spMkLst>
        </pc:spChg>
      </pc:sldChg>
      <pc:sldChg chg="modSp">
        <pc:chgData name="EVELYNSM.YONG" userId="S::evelynsm.yong_gmail.com#ext#@risebcg.onmicrosoft.com::67a27a72-2420-4d38-b745-316a53f4b99a" providerId="AD" clId="Web-{D9D9CDA3-6727-4953-8803-8E71B7B07B33}" dt="2022-01-07T13:44:41.257" v="852"/>
        <pc:sldMkLst>
          <pc:docMk/>
          <pc:sldMk cId="2316358039" sldId="325"/>
        </pc:sldMkLst>
        <pc:spChg chg="mod">
          <ac:chgData name="EVELYNSM.YONG" userId="S::evelynsm.yong_gmail.com#ext#@risebcg.onmicrosoft.com::67a27a72-2420-4d38-b745-316a53f4b99a" providerId="AD" clId="Web-{D9D9CDA3-6727-4953-8803-8E71B7B07B33}" dt="2022-01-07T13:44:41.257" v="852"/>
          <ac:spMkLst>
            <pc:docMk/>
            <pc:sldMk cId="2316358039" sldId="325"/>
            <ac:spMk id="14" creationId="{3C1C8EDA-91F1-403C-A371-164289F5FB16}"/>
          </ac:spMkLst>
        </pc:spChg>
      </pc:sldChg>
      <pc:sldChg chg="modSp">
        <pc:chgData name="EVELYNSM.YONG" userId="S::evelynsm.yong_gmail.com#ext#@risebcg.onmicrosoft.com::67a27a72-2420-4d38-b745-316a53f4b99a" providerId="AD" clId="Web-{D9D9CDA3-6727-4953-8803-8E71B7B07B33}" dt="2022-01-07T13:44:34.319" v="849"/>
        <pc:sldMkLst>
          <pc:docMk/>
          <pc:sldMk cId="2160415509" sldId="326"/>
        </pc:sldMkLst>
        <pc:spChg chg="mod">
          <ac:chgData name="EVELYNSM.YONG" userId="S::evelynsm.yong_gmail.com#ext#@risebcg.onmicrosoft.com::67a27a72-2420-4d38-b745-316a53f4b99a" providerId="AD" clId="Web-{D9D9CDA3-6727-4953-8803-8E71B7B07B33}" dt="2022-01-07T13:44:34.319" v="849"/>
          <ac:spMkLst>
            <pc:docMk/>
            <pc:sldMk cId="2160415509" sldId="326"/>
            <ac:spMk id="4" creationId="{215644EC-E1A2-4B5F-BA53-79EB189605EC}"/>
          </ac:spMkLst>
        </pc:spChg>
      </pc:sldChg>
      <pc:sldChg chg="modSp">
        <pc:chgData name="EVELYNSM.YONG" userId="S::evelynsm.yong_gmail.com#ext#@risebcg.onmicrosoft.com::67a27a72-2420-4d38-b745-316a53f4b99a" providerId="AD" clId="Web-{D9D9CDA3-6727-4953-8803-8E71B7B07B33}" dt="2022-01-07T13:44:30.725" v="848"/>
        <pc:sldMkLst>
          <pc:docMk/>
          <pc:sldMk cId="4276505800" sldId="329"/>
        </pc:sldMkLst>
        <pc:spChg chg="mod">
          <ac:chgData name="EVELYNSM.YONG" userId="S::evelynsm.yong_gmail.com#ext#@risebcg.onmicrosoft.com::67a27a72-2420-4d38-b745-316a53f4b99a" providerId="AD" clId="Web-{D9D9CDA3-6727-4953-8803-8E71B7B07B33}" dt="2022-01-07T13:44:30.725" v="848"/>
          <ac:spMkLst>
            <pc:docMk/>
            <pc:sldMk cId="4276505800" sldId="329"/>
            <ac:spMk id="3" creationId="{FA363FAE-9C13-49DF-A86A-6D93D63F5439}"/>
          </ac:spMkLst>
        </pc:spChg>
      </pc:sldChg>
      <pc:sldChg chg="modSp">
        <pc:chgData name="EVELYNSM.YONG" userId="S::evelynsm.yong_gmail.com#ext#@risebcg.onmicrosoft.com::67a27a72-2420-4d38-b745-316a53f4b99a" providerId="AD" clId="Web-{D9D9CDA3-6727-4953-8803-8E71B7B07B33}" dt="2022-01-07T13:44:27.631" v="847"/>
        <pc:sldMkLst>
          <pc:docMk/>
          <pc:sldMk cId="2728944561" sldId="333"/>
        </pc:sldMkLst>
        <pc:spChg chg="mod">
          <ac:chgData name="EVELYNSM.YONG" userId="S::evelynsm.yong_gmail.com#ext#@risebcg.onmicrosoft.com::67a27a72-2420-4d38-b745-316a53f4b99a" providerId="AD" clId="Web-{D9D9CDA3-6727-4953-8803-8E71B7B07B33}" dt="2022-01-07T13:44:27.631" v="847"/>
          <ac:spMkLst>
            <pc:docMk/>
            <pc:sldMk cId="2728944561" sldId="333"/>
            <ac:spMk id="3" creationId="{9C545F2D-9E52-4C81-8BAE-363F523739FD}"/>
          </ac:spMkLst>
        </pc:spChg>
      </pc:sldChg>
      <pc:sldChg chg="addSp delSp modSp">
        <pc:chgData name="EVELYNSM.YONG" userId="S::evelynsm.yong_gmail.com#ext#@risebcg.onmicrosoft.com::67a27a72-2420-4d38-b745-316a53f4b99a" providerId="AD" clId="Web-{D9D9CDA3-6727-4953-8803-8E71B7B07B33}" dt="2022-01-07T13:44:14.771" v="846"/>
        <pc:sldMkLst>
          <pc:docMk/>
          <pc:sldMk cId="1249418479" sldId="334"/>
        </pc:sldMkLst>
        <pc:spChg chg="del mod">
          <ac:chgData name="EVELYNSM.YONG" userId="S::evelynsm.yong_gmail.com#ext#@risebcg.onmicrosoft.com::67a27a72-2420-4d38-b745-316a53f4b99a" providerId="AD" clId="Web-{D9D9CDA3-6727-4953-8803-8E71B7B07B33}" dt="2022-01-07T13:21:01.609" v="534"/>
          <ac:spMkLst>
            <pc:docMk/>
            <pc:sldMk cId="1249418479" sldId="334"/>
            <ac:spMk id="3" creationId="{3AAD55FA-63B7-4DBA-8DC0-293DEF7C309C}"/>
          </ac:spMkLst>
        </pc:spChg>
        <pc:spChg chg="add mod">
          <ac:chgData name="EVELYNSM.YONG" userId="S::evelynsm.yong_gmail.com#ext#@risebcg.onmicrosoft.com::67a27a72-2420-4d38-b745-316a53f4b99a" providerId="AD" clId="Web-{D9D9CDA3-6727-4953-8803-8E71B7B07B33}" dt="2022-01-07T13:44:14.771" v="846"/>
          <ac:spMkLst>
            <pc:docMk/>
            <pc:sldMk cId="1249418479" sldId="334"/>
            <ac:spMk id="4" creationId="{E46E2F92-A159-4912-84AA-DB46BFE3D9EB}"/>
          </ac:spMkLst>
        </pc:spChg>
        <pc:spChg chg="add mod">
          <ac:chgData name="EVELYNSM.YONG" userId="S::evelynsm.yong_gmail.com#ext#@risebcg.onmicrosoft.com::67a27a72-2420-4d38-b745-316a53f4b99a" providerId="AD" clId="Web-{D9D9CDA3-6727-4953-8803-8E71B7B07B33}" dt="2022-01-07T13:21:31.470" v="542" actId="1076"/>
          <ac:spMkLst>
            <pc:docMk/>
            <pc:sldMk cId="1249418479" sldId="334"/>
            <ac:spMk id="11" creationId="{662CF00E-7074-47A1-AC23-D8720DE006B4}"/>
          </ac:spMkLst>
        </pc:spChg>
        <pc:spChg chg="add del">
          <ac:chgData name="EVELYNSM.YONG" userId="S::evelynsm.yong_gmail.com#ext#@risebcg.onmicrosoft.com::67a27a72-2420-4d38-b745-316a53f4b99a" providerId="AD" clId="Web-{D9D9CDA3-6727-4953-8803-8E71B7B07B33}" dt="2022-01-07T13:21:06.875" v="537"/>
          <ac:spMkLst>
            <pc:docMk/>
            <pc:sldMk cId="1249418479" sldId="334"/>
            <ac:spMk id="12" creationId="{A0006FE5-B92C-4A88-AC54-09474B81293C}"/>
          </ac:spMkLst>
        </pc:spChg>
      </pc:sldChg>
      <pc:sldChg chg="addSp modSp">
        <pc:chgData name="EVELYNSM.YONG" userId="S::evelynsm.yong_gmail.com#ext#@risebcg.onmicrosoft.com::67a27a72-2420-4d38-b745-316a53f4b99a" providerId="AD" clId="Web-{D9D9CDA3-6727-4953-8803-8E71B7B07B33}" dt="2022-01-07T13:45:52.917" v="858" actId="1076"/>
        <pc:sldMkLst>
          <pc:docMk/>
          <pc:sldMk cId="2652119032" sldId="335"/>
        </pc:sldMkLst>
        <pc:spChg chg="mod">
          <ac:chgData name="EVELYNSM.YONG" userId="S::evelynsm.yong_gmail.com#ext#@risebcg.onmicrosoft.com::67a27a72-2420-4d38-b745-316a53f4b99a" providerId="AD" clId="Web-{D9D9CDA3-6727-4953-8803-8E71B7B07B33}" dt="2022-01-07T13:45:49.183" v="857" actId="14100"/>
          <ac:spMkLst>
            <pc:docMk/>
            <pc:sldMk cId="2652119032" sldId="335"/>
            <ac:spMk id="3" creationId="{CB7BAFB0-445F-4F96-BCE3-50C0E2AB21AD}"/>
          </ac:spMkLst>
        </pc:spChg>
        <pc:spChg chg="add mod">
          <ac:chgData name="EVELYNSM.YONG" userId="S::evelynsm.yong_gmail.com#ext#@risebcg.onmicrosoft.com::67a27a72-2420-4d38-b745-316a53f4b99a" providerId="AD" clId="Web-{D9D9CDA3-6727-4953-8803-8E71B7B07B33}" dt="2022-01-07T13:45:52.917" v="858" actId="1076"/>
          <ac:spMkLst>
            <pc:docMk/>
            <pc:sldMk cId="2652119032" sldId="335"/>
            <ac:spMk id="4" creationId="{7BCAFA08-4D06-4459-BDE0-CAB790C8CB40}"/>
          </ac:spMkLst>
        </pc:spChg>
      </pc:sldChg>
      <pc:sldChg chg="add replId">
        <pc:chgData name="EVELYNSM.YONG" userId="S::evelynsm.yong_gmail.com#ext#@risebcg.onmicrosoft.com::67a27a72-2420-4d38-b745-316a53f4b99a" providerId="AD" clId="Web-{D9D9CDA3-6727-4953-8803-8E71B7B07B33}" dt="2022-01-07T13:11:46.825" v="397"/>
        <pc:sldMkLst>
          <pc:docMk/>
          <pc:sldMk cId="1003929508" sldId="338"/>
        </pc:sldMkLst>
      </pc:sldChg>
      <pc:sldChg chg="addSp delSp modSp new modNotes">
        <pc:chgData name="EVELYNSM.YONG" userId="S::evelynsm.yong_gmail.com#ext#@risebcg.onmicrosoft.com::67a27a72-2420-4d38-b745-316a53f4b99a" providerId="AD" clId="Web-{D9D9CDA3-6727-4953-8803-8E71B7B07B33}" dt="2022-01-07T13:56:36.878" v="982" actId="20577"/>
        <pc:sldMkLst>
          <pc:docMk/>
          <pc:sldMk cId="3391215681" sldId="339"/>
        </pc:sldMkLst>
        <pc:spChg chg="del">
          <ac:chgData name="EVELYNSM.YONG" userId="S::evelynsm.yong_gmail.com#ext#@risebcg.onmicrosoft.com::67a27a72-2420-4d38-b745-316a53f4b99a" providerId="AD" clId="Web-{D9D9CDA3-6727-4953-8803-8E71B7B07B33}" dt="2022-01-07T13:47:30.064" v="876"/>
          <ac:spMkLst>
            <pc:docMk/>
            <pc:sldMk cId="3391215681" sldId="339"/>
            <ac:spMk id="2" creationId="{8FA8A080-8BEB-4C17-A95C-C26A1212E6BA}"/>
          </ac:spMkLst>
        </pc:spChg>
        <pc:spChg chg="del">
          <ac:chgData name="EVELYNSM.YONG" userId="S::evelynsm.yong_gmail.com#ext#@risebcg.onmicrosoft.com::67a27a72-2420-4d38-b745-316a53f4b99a" providerId="AD" clId="Web-{D9D9CDA3-6727-4953-8803-8E71B7B07B33}" dt="2022-01-07T13:47:27.829" v="875"/>
          <ac:spMkLst>
            <pc:docMk/>
            <pc:sldMk cId="3391215681" sldId="339"/>
            <ac:spMk id="3" creationId="{E8355BAF-6EEC-4CB4-A36F-ECA441BF3252}"/>
          </ac:spMkLst>
        </pc:spChg>
        <pc:spChg chg="add del">
          <ac:chgData name="EVELYNSM.YONG" userId="S::evelynsm.yong_gmail.com#ext#@risebcg.onmicrosoft.com::67a27a72-2420-4d38-b745-316a53f4b99a" providerId="AD" clId="Web-{D9D9CDA3-6727-4953-8803-8E71B7B07B33}" dt="2022-01-07T13:47:20.032" v="870"/>
          <ac:spMkLst>
            <pc:docMk/>
            <pc:sldMk cId="3391215681" sldId="339"/>
            <ac:spMk id="24" creationId="{5E84F708-96F1-4412-A2CE-E9DE4316C1E9}"/>
          </ac:spMkLst>
        </pc:spChg>
        <pc:spChg chg="add del">
          <ac:chgData name="EVELYNSM.YONG" userId="S::evelynsm.yong_gmail.com#ext#@risebcg.onmicrosoft.com::67a27a72-2420-4d38-b745-316a53f4b99a" providerId="AD" clId="Web-{D9D9CDA3-6727-4953-8803-8E71B7B07B33}" dt="2022-01-07T13:47:20.032" v="869"/>
          <ac:spMkLst>
            <pc:docMk/>
            <pc:sldMk cId="3391215681" sldId="339"/>
            <ac:spMk id="26" creationId="{7EE037DB-4A3B-4476-814C-26D3C4F8F1F1}"/>
          </ac:spMkLst>
        </pc:spChg>
        <pc:spChg chg="add mod">
          <ac:chgData name="EVELYNSM.YONG" userId="S::evelynsm.yong_gmail.com#ext#@risebcg.onmicrosoft.com::67a27a72-2420-4d38-b745-316a53f4b99a" providerId="AD" clId="Web-{D9D9CDA3-6727-4953-8803-8E71B7B07B33}" dt="2022-01-07T13:51:27.594" v="958" actId="14100"/>
          <ac:spMkLst>
            <pc:docMk/>
            <pc:sldMk cId="3391215681" sldId="339"/>
            <ac:spMk id="47" creationId="{B72F6C48-B470-4163-9AC9-2982A10656DA}"/>
          </ac:spMkLst>
        </pc:spChg>
        <pc:spChg chg="add">
          <ac:chgData name="EVELYNSM.YONG" userId="S::evelynsm.yong_gmail.com#ext#@risebcg.onmicrosoft.com::67a27a72-2420-4d38-b745-316a53f4b99a" providerId="AD" clId="Web-{D9D9CDA3-6727-4953-8803-8E71B7B07B33}" dt="2022-01-07T13:47:30.595" v="879"/>
          <ac:spMkLst>
            <pc:docMk/>
            <pc:sldMk cId="3391215681" sldId="339"/>
            <ac:spMk id="49" creationId="{1A40ECD8-EC71-4C0D-A629-C5042C9FBE1B}"/>
          </ac:spMkLst>
        </pc:spChg>
        <pc:graphicFrameChg chg="add del">
          <ac:chgData name="EVELYNSM.YONG" userId="S::evelynsm.yong_gmail.com#ext#@risebcg.onmicrosoft.com::67a27a72-2420-4d38-b745-316a53f4b99a" providerId="AD" clId="Web-{D9D9CDA3-6727-4953-8803-8E71B7B07B33}" dt="2022-01-07T13:47:20.032" v="871"/>
          <ac:graphicFrameMkLst>
            <pc:docMk/>
            <pc:sldMk cId="3391215681" sldId="339"/>
            <ac:graphicFrameMk id="5" creationId="{673A58DC-0EF2-40AD-BAC4-FD017B965EBC}"/>
          </ac:graphicFrameMkLst>
        </pc:graphicFrameChg>
        <pc:graphicFrameChg chg="add modGraphic">
          <ac:chgData name="EVELYNSM.YONG" userId="S::evelynsm.yong_gmail.com#ext#@risebcg.onmicrosoft.com::67a27a72-2420-4d38-b745-316a53f4b99a" providerId="AD" clId="Web-{D9D9CDA3-6727-4953-8803-8E71B7B07B33}" dt="2022-01-07T13:56:36.878" v="982" actId="20577"/>
          <ac:graphicFrameMkLst>
            <pc:docMk/>
            <pc:sldMk cId="3391215681" sldId="339"/>
            <ac:graphicFrameMk id="28" creationId="{9D58B7B4-DE29-4DDF-BB8A-729D2B705659}"/>
          </ac:graphicFrameMkLst>
        </pc:graphicFrameChg>
      </pc:sldChg>
    </pc:docChg>
  </pc:docChgLst>
  <pc:docChgLst>
    <pc:chgData name="EVELYNSM.YONG" userId="S::evelynsm.yong_gmail.com#ext#@risebcg.onmicrosoft.com::67a27a72-2420-4d38-b745-316a53f4b99a" providerId="AD" clId="Web-{DA0791EE-8C54-44FE-85AD-70117F2C2B72}"/>
    <pc:docChg chg="modSld sldOrd">
      <pc:chgData name="EVELYNSM.YONG" userId="S::evelynsm.yong_gmail.com#ext#@risebcg.onmicrosoft.com::67a27a72-2420-4d38-b745-316a53f4b99a" providerId="AD" clId="Web-{DA0791EE-8C54-44FE-85AD-70117F2C2B72}" dt="2022-01-09T15:51:39.464" v="2787"/>
      <pc:docMkLst>
        <pc:docMk/>
      </pc:docMkLst>
      <pc:sldChg chg="ord">
        <pc:chgData name="EVELYNSM.YONG" userId="S::evelynsm.yong_gmail.com#ext#@risebcg.onmicrosoft.com::67a27a72-2420-4d38-b745-316a53f4b99a" providerId="AD" clId="Web-{DA0791EE-8C54-44FE-85AD-70117F2C2B72}" dt="2022-01-09T09:06:43.381" v="175"/>
        <pc:sldMkLst>
          <pc:docMk/>
          <pc:sldMk cId="393760993" sldId="278"/>
        </pc:sldMkLst>
      </pc:sldChg>
      <pc:sldChg chg="modSp">
        <pc:chgData name="EVELYNSM.YONG" userId="S::evelynsm.yong_gmail.com#ext#@risebcg.onmicrosoft.com::67a27a72-2420-4d38-b745-316a53f4b99a" providerId="AD" clId="Web-{DA0791EE-8C54-44FE-85AD-70117F2C2B72}" dt="2022-01-09T09:05:14.207" v="153" actId="20577"/>
        <pc:sldMkLst>
          <pc:docMk/>
          <pc:sldMk cId="1960038968" sldId="302"/>
        </pc:sldMkLst>
        <pc:spChg chg="mod">
          <ac:chgData name="EVELYNSM.YONG" userId="S::evelynsm.yong_gmail.com#ext#@risebcg.onmicrosoft.com::67a27a72-2420-4d38-b745-316a53f4b99a" providerId="AD" clId="Web-{DA0791EE-8C54-44FE-85AD-70117F2C2B72}" dt="2022-01-09T09:05:14.207" v="153" actId="20577"/>
          <ac:spMkLst>
            <pc:docMk/>
            <pc:sldMk cId="1960038968" sldId="302"/>
            <ac:spMk id="3" creationId="{24EA6045-D161-499A-99D8-27A9B2007106}"/>
          </ac:spMkLst>
        </pc:spChg>
        <pc:spChg chg="mod">
          <ac:chgData name="EVELYNSM.YONG" userId="S::evelynsm.yong_gmail.com#ext#@risebcg.onmicrosoft.com::67a27a72-2420-4d38-b745-316a53f4b99a" providerId="AD" clId="Web-{DA0791EE-8C54-44FE-85AD-70117F2C2B72}" dt="2022-01-09T09:04:12.628" v="147" actId="1076"/>
          <ac:spMkLst>
            <pc:docMk/>
            <pc:sldMk cId="1960038968" sldId="302"/>
            <ac:spMk id="5" creationId="{22119D13-7FBA-40D8-9A7E-FC8FC5756573}"/>
          </ac:spMkLst>
        </pc:spChg>
      </pc:sldChg>
      <pc:sldChg chg="ord">
        <pc:chgData name="EVELYNSM.YONG" userId="S::evelynsm.yong_gmail.com#ext#@risebcg.onmicrosoft.com::67a27a72-2420-4d38-b745-316a53f4b99a" providerId="AD" clId="Web-{DA0791EE-8C54-44FE-85AD-70117F2C2B72}" dt="2022-01-09T09:06:01.318" v="155"/>
        <pc:sldMkLst>
          <pc:docMk/>
          <pc:sldMk cId="2761597836" sldId="317"/>
        </pc:sldMkLst>
      </pc:sldChg>
      <pc:sldChg chg="addSp modSp">
        <pc:chgData name="EVELYNSM.YONG" userId="S::evelynsm.yong_gmail.com#ext#@risebcg.onmicrosoft.com::67a27a72-2420-4d38-b745-316a53f4b99a" providerId="AD" clId="Web-{DA0791EE-8C54-44FE-85AD-70117F2C2B72}" dt="2022-01-09T14:56:40.555" v="1541" actId="1076"/>
        <pc:sldMkLst>
          <pc:docMk/>
          <pc:sldMk cId="2160415509" sldId="326"/>
        </pc:sldMkLst>
        <pc:spChg chg="add mod">
          <ac:chgData name="EVELYNSM.YONG" userId="S::evelynsm.yong_gmail.com#ext#@risebcg.onmicrosoft.com::67a27a72-2420-4d38-b745-316a53f4b99a" providerId="AD" clId="Web-{DA0791EE-8C54-44FE-85AD-70117F2C2B72}" dt="2022-01-09T14:56:40.555" v="1541" actId="1076"/>
          <ac:spMkLst>
            <pc:docMk/>
            <pc:sldMk cId="2160415509" sldId="326"/>
            <ac:spMk id="3" creationId="{A06E2C6C-AA2D-4DBA-B448-457815C4CAD3}"/>
          </ac:spMkLst>
        </pc:spChg>
      </pc:sldChg>
      <pc:sldChg chg="modSp">
        <pc:chgData name="EVELYNSM.YONG" userId="S::evelynsm.yong_gmail.com#ext#@risebcg.onmicrosoft.com::67a27a72-2420-4d38-b745-316a53f4b99a" providerId="AD" clId="Web-{DA0791EE-8C54-44FE-85AD-70117F2C2B72}" dt="2022-01-09T13:22:06.672" v="208" actId="14100"/>
        <pc:sldMkLst>
          <pc:docMk/>
          <pc:sldMk cId="1249418479" sldId="334"/>
        </pc:sldMkLst>
        <pc:spChg chg="mod">
          <ac:chgData name="EVELYNSM.YONG" userId="S::evelynsm.yong_gmail.com#ext#@risebcg.onmicrosoft.com::67a27a72-2420-4d38-b745-316a53f4b99a" providerId="AD" clId="Web-{DA0791EE-8C54-44FE-85AD-70117F2C2B72}" dt="2022-01-09T13:22:06.672" v="208" actId="14100"/>
          <ac:spMkLst>
            <pc:docMk/>
            <pc:sldMk cId="1249418479" sldId="334"/>
            <ac:spMk id="14" creationId="{DE96116D-A890-4EBF-BAFB-3F4B23F0096C}"/>
          </ac:spMkLst>
        </pc:spChg>
      </pc:sldChg>
      <pc:sldChg chg="addSp delSp modSp modNotes">
        <pc:chgData name="EVELYNSM.YONG" userId="S::evelynsm.yong_gmail.com#ext#@risebcg.onmicrosoft.com::67a27a72-2420-4d38-b745-316a53f4b99a" providerId="AD" clId="Web-{DA0791EE-8C54-44FE-85AD-70117F2C2B72}" dt="2022-01-09T15:24:40.995" v="1876"/>
        <pc:sldMkLst>
          <pc:docMk/>
          <pc:sldMk cId="2652119032" sldId="335"/>
        </pc:sldMkLst>
        <pc:spChg chg="del">
          <ac:chgData name="EVELYNSM.YONG" userId="S::evelynsm.yong_gmail.com#ext#@risebcg.onmicrosoft.com::67a27a72-2420-4d38-b745-316a53f4b99a" providerId="AD" clId="Web-{DA0791EE-8C54-44FE-85AD-70117F2C2B72}" dt="2022-01-09T13:33:32.748" v="308"/>
          <ac:spMkLst>
            <pc:docMk/>
            <pc:sldMk cId="2652119032" sldId="335"/>
            <ac:spMk id="2" creationId="{7F6D02CC-FD9B-490C-B8FF-AA78D172BCDC}"/>
          </ac:spMkLst>
        </pc:spChg>
        <pc:spChg chg="del mod ord">
          <ac:chgData name="EVELYNSM.YONG" userId="S::evelynsm.yong_gmail.com#ext#@risebcg.onmicrosoft.com::67a27a72-2420-4d38-b745-316a53f4b99a" providerId="AD" clId="Web-{DA0791EE-8C54-44FE-85AD-70117F2C2B72}" dt="2022-01-09T13:34:05.374" v="315"/>
          <ac:spMkLst>
            <pc:docMk/>
            <pc:sldMk cId="2652119032" sldId="335"/>
            <ac:spMk id="4" creationId="{7BCAFA08-4D06-4459-BDE0-CAB790C8CB40}"/>
          </ac:spMkLst>
        </pc:spChg>
        <pc:spChg chg="add del mod">
          <ac:chgData name="EVELYNSM.YONG" userId="S::evelynsm.yong_gmail.com#ext#@risebcg.onmicrosoft.com::67a27a72-2420-4d38-b745-316a53f4b99a" providerId="AD" clId="Web-{DA0791EE-8C54-44FE-85AD-70117F2C2B72}" dt="2022-01-09T13:33:52.952" v="311"/>
          <ac:spMkLst>
            <pc:docMk/>
            <pc:sldMk cId="2652119032" sldId="335"/>
            <ac:spMk id="5" creationId="{271A4DD0-D045-4D2B-93F1-2E7B013DD533}"/>
          </ac:spMkLst>
        </pc:spChg>
        <pc:spChg chg="add del mod">
          <ac:chgData name="EVELYNSM.YONG" userId="S::evelynsm.yong_gmail.com#ext#@risebcg.onmicrosoft.com::67a27a72-2420-4d38-b745-316a53f4b99a" providerId="AD" clId="Web-{DA0791EE-8C54-44FE-85AD-70117F2C2B72}" dt="2022-01-09T13:54:37.914" v="559"/>
          <ac:spMkLst>
            <pc:docMk/>
            <pc:sldMk cId="2652119032" sldId="335"/>
            <ac:spMk id="6" creationId="{EB830DF6-2886-4525-9200-EF0BA1731728}"/>
          </ac:spMkLst>
        </pc:spChg>
        <pc:spChg chg="add del">
          <ac:chgData name="EVELYNSM.YONG" userId="S::evelynsm.yong_gmail.com#ext#@risebcg.onmicrosoft.com::67a27a72-2420-4d38-b745-316a53f4b99a" providerId="AD" clId="Web-{DA0791EE-8C54-44FE-85AD-70117F2C2B72}" dt="2022-01-09T13:34:13.280" v="317"/>
          <ac:spMkLst>
            <pc:docMk/>
            <pc:sldMk cId="2652119032" sldId="335"/>
            <ac:spMk id="8" creationId="{92C67D17-292E-4875-BA32-C8C87227633D}"/>
          </ac:spMkLst>
        </pc:spChg>
        <pc:spChg chg="add mod">
          <ac:chgData name="EVELYNSM.YONG" userId="S::evelynsm.yong_gmail.com#ext#@risebcg.onmicrosoft.com::67a27a72-2420-4d38-b745-316a53f4b99a" providerId="AD" clId="Web-{DA0791EE-8C54-44FE-85AD-70117F2C2B72}" dt="2022-01-09T13:38:18.895" v="380" actId="1076"/>
          <ac:spMkLst>
            <pc:docMk/>
            <pc:sldMk cId="2652119032" sldId="335"/>
            <ac:spMk id="9" creationId="{D11E5A33-11CE-4654-94DA-ADBE91E56528}"/>
          </ac:spMkLst>
        </pc:spChg>
        <pc:spChg chg="del mod">
          <ac:chgData name="EVELYNSM.YONG" userId="S::evelynsm.yong_gmail.com#ext#@risebcg.onmicrosoft.com::67a27a72-2420-4d38-b745-316a53f4b99a" providerId="AD" clId="Web-{DA0791EE-8C54-44FE-85AD-70117F2C2B72}" dt="2022-01-09T13:35:45.095" v="339"/>
          <ac:spMkLst>
            <pc:docMk/>
            <pc:sldMk cId="2652119032" sldId="335"/>
            <ac:spMk id="10" creationId="{5B136050-0C52-4973-B00A-9438EBC773F2}"/>
          </ac:spMkLst>
        </pc:spChg>
        <pc:spChg chg="add mod">
          <ac:chgData name="EVELYNSM.YONG" userId="S::evelynsm.yong_gmail.com#ext#@risebcg.onmicrosoft.com::67a27a72-2420-4d38-b745-316a53f4b99a" providerId="AD" clId="Web-{DA0791EE-8C54-44FE-85AD-70117F2C2B72}" dt="2022-01-09T14:40:22.082" v="1516" actId="20577"/>
          <ac:spMkLst>
            <pc:docMk/>
            <pc:sldMk cId="2652119032" sldId="335"/>
            <ac:spMk id="11" creationId="{48FA4A77-CB38-4FAD-81FC-6F8B79C30622}"/>
          </ac:spMkLst>
        </pc:spChg>
        <pc:spChg chg="add mod">
          <ac:chgData name="EVELYNSM.YONG" userId="S::evelynsm.yong_gmail.com#ext#@risebcg.onmicrosoft.com::67a27a72-2420-4d38-b745-316a53f4b99a" providerId="AD" clId="Web-{DA0791EE-8C54-44FE-85AD-70117F2C2B72}" dt="2022-01-09T14:20:06.412" v="798" actId="1076"/>
          <ac:spMkLst>
            <pc:docMk/>
            <pc:sldMk cId="2652119032" sldId="335"/>
            <ac:spMk id="13" creationId="{30AA57D7-C548-4A67-A676-80F9FD59520F}"/>
          </ac:spMkLst>
        </pc:spChg>
        <pc:spChg chg="add mod">
          <ac:chgData name="EVELYNSM.YONG" userId="S::evelynsm.yong_gmail.com#ext#@risebcg.onmicrosoft.com::67a27a72-2420-4d38-b745-316a53f4b99a" providerId="AD" clId="Web-{DA0791EE-8C54-44FE-85AD-70117F2C2B72}" dt="2022-01-09T13:45:06.090" v="469" actId="14100"/>
          <ac:spMkLst>
            <pc:docMk/>
            <pc:sldMk cId="2652119032" sldId="335"/>
            <ac:spMk id="17" creationId="{EEFE4066-E552-48B0-9C80-92690B35EAB2}"/>
          </ac:spMkLst>
        </pc:spChg>
        <pc:spChg chg="add mod">
          <ac:chgData name="EVELYNSM.YONG" userId="S::evelynsm.yong_gmail.com#ext#@risebcg.onmicrosoft.com::67a27a72-2420-4d38-b745-316a53f4b99a" providerId="AD" clId="Web-{DA0791EE-8C54-44FE-85AD-70117F2C2B72}" dt="2022-01-09T13:45:06.090" v="468" actId="14100"/>
          <ac:spMkLst>
            <pc:docMk/>
            <pc:sldMk cId="2652119032" sldId="335"/>
            <ac:spMk id="19" creationId="{ADF4AC28-4A56-4994-B9E6-C08A7EC749F7}"/>
          </ac:spMkLst>
        </pc:spChg>
        <pc:spChg chg="add mod ord">
          <ac:chgData name="EVELYNSM.YONG" userId="S::evelynsm.yong_gmail.com#ext#@risebcg.onmicrosoft.com::67a27a72-2420-4d38-b745-316a53f4b99a" providerId="AD" clId="Web-{DA0791EE-8C54-44FE-85AD-70117F2C2B72}" dt="2022-01-09T15:21:56.226" v="1836" actId="14100"/>
          <ac:spMkLst>
            <pc:docMk/>
            <pc:sldMk cId="2652119032" sldId="335"/>
            <ac:spMk id="28" creationId="{81280F0F-FE44-494C-A80A-92667A5E77F5}"/>
          </ac:spMkLst>
        </pc:spChg>
        <pc:spChg chg="add del mod">
          <ac:chgData name="EVELYNSM.YONG" userId="S::evelynsm.yong_gmail.com#ext#@risebcg.onmicrosoft.com::67a27a72-2420-4d38-b745-316a53f4b99a" providerId="AD" clId="Web-{DA0791EE-8C54-44FE-85AD-70117F2C2B72}" dt="2022-01-09T13:55:10.477" v="570"/>
          <ac:spMkLst>
            <pc:docMk/>
            <pc:sldMk cId="2652119032" sldId="335"/>
            <ac:spMk id="29" creationId="{AD90FA02-ED78-434C-ABB6-461474DCB21F}"/>
          </ac:spMkLst>
        </pc:spChg>
        <pc:spChg chg="add del mod">
          <ac:chgData name="EVELYNSM.YONG" userId="S::evelynsm.yong_gmail.com#ext#@risebcg.onmicrosoft.com::67a27a72-2420-4d38-b745-316a53f4b99a" providerId="AD" clId="Web-{DA0791EE-8C54-44FE-85AD-70117F2C2B72}" dt="2022-01-09T14:19:06.911" v="780"/>
          <ac:spMkLst>
            <pc:docMk/>
            <pc:sldMk cId="2652119032" sldId="335"/>
            <ac:spMk id="30" creationId="{46A3704E-F1BD-4BCF-A67F-9AD9DEE171DB}"/>
          </ac:spMkLst>
        </pc:spChg>
        <pc:spChg chg="add del mod">
          <ac:chgData name="EVELYNSM.YONG" userId="S::evelynsm.yong_gmail.com#ext#@risebcg.onmicrosoft.com::67a27a72-2420-4d38-b745-316a53f4b99a" providerId="AD" clId="Web-{DA0791EE-8C54-44FE-85AD-70117F2C2B72}" dt="2022-01-09T14:19:21.599" v="782"/>
          <ac:spMkLst>
            <pc:docMk/>
            <pc:sldMk cId="2652119032" sldId="335"/>
            <ac:spMk id="33" creationId="{364105C6-A871-4CD7-BF81-6C96BC80C209}"/>
          </ac:spMkLst>
        </pc:spChg>
        <pc:spChg chg="add del mod">
          <ac:chgData name="EVELYNSM.YONG" userId="S::evelynsm.yong_gmail.com#ext#@risebcg.onmicrosoft.com::67a27a72-2420-4d38-b745-316a53f4b99a" providerId="AD" clId="Web-{DA0791EE-8C54-44FE-85AD-70117F2C2B72}" dt="2022-01-09T14:07:41.226" v="688"/>
          <ac:spMkLst>
            <pc:docMk/>
            <pc:sldMk cId="2652119032" sldId="335"/>
            <ac:spMk id="35" creationId="{DA04AEC3-BFDE-4760-BC39-26C2D08FEEE3}"/>
          </ac:spMkLst>
        </pc:spChg>
        <pc:spChg chg="add del mod">
          <ac:chgData name="EVELYNSM.YONG" userId="S::evelynsm.yong_gmail.com#ext#@risebcg.onmicrosoft.com::67a27a72-2420-4d38-b745-316a53f4b99a" providerId="AD" clId="Web-{DA0791EE-8C54-44FE-85AD-70117F2C2B72}" dt="2022-01-09T14:07:02.053" v="684"/>
          <ac:spMkLst>
            <pc:docMk/>
            <pc:sldMk cId="2652119032" sldId="335"/>
            <ac:spMk id="36" creationId="{B0621D87-B95C-4592-8F6C-0BBCF190BF30}"/>
          </ac:spMkLst>
        </pc:spChg>
        <pc:spChg chg="add del">
          <ac:chgData name="EVELYNSM.YONG" userId="S::evelynsm.yong_gmail.com#ext#@risebcg.onmicrosoft.com::67a27a72-2420-4d38-b745-316a53f4b99a" providerId="AD" clId="Web-{DA0791EE-8C54-44FE-85AD-70117F2C2B72}" dt="2022-01-09T14:07:08.975" v="685"/>
          <ac:spMkLst>
            <pc:docMk/>
            <pc:sldMk cId="2652119032" sldId="335"/>
            <ac:spMk id="37" creationId="{1959A625-13E7-41F1-90D7-88CD080D6AFA}"/>
          </ac:spMkLst>
        </pc:spChg>
        <pc:spChg chg="add del mod">
          <ac:chgData name="EVELYNSM.YONG" userId="S::evelynsm.yong_gmail.com#ext#@risebcg.onmicrosoft.com::67a27a72-2420-4d38-b745-316a53f4b99a" providerId="AD" clId="Web-{DA0791EE-8C54-44FE-85AD-70117F2C2B72}" dt="2022-01-09T14:18:28.036" v="768"/>
          <ac:spMkLst>
            <pc:docMk/>
            <pc:sldMk cId="2652119032" sldId="335"/>
            <ac:spMk id="43" creationId="{49B1AAE3-62B7-45B9-8BE5-CB44C8C50927}"/>
          </ac:spMkLst>
        </pc:spChg>
        <pc:spChg chg="add del mod">
          <ac:chgData name="EVELYNSM.YONG" userId="S::evelynsm.yong_gmail.com#ext#@risebcg.onmicrosoft.com::67a27a72-2420-4d38-b745-316a53f4b99a" providerId="AD" clId="Web-{DA0791EE-8C54-44FE-85AD-70117F2C2B72}" dt="2022-01-09T14:18:24.317" v="766"/>
          <ac:spMkLst>
            <pc:docMk/>
            <pc:sldMk cId="2652119032" sldId="335"/>
            <ac:spMk id="44" creationId="{F49941B4-D35D-40C5-9A41-767FC177F321}"/>
          </ac:spMkLst>
        </pc:spChg>
        <pc:grpChg chg="add del">
          <ac:chgData name="EVELYNSM.YONG" userId="S::evelynsm.yong_gmail.com#ext#@risebcg.onmicrosoft.com::67a27a72-2420-4d38-b745-316a53f4b99a" providerId="AD" clId="Web-{DA0791EE-8C54-44FE-85AD-70117F2C2B72}" dt="2022-01-09T13:44:55.730" v="465"/>
          <ac:grpSpMkLst>
            <pc:docMk/>
            <pc:sldMk cId="2652119032" sldId="335"/>
            <ac:grpSpMk id="25" creationId="{5FA843E1-CE25-4065-AFE4-C41B81330399}"/>
          </ac:grpSpMkLst>
        </pc:grpChg>
        <pc:grpChg chg="add del mod">
          <ac:chgData name="EVELYNSM.YONG" userId="S::evelynsm.yong_gmail.com#ext#@risebcg.onmicrosoft.com::67a27a72-2420-4d38-b745-316a53f4b99a" providerId="AD" clId="Web-{DA0791EE-8C54-44FE-85AD-70117F2C2B72}" dt="2022-01-09T13:50:26.799" v="510"/>
          <ac:grpSpMkLst>
            <pc:docMk/>
            <pc:sldMk cId="2652119032" sldId="335"/>
            <ac:grpSpMk id="26" creationId="{DB24AA5C-5996-4869-88AA-0368CB0D302A}"/>
          </ac:grpSpMkLst>
        </pc:grpChg>
        <pc:picChg chg="add del mod">
          <ac:chgData name="EVELYNSM.YONG" userId="S::evelynsm.yong_gmail.com#ext#@risebcg.onmicrosoft.com::67a27a72-2420-4d38-b745-316a53f4b99a" providerId="AD" clId="Web-{DA0791EE-8C54-44FE-85AD-70117F2C2B72}" dt="2022-01-09T13:50:45.065" v="515"/>
          <ac:picMkLst>
            <pc:docMk/>
            <pc:sldMk cId="2652119032" sldId="335"/>
            <ac:picMk id="27" creationId="{A4CFC0BA-E667-475B-9CCE-F01BB0F125EF}"/>
          </ac:picMkLst>
        </pc:picChg>
        <pc:picChg chg="add del mod">
          <ac:chgData name="EVELYNSM.YONG" userId="S::evelynsm.yong_gmail.com#ext#@risebcg.onmicrosoft.com::67a27a72-2420-4d38-b745-316a53f4b99a" providerId="AD" clId="Web-{DA0791EE-8C54-44FE-85AD-70117F2C2B72}" dt="2022-01-09T13:59:46.014" v="586"/>
          <ac:picMkLst>
            <pc:docMk/>
            <pc:sldMk cId="2652119032" sldId="335"/>
            <ac:picMk id="31" creationId="{5E877CF6-E994-4C87-ACE8-2FF0638451BA}"/>
          </ac:picMkLst>
        </pc:picChg>
        <pc:picChg chg="add del mod">
          <ac:chgData name="EVELYNSM.YONG" userId="S::evelynsm.yong_gmail.com#ext#@risebcg.onmicrosoft.com::67a27a72-2420-4d38-b745-316a53f4b99a" providerId="AD" clId="Web-{DA0791EE-8C54-44FE-85AD-70117F2C2B72}" dt="2022-01-09T14:03:51.690" v="627"/>
          <ac:picMkLst>
            <pc:docMk/>
            <pc:sldMk cId="2652119032" sldId="335"/>
            <ac:picMk id="32" creationId="{44BA840D-D382-4678-8ADC-9EA6031B9E15}"/>
          </ac:picMkLst>
        </pc:picChg>
        <pc:picChg chg="add del mod">
          <ac:chgData name="EVELYNSM.YONG" userId="S::evelynsm.yong_gmail.com#ext#@risebcg.onmicrosoft.com::67a27a72-2420-4d38-b745-316a53f4b99a" providerId="AD" clId="Web-{DA0791EE-8C54-44FE-85AD-70117F2C2B72}" dt="2022-01-09T14:07:58.023" v="690"/>
          <ac:picMkLst>
            <pc:docMk/>
            <pc:sldMk cId="2652119032" sldId="335"/>
            <ac:picMk id="34" creationId="{188E4DEA-1D00-40D8-8CD6-25B40E0A03FF}"/>
          </ac:picMkLst>
        </pc:picChg>
        <pc:picChg chg="add del mod">
          <ac:chgData name="EVELYNSM.YONG" userId="S::evelynsm.yong_gmail.com#ext#@risebcg.onmicrosoft.com::67a27a72-2420-4d38-b745-316a53f4b99a" providerId="AD" clId="Web-{DA0791EE-8C54-44FE-85AD-70117F2C2B72}" dt="2022-01-09T14:09:09.009" v="712"/>
          <ac:picMkLst>
            <pc:docMk/>
            <pc:sldMk cId="2652119032" sldId="335"/>
            <ac:picMk id="38" creationId="{FA802176-780D-475D-AE08-363C1582A91B}"/>
          </ac:picMkLst>
        </pc:picChg>
        <pc:picChg chg="add mod">
          <ac:chgData name="EVELYNSM.YONG" userId="S::evelynsm.yong_gmail.com#ext#@risebcg.onmicrosoft.com::67a27a72-2420-4d38-b745-316a53f4b99a" providerId="AD" clId="Web-{DA0791EE-8C54-44FE-85AD-70117F2C2B72}" dt="2022-01-09T14:19:45.553" v="793" actId="1076"/>
          <ac:picMkLst>
            <pc:docMk/>
            <pc:sldMk cId="2652119032" sldId="335"/>
            <ac:picMk id="39" creationId="{6D100E40-F0A0-4C81-AFE6-66AAB66A847B}"/>
          </ac:picMkLst>
        </pc:picChg>
        <pc:picChg chg="add del mod">
          <ac:chgData name="EVELYNSM.YONG" userId="S::evelynsm.yong_gmail.com#ext#@risebcg.onmicrosoft.com::67a27a72-2420-4d38-b745-316a53f4b99a" providerId="AD" clId="Web-{DA0791EE-8C54-44FE-85AD-70117F2C2B72}" dt="2022-01-09T14:13:35.483" v="720"/>
          <ac:picMkLst>
            <pc:docMk/>
            <pc:sldMk cId="2652119032" sldId="335"/>
            <ac:picMk id="40" creationId="{14656FD1-1C84-47C0-BBFE-D283C5F97CE3}"/>
          </ac:picMkLst>
        </pc:picChg>
        <pc:picChg chg="add mod">
          <ac:chgData name="EVELYNSM.YONG" userId="S::evelynsm.yong_gmail.com#ext#@risebcg.onmicrosoft.com::67a27a72-2420-4d38-b745-316a53f4b99a" providerId="AD" clId="Web-{DA0791EE-8C54-44FE-85AD-70117F2C2B72}" dt="2022-01-09T14:19:54.303" v="796" actId="14100"/>
          <ac:picMkLst>
            <pc:docMk/>
            <pc:sldMk cId="2652119032" sldId="335"/>
            <ac:picMk id="42" creationId="{EEF785FC-B0A1-4C7B-971D-1AC4D6CB007F}"/>
          </ac:picMkLst>
        </pc:picChg>
        <pc:cxnChg chg="add del mod">
          <ac:chgData name="EVELYNSM.YONG" userId="S::evelynsm.yong_gmail.com#ext#@risebcg.onmicrosoft.com::67a27a72-2420-4d38-b745-316a53f4b99a" providerId="AD" clId="Web-{DA0791EE-8C54-44FE-85AD-70117F2C2B72}" dt="2022-01-09T13:50:32.003" v="511"/>
          <ac:cxnSpMkLst>
            <pc:docMk/>
            <pc:sldMk cId="2652119032" sldId="335"/>
            <ac:cxnSpMk id="15" creationId="{4EE00A56-9FCF-4666-8F48-78E41BC4040C}"/>
          </ac:cxnSpMkLst>
        </pc:cxnChg>
      </pc:sldChg>
      <pc:sldChg chg="ord">
        <pc:chgData name="EVELYNSM.YONG" userId="S::evelynsm.yong_gmail.com#ext#@risebcg.onmicrosoft.com::67a27a72-2420-4d38-b745-316a53f4b99a" providerId="AD" clId="Web-{DA0791EE-8C54-44FE-85AD-70117F2C2B72}" dt="2022-01-09T09:06:22.256" v="161"/>
        <pc:sldMkLst>
          <pc:docMk/>
          <pc:sldMk cId="855648020" sldId="337"/>
        </pc:sldMkLst>
      </pc:sldChg>
      <pc:sldChg chg="addSp delSp modSp">
        <pc:chgData name="EVELYNSM.YONG" userId="S::evelynsm.yong_gmail.com#ext#@risebcg.onmicrosoft.com::67a27a72-2420-4d38-b745-316a53f4b99a" providerId="AD" clId="Web-{DA0791EE-8C54-44FE-85AD-70117F2C2B72}" dt="2022-01-09T14:14:57" v="722"/>
        <pc:sldMkLst>
          <pc:docMk/>
          <pc:sldMk cId="3391215681" sldId="339"/>
        </pc:sldMkLst>
        <pc:spChg chg="mod">
          <ac:chgData name="EVELYNSM.YONG" userId="S::evelynsm.yong_gmail.com#ext#@risebcg.onmicrosoft.com::67a27a72-2420-4d38-b745-316a53f4b99a" providerId="AD" clId="Web-{DA0791EE-8C54-44FE-85AD-70117F2C2B72}" dt="2022-01-09T13:33:44.249" v="310"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DA0791EE-8C54-44FE-85AD-70117F2C2B72}" dt="2022-01-09T13:28:55.321" v="266" actId="1076"/>
          <ac:spMkLst>
            <pc:docMk/>
            <pc:sldMk cId="3391215681" sldId="339"/>
            <ac:spMk id="49" creationId="{1A40ECD8-EC71-4C0D-A629-C5042C9FBE1B}"/>
          </ac:spMkLst>
        </pc:spChg>
        <pc:spChg chg="mod">
          <ac:chgData name="EVELYNSM.YONG" userId="S::evelynsm.yong_gmail.com#ext#@risebcg.onmicrosoft.com::67a27a72-2420-4d38-b745-316a53f4b99a" providerId="AD" clId="Web-{DA0791EE-8C54-44FE-85AD-70117F2C2B72}" dt="2022-01-09T13:28:55.352" v="267" actId="1076"/>
          <ac:spMkLst>
            <pc:docMk/>
            <pc:sldMk cId="3391215681" sldId="339"/>
            <ac:spMk id="124" creationId="{C91A31F3-23FB-421F-8BC0-FD3F5F868D91}"/>
          </ac:spMkLst>
        </pc:spChg>
        <pc:spChg chg="mod">
          <ac:chgData name="EVELYNSM.YONG" userId="S::evelynsm.yong_gmail.com#ext#@risebcg.onmicrosoft.com::67a27a72-2420-4d38-b745-316a53f4b99a" providerId="AD" clId="Web-{DA0791EE-8C54-44FE-85AD-70117F2C2B72}" dt="2022-01-09T13:40:30.928" v="415" actId="20577"/>
          <ac:spMkLst>
            <pc:docMk/>
            <pc:sldMk cId="3391215681" sldId="339"/>
            <ac:spMk id="160" creationId="{129EBF9C-3DCE-40EC-8CFB-1CB201B252BE}"/>
          </ac:spMkLst>
        </pc:spChg>
        <pc:spChg chg="mod">
          <ac:chgData name="EVELYNSM.YONG" userId="S::evelynsm.yong_gmail.com#ext#@risebcg.onmicrosoft.com::67a27a72-2420-4d38-b745-316a53f4b99a" providerId="AD" clId="Web-{DA0791EE-8C54-44FE-85AD-70117F2C2B72}" dt="2022-01-09T13:32:20.247" v="294" actId="1076"/>
          <ac:spMkLst>
            <pc:docMk/>
            <pc:sldMk cId="3391215681" sldId="339"/>
            <ac:spMk id="211" creationId="{BE8EF75F-4A8F-4CC0-B3A0-4689491D690B}"/>
          </ac:spMkLst>
        </pc:spChg>
        <pc:spChg chg="mod">
          <ac:chgData name="EVELYNSM.YONG" userId="S::evelynsm.yong_gmail.com#ext#@risebcg.onmicrosoft.com::67a27a72-2420-4d38-b745-316a53f4b99a" providerId="AD" clId="Web-{DA0791EE-8C54-44FE-85AD-70117F2C2B72}" dt="2022-01-09T13:32:20.263" v="295" actId="1076"/>
          <ac:spMkLst>
            <pc:docMk/>
            <pc:sldMk cId="3391215681" sldId="339"/>
            <ac:spMk id="218" creationId="{3F919807-BA2C-40C1-9C13-9C7C88B0617F}"/>
          </ac:spMkLst>
        </pc:spChg>
        <pc:spChg chg="mod">
          <ac:chgData name="EVELYNSM.YONG" userId="S::evelynsm.yong_gmail.com#ext#@risebcg.onmicrosoft.com::67a27a72-2420-4d38-b745-316a53f4b99a" providerId="AD" clId="Web-{DA0791EE-8C54-44FE-85AD-70117F2C2B72}" dt="2022-01-09T13:32:20.309" v="297" actId="1076"/>
          <ac:spMkLst>
            <pc:docMk/>
            <pc:sldMk cId="3391215681" sldId="339"/>
            <ac:spMk id="229" creationId="{8CB63044-5013-4EFC-B813-E8D7A72DE7FF}"/>
          </ac:spMkLst>
        </pc:spChg>
        <pc:spChg chg="mod">
          <ac:chgData name="EVELYNSM.YONG" userId="S::evelynsm.yong_gmail.com#ext#@risebcg.onmicrosoft.com::67a27a72-2420-4d38-b745-316a53f4b99a" providerId="AD" clId="Web-{DA0791EE-8C54-44FE-85AD-70117F2C2B72}" dt="2022-01-09T13:32:20.231" v="293" actId="1076"/>
          <ac:spMkLst>
            <pc:docMk/>
            <pc:sldMk cId="3391215681" sldId="339"/>
            <ac:spMk id="3097" creationId="{B43BCD4D-C119-4545-A18A-03EFECDDCAC1}"/>
          </ac:spMkLst>
        </pc:spChg>
        <pc:grpChg chg="mod">
          <ac:chgData name="EVELYNSM.YONG" userId="S::evelynsm.yong_gmail.com#ext#@risebcg.onmicrosoft.com::67a27a72-2420-4d38-b745-316a53f4b99a" providerId="AD" clId="Web-{DA0791EE-8C54-44FE-85AD-70117F2C2B72}" dt="2022-01-09T13:28:08.148" v="257" actId="1076"/>
          <ac:grpSpMkLst>
            <pc:docMk/>
            <pc:sldMk cId="3391215681" sldId="339"/>
            <ac:grpSpMk id="417" creationId="{3422634B-E74A-464E-8891-948490F63923}"/>
          </ac:grpSpMkLst>
        </pc:grpChg>
        <pc:graphicFrameChg chg="mod modGraphic">
          <ac:chgData name="EVELYNSM.YONG" userId="S::evelynsm.yong_gmail.com#ext#@risebcg.onmicrosoft.com::67a27a72-2420-4d38-b745-316a53f4b99a" providerId="AD" clId="Web-{DA0791EE-8C54-44FE-85AD-70117F2C2B72}" dt="2022-01-09T13:32:53.107" v="305" actId="1076"/>
          <ac:graphicFrameMkLst>
            <pc:docMk/>
            <pc:sldMk cId="3391215681" sldId="339"/>
            <ac:graphicFrameMk id="28" creationId="{9D58B7B4-DE29-4DDF-BB8A-729D2B705659}"/>
          </ac:graphicFrameMkLst>
        </pc:graphicFrameChg>
        <pc:picChg chg="add mod">
          <ac:chgData name="EVELYNSM.YONG" userId="S::evelynsm.yong_gmail.com#ext#@risebcg.onmicrosoft.com::67a27a72-2420-4d38-b745-316a53f4b99a" providerId="AD" clId="Web-{DA0791EE-8C54-44FE-85AD-70117F2C2B72}" dt="2022-01-09T13:32:40.857" v="301" actId="1076"/>
          <ac:picMkLst>
            <pc:docMk/>
            <pc:sldMk cId="3391215681" sldId="339"/>
            <ac:picMk id="107" creationId="{02601E91-3DEE-4781-ACC9-2A3154DCC85D}"/>
          </ac:picMkLst>
        </pc:picChg>
        <pc:picChg chg="add mod">
          <ac:chgData name="EVELYNSM.YONG" userId="S::evelynsm.yong_gmail.com#ext#@risebcg.onmicrosoft.com::67a27a72-2420-4d38-b745-316a53f4b99a" providerId="AD" clId="Web-{DA0791EE-8C54-44FE-85AD-70117F2C2B72}" dt="2022-01-09T13:27:59.226" v="254" actId="1076"/>
          <ac:picMkLst>
            <pc:docMk/>
            <pc:sldMk cId="3391215681" sldId="339"/>
            <ac:picMk id="108" creationId="{590458A9-D7D6-4978-B569-22D281AE5CF2}"/>
          </ac:picMkLst>
        </pc:picChg>
        <pc:picChg chg="add mod">
          <ac:chgData name="EVELYNSM.YONG" userId="S::evelynsm.yong_gmail.com#ext#@risebcg.onmicrosoft.com::67a27a72-2420-4d38-b745-316a53f4b99a" providerId="AD" clId="Web-{DA0791EE-8C54-44FE-85AD-70117F2C2B72}" dt="2022-01-09T13:33:01.138" v="306" actId="1076"/>
          <ac:picMkLst>
            <pc:docMk/>
            <pc:sldMk cId="3391215681" sldId="339"/>
            <ac:picMk id="127" creationId="{50C2EFDE-AE92-48A3-8F2F-DEC4BC518951}"/>
          </ac:picMkLst>
        </pc:picChg>
        <pc:picChg chg="mod">
          <ac:chgData name="EVELYNSM.YONG" userId="S::evelynsm.yong_gmail.com#ext#@risebcg.onmicrosoft.com::67a27a72-2420-4d38-b745-316a53f4b99a" providerId="AD" clId="Web-{DA0791EE-8C54-44FE-85AD-70117F2C2B72}" dt="2022-01-09T13:32:20.278" v="296" actId="1076"/>
          <ac:picMkLst>
            <pc:docMk/>
            <pc:sldMk cId="3391215681" sldId="339"/>
            <ac:picMk id="248" creationId="{135B6FD8-8BD5-4DF6-A276-BDEEDFD924A2}"/>
          </ac:picMkLst>
        </pc:picChg>
        <pc:picChg chg="add del mod">
          <ac:chgData name="EVELYNSM.YONG" userId="S::evelynsm.yong_gmail.com#ext#@risebcg.onmicrosoft.com::67a27a72-2420-4d38-b745-316a53f4b99a" providerId="AD" clId="Web-{DA0791EE-8C54-44FE-85AD-70117F2C2B72}" dt="2022-01-09T14:14:57" v="722"/>
          <ac:picMkLst>
            <pc:docMk/>
            <pc:sldMk cId="3391215681" sldId="339"/>
            <ac:picMk id="1727" creationId="{4F4925B4-226E-4CE5-9A48-DF473BE5B5F7}"/>
          </ac:picMkLst>
        </pc:picChg>
        <pc:picChg chg="mod">
          <ac:chgData name="EVELYNSM.YONG" userId="S::evelynsm.yong_gmail.com#ext#@risebcg.onmicrosoft.com::67a27a72-2420-4d38-b745-316a53f4b99a" providerId="AD" clId="Web-{DA0791EE-8C54-44FE-85AD-70117F2C2B72}" dt="2022-01-09T13:23:26.283" v="210" actId="1076"/>
          <ac:picMkLst>
            <pc:docMk/>
            <pc:sldMk cId="3391215681" sldId="339"/>
            <ac:picMk id="3133" creationId="{01E138E9-826C-4F51-97A8-242CE7FFD6DC}"/>
          </ac:picMkLst>
        </pc:picChg>
      </pc:sldChg>
      <pc:sldChg chg="ord">
        <pc:chgData name="EVELYNSM.YONG" userId="S::evelynsm.yong_gmail.com#ext#@risebcg.onmicrosoft.com::67a27a72-2420-4d38-b745-316a53f4b99a" providerId="AD" clId="Web-{DA0791EE-8C54-44FE-85AD-70117F2C2B72}" dt="2022-01-09T09:06:01.318" v="157"/>
        <pc:sldMkLst>
          <pc:docMk/>
          <pc:sldMk cId="3971465157" sldId="345"/>
        </pc:sldMkLst>
      </pc:sldChg>
      <pc:sldChg chg="modSp ord">
        <pc:chgData name="EVELYNSM.YONG" userId="S::evelynsm.yong_gmail.com#ext#@risebcg.onmicrosoft.com::67a27a72-2420-4d38-b745-316a53f4b99a" providerId="AD" clId="Web-{DA0791EE-8C54-44FE-85AD-70117F2C2B72}" dt="2022-01-09T09:08:52.821" v="190" actId="20577"/>
        <pc:sldMkLst>
          <pc:docMk/>
          <pc:sldMk cId="2149037765" sldId="346"/>
        </pc:sldMkLst>
        <pc:spChg chg="mod">
          <ac:chgData name="EVELYNSM.YONG" userId="S::evelynsm.yong_gmail.com#ext#@risebcg.onmicrosoft.com::67a27a72-2420-4d38-b745-316a53f4b99a" providerId="AD" clId="Web-{DA0791EE-8C54-44FE-85AD-70117F2C2B72}" dt="2022-01-09T09:08:52.821" v="190" actId="20577"/>
          <ac:spMkLst>
            <pc:docMk/>
            <pc:sldMk cId="2149037765" sldId="346"/>
            <ac:spMk id="18" creationId="{4C8E7E93-D719-4D68-AF75-84A3D92DD60C}"/>
          </ac:spMkLst>
        </pc:spChg>
      </pc:sldChg>
      <pc:sldChg chg="ord">
        <pc:chgData name="EVELYNSM.YONG" userId="S::evelynsm.yong_gmail.com#ext#@risebcg.onmicrosoft.com::67a27a72-2420-4d38-b745-316a53f4b99a" providerId="AD" clId="Web-{DA0791EE-8C54-44FE-85AD-70117F2C2B72}" dt="2022-01-09T09:06:34.584" v="171"/>
        <pc:sldMkLst>
          <pc:docMk/>
          <pc:sldMk cId="426360798" sldId="347"/>
        </pc:sldMkLst>
      </pc:sldChg>
      <pc:sldChg chg="ord">
        <pc:chgData name="EVELYNSM.YONG" userId="S::evelynsm.yong_gmail.com#ext#@risebcg.onmicrosoft.com::67a27a72-2420-4d38-b745-316a53f4b99a" providerId="AD" clId="Web-{DA0791EE-8C54-44FE-85AD-70117F2C2B72}" dt="2022-01-09T09:06:40.772" v="174"/>
        <pc:sldMkLst>
          <pc:docMk/>
          <pc:sldMk cId="861222469" sldId="348"/>
        </pc:sldMkLst>
      </pc:sldChg>
      <pc:sldChg chg="ord">
        <pc:chgData name="EVELYNSM.YONG" userId="S::evelynsm.yong_gmail.com#ext#@risebcg.onmicrosoft.com::67a27a72-2420-4d38-b745-316a53f4b99a" providerId="AD" clId="Web-{DA0791EE-8C54-44FE-85AD-70117F2C2B72}" dt="2022-01-09T09:06:34.584" v="169"/>
        <pc:sldMkLst>
          <pc:docMk/>
          <pc:sldMk cId="2528704326" sldId="349"/>
        </pc:sldMkLst>
      </pc:sldChg>
      <pc:sldChg chg="ord">
        <pc:chgData name="EVELYNSM.YONG" userId="S::evelynsm.yong_gmail.com#ext#@risebcg.onmicrosoft.com::67a27a72-2420-4d38-b745-316a53f4b99a" providerId="AD" clId="Web-{DA0791EE-8C54-44FE-85AD-70117F2C2B72}" dt="2022-01-09T09:06:34.584" v="168"/>
        <pc:sldMkLst>
          <pc:docMk/>
          <pc:sldMk cId="3685283696" sldId="350"/>
        </pc:sldMkLst>
      </pc:sldChg>
      <pc:sldChg chg="ord">
        <pc:chgData name="EVELYNSM.YONG" userId="S::evelynsm.yong_gmail.com#ext#@risebcg.onmicrosoft.com::67a27a72-2420-4d38-b745-316a53f4b99a" providerId="AD" clId="Web-{DA0791EE-8C54-44FE-85AD-70117F2C2B72}" dt="2022-01-09T09:06:34.584" v="170"/>
        <pc:sldMkLst>
          <pc:docMk/>
          <pc:sldMk cId="1823296178" sldId="351"/>
        </pc:sldMkLst>
      </pc:sldChg>
      <pc:sldChg chg="modSp ord">
        <pc:chgData name="EVELYNSM.YONG" userId="S::evelynsm.yong_gmail.com#ext#@risebcg.onmicrosoft.com::67a27a72-2420-4d38-b745-316a53f4b99a" providerId="AD" clId="Web-{DA0791EE-8C54-44FE-85AD-70117F2C2B72}" dt="2022-01-09T09:07:17.835" v="177" actId="1076"/>
        <pc:sldMkLst>
          <pc:docMk/>
          <pc:sldMk cId="1602317283" sldId="352"/>
        </pc:sldMkLst>
        <pc:picChg chg="mod">
          <ac:chgData name="EVELYNSM.YONG" userId="S::evelynsm.yong_gmail.com#ext#@risebcg.onmicrosoft.com::67a27a72-2420-4d38-b745-316a53f4b99a" providerId="AD" clId="Web-{DA0791EE-8C54-44FE-85AD-70117F2C2B72}" dt="2022-01-09T09:07:16.523" v="176" actId="1076"/>
          <ac:picMkLst>
            <pc:docMk/>
            <pc:sldMk cId="1602317283" sldId="352"/>
            <ac:picMk id="3" creationId="{20B35CB3-36DD-49EE-954D-E122673D5070}"/>
          </ac:picMkLst>
        </pc:picChg>
        <pc:picChg chg="mod">
          <ac:chgData name="EVELYNSM.YONG" userId="S::evelynsm.yong_gmail.com#ext#@risebcg.onmicrosoft.com::67a27a72-2420-4d38-b745-316a53f4b99a" providerId="AD" clId="Web-{DA0791EE-8C54-44FE-85AD-70117F2C2B72}" dt="2022-01-09T09:07:17.835" v="177" actId="1076"/>
          <ac:picMkLst>
            <pc:docMk/>
            <pc:sldMk cId="1602317283" sldId="352"/>
            <ac:picMk id="4" creationId="{77A06809-46E8-4104-8CC2-39B3E44D4271}"/>
          </ac:picMkLst>
        </pc:picChg>
      </pc:sldChg>
      <pc:sldChg chg="ord">
        <pc:chgData name="EVELYNSM.YONG" userId="S::evelynsm.yong_gmail.com#ext#@risebcg.onmicrosoft.com::67a27a72-2420-4d38-b745-316a53f4b99a" providerId="AD" clId="Web-{DA0791EE-8C54-44FE-85AD-70117F2C2B72}" dt="2022-01-09T09:06:34.584" v="172"/>
        <pc:sldMkLst>
          <pc:docMk/>
          <pc:sldMk cId="1042141491" sldId="353"/>
        </pc:sldMkLst>
      </pc:sldChg>
      <pc:sldChg chg="modSp ord">
        <pc:chgData name="EVELYNSM.YONG" userId="S::evelynsm.yong_gmail.com#ext#@risebcg.onmicrosoft.com::67a27a72-2420-4d38-b745-316a53f4b99a" providerId="AD" clId="Web-{DA0791EE-8C54-44FE-85AD-70117F2C2B72}" dt="2022-01-09T09:07:38.679" v="180" actId="14100"/>
        <pc:sldMkLst>
          <pc:docMk/>
          <pc:sldMk cId="165658709" sldId="355"/>
        </pc:sldMkLst>
        <pc:spChg chg="mod">
          <ac:chgData name="EVELYNSM.YONG" userId="S::evelynsm.yong_gmail.com#ext#@risebcg.onmicrosoft.com::67a27a72-2420-4d38-b745-316a53f4b99a" providerId="AD" clId="Web-{DA0791EE-8C54-44FE-85AD-70117F2C2B72}" dt="2022-01-09T09:07:38.679" v="180" actId="14100"/>
          <ac:spMkLst>
            <pc:docMk/>
            <pc:sldMk cId="165658709" sldId="355"/>
            <ac:spMk id="25" creationId="{A72C66DB-3DFA-4DD0-BB16-94A4A31F5E94}"/>
          </ac:spMkLst>
        </pc:spChg>
        <pc:picChg chg="mod">
          <ac:chgData name="EVELYNSM.YONG" userId="S::evelynsm.yong_gmail.com#ext#@risebcg.onmicrosoft.com::67a27a72-2420-4d38-b745-316a53f4b99a" providerId="AD" clId="Web-{DA0791EE-8C54-44FE-85AD-70117F2C2B72}" dt="2022-01-09T09:07:35.289" v="179" actId="1076"/>
          <ac:picMkLst>
            <pc:docMk/>
            <pc:sldMk cId="165658709" sldId="355"/>
            <ac:picMk id="2" creationId="{BD070F67-C046-4FA4-BC49-57AF06A15A77}"/>
          </ac:picMkLst>
        </pc:picChg>
      </pc:sldChg>
      <pc:sldChg chg="ord">
        <pc:chgData name="EVELYNSM.YONG" userId="S::evelynsm.yong_gmail.com#ext#@risebcg.onmicrosoft.com::67a27a72-2420-4d38-b745-316a53f4b99a" providerId="AD" clId="Web-{DA0791EE-8C54-44FE-85AD-70117F2C2B72}" dt="2022-01-09T09:06:01.318" v="154"/>
        <pc:sldMkLst>
          <pc:docMk/>
          <pc:sldMk cId="744992136" sldId="357"/>
        </pc:sldMkLst>
      </pc:sldChg>
      <pc:sldChg chg="addSp delSp modSp">
        <pc:chgData name="EVELYNSM.YONG" userId="S::evelynsm.yong_gmail.com#ext#@risebcg.onmicrosoft.com::67a27a72-2420-4d38-b745-316a53f4b99a" providerId="AD" clId="Web-{DA0791EE-8C54-44FE-85AD-70117F2C2B72}" dt="2022-01-09T15:02:07.421" v="1542" actId="14100"/>
        <pc:sldMkLst>
          <pc:docMk/>
          <pc:sldMk cId="1894441827" sldId="358"/>
        </pc:sldMkLst>
        <pc:spChg chg="mod">
          <ac:chgData name="EVELYNSM.YONG" userId="S::evelynsm.yong_gmail.com#ext#@risebcg.onmicrosoft.com::67a27a72-2420-4d38-b745-316a53f4b99a" providerId="AD" clId="Web-{DA0791EE-8C54-44FE-85AD-70117F2C2B72}" dt="2022-01-09T09:00:39.905" v="80" actId="20577"/>
          <ac:spMkLst>
            <pc:docMk/>
            <pc:sldMk cId="1894441827" sldId="358"/>
            <ac:spMk id="3" creationId="{2321500F-B116-49E9-B713-1C89E59A92D6}"/>
          </ac:spMkLst>
        </pc:spChg>
        <pc:spChg chg="add del mod">
          <ac:chgData name="EVELYNSM.YONG" userId="S::evelynsm.yong_gmail.com#ext#@risebcg.onmicrosoft.com::67a27a72-2420-4d38-b745-316a53f4b99a" providerId="AD" clId="Web-{DA0791EE-8C54-44FE-85AD-70117F2C2B72}" dt="2022-01-09T09:01:55.906" v="93"/>
          <ac:spMkLst>
            <pc:docMk/>
            <pc:sldMk cId="1894441827" sldId="358"/>
            <ac:spMk id="9" creationId="{A2FA16AE-9345-4069-A7A3-8018B64BA3F5}"/>
          </ac:spMkLst>
        </pc:spChg>
        <pc:spChg chg="mod">
          <ac:chgData name="EVELYNSM.YONG" userId="S::evelynsm.yong_gmail.com#ext#@risebcg.onmicrosoft.com::67a27a72-2420-4d38-b745-316a53f4b99a" providerId="AD" clId="Web-{DA0791EE-8C54-44FE-85AD-70117F2C2B72}" dt="2022-01-09T09:00:55.608" v="85" actId="1076"/>
          <ac:spMkLst>
            <pc:docMk/>
            <pc:sldMk cId="1894441827" sldId="358"/>
            <ac:spMk id="10" creationId="{42FB9C20-3D6F-40FF-ABFC-89E5858742B1}"/>
          </ac:spMkLst>
        </pc:spChg>
        <pc:spChg chg="mod">
          <ac:chgData name="EVELYNSM.YONG" userId="S::evelynsm.yong_gmail.com#ext#@risebcg.onmicrosoft.com::67a27a72-2420-4d38-b745-316a53f4b99a" providerId="AD" clId="Web-{DA0791EE-8C54-44FE-85AD-70117F2C2B72}" dt="2022-01-09T09:00:48.124" v="83" actId="1076"/>
          <ac:spMkLst>
            <pc:docMk/>
            <pc:sldMk cId="1894441827" sldId="358"/>
            <ac:spMk id="12" creationId="{95E46411-4A0C-41AA-9250-790D71323EA7}"/>
          </ac:spMkLst>
        </pc:spChg>
        <pc:spChg chg="add mod">
          <ac:chgData name="EVELYNSM.YONG" userId="S::evelynsm.yong_gmail.com#ext#@risebcg.onmicrosoft.com::67a27a72-2420-4d38-b745-316a53f4b99a" providerId="AD" clId="Web-{DA0791EE-8C54-44FE-85AD-70117F2C2B72}" dt="2022-01-09T15:02:07.421" v="1542" actId="14100"/>
          <ac:spMkLst>
            <pc:docMk/>
            <pc:sldMk cId="1894441827" sldId="358"/>
            <ac:spMk id="15" creationId="{66ACABA1-7700-449A-A7C2-2D4C94CED2C7}"/>
          </ac:spMkLst>
        </pc:spChg>
        <pc:spChg chg="add del mod">
          <ac:chgData name="EVELYNSM.YONG" userId="S::evelynsm.yong_gmail.com#ext#@risebcg.onmicrosoft.com::67a27a72-2420-4d38-b745-316a53f4b99a" providerId="AD" clId="Web-{DA0791EE-8C54-44FE-85AD-70117F2C2B72}" dt="2022-01-09T08:59:38.404" v="61"/>
          <ac:spMkLst>
            <pc:docMk/>
            <pc:sldMk cId="1894441827" sldId="358"/>
            <ac:spMk id="16" creationId="{6F7C634F-B1DE-4A85-9321-B939E0949224}"/>
          </ac:spMkLst>
        </pc:spChg>
        <pc:spChg chg="del mod">
          <ac:chgData name="EVELYNSM.YONG" userId="S::evelynsm.yong_gmail.com#ext#@risebcg.onmicrosoft.com::67a27a72-2420-4d38-b745-316a53f4b99a" providerId="AD" clId="Web-{DA0791EE-8C54-44FE-85AD-70117F2C2B72}" dt="2022-01-09T08:59:51.185" v="67"/>
          <ac:spMkLst>
            <pc:docMk/>
            <pc:sldMk cId="1894441827" sldId="358"/>
            <ac:spMk id="17" creationId="{815F3179-193A-4F5E-A1A9-12297C608458}"/>
          </ac:spMkLst>
        </pc:spChg>
        <pc:picChg chg="mod modCrop">
          <ac:chgData name="EVELYNSM.YONG" userId="S::evelynsm.yong_gmail.com#ext#@risebcg.onmicrosoft.com::67a27a72-2420-4d38-b745-316a53f4b99a" providerId="AD" clId="Web-{DA0791EE-8C54-44FE-85AD-70117F2C2B72}" dt="2022-01-09T09:00:58.905" v="86" actId="1076"/>
          <ac:picMkLst>
            <pc:docMk/>
            <pc:sldMk cId="1894441827" sldId="358"/>
            <ac:picMk id="4" creationId="{BA22EAA2-4B47-4688-9DD6-1B3E79191AAF}"/>
          </ac:picMkLst>
        </pc:picChg>
        <pc:picChg chg="del mod">
          <ac:chgData name="EVELYNSM.YONG" userId="S::evelynsm.yong_gmail.com#ext#@risebcg.onmicrosoft.com::67a27a72-2420-4d38-b745-316a53f4b99a" providerId="AD" clId="Web-{DA0791EE-8C54-44FE-85AD-70117F2C2B72}" dt="2022-01-09T08:57:57.980" v="35"/>
          <ac:picMkLst>
            <pc:docMk/>
            <pc:sldMk cId="1894441827" sldId="358"/>
            <ac:picMk id="6" creationId="{5F5024CD-EB7B-49D0-9E4B-B6BFDC4F5683}"/>
          </ac:picMkLst>
        </pc:picChg>
        <pc:picChg chg="mod">
          <ac:chgData name="EVELYNSM.YONG" userId="S::evelynsm.yong_gmail.com#ext#@risebcg.onmicrosoft.com::67a27a72-2420-4d38-b745-316a53f4b99a" providerId="AD" clId="Web-{DA0791EE-8C54-44FE-85AD-70117F2C2B72}" dt="2022-01-09T09:00:45.467" v="82" actId="1076"/>
          <ac:picMkLst>
            <pc:docMk/>
            <pc:sldMk cId="1894441827" sldId="358"/>
            <ac:picMk id="8" creationId="{80090A9D-A882-4EB8-927C-696FEDD289AC}"/>
          </ac:picMkLst>
        </pc:picChg>
        <pc:picChg chg="mod">
          <ac:chgData name="EVELYNSM.YONG" userId="S::evelynsm.yong_gmail.com#ext#@risebcg.onmicrosoft.com::67a27a72-2420-4d38-b745-316a53f4b99a" providerId="AD" clId="Web-{DA0791EE-8C54-44FE-85AD-70117F2C2B72}" dt="2022-01-09T09:00:54.061" v="84" actId="14100"/>
          <ac:picMkLst>
            <pc:docMk/>
            <pc:sldMk cId="1894441827" sldId="358"/>
            <ac:picMk id="11" creationId="{BCAB455B-1F72-43F9-AE57-6EC5913938BF}"/>
          </ac:picMkLst>
        </pc:picChg>
        <pc:cxnChg chg="del">
          <ac:chgData name="EVELYNSM.YONG" userId="S::evelynsm.yong_gmail.com#ext#@risebcg.onmicrosoft.com::67a27a72-2420-4d38-b745-316a53f4b99a" providerId="AD" clId="Web-{DA0791EE-8C54-44FE-85AD-70117F2C2B72}" dt="2022-01-09T08:57:26.604" v="24"/>
          <ac:cxnSpMkLst>
            <pc:docMk/>
            <pc:sldMk cId="1894441827" sldId="358"/>
            <ac:cxnSpMk id="5" creationId="{7650244C-E06B-41BA-A77C-2D20639EA927}"/>
          </ac:cxnSpMkLst>
        </pc:cxnChg>
        <pc:cxnChg chg="add del mod">
          <ac:chgData name="EVELYNSM.YONG" userId="S::evelynsm.yong_gmail.com#ext#@risebcg.onmicrosoft.com::67a27a72-2420-4d38-b745-316a53f4b99a" providerId="AD" clId="Web-{DA0791EE-8C54-44FE-85AD-70117F2C2B72}" dt="2022-01-09T09:00:35.186" v="79"/>
          <ac:cxnSpMkLst>
            <pc:docMk/>
            <pc:sldMk cId="1894441827" sldId="358"/>
            <ac:cxnSpMk id="7" creationId="{9A85CAF8-A943-4C32-92EF-7C57255D5E3E}"/>
          </ac:cxnSpMkLst>
        </pc:cxnChg>
      </pc:sldChg>
      <pc:sldChg chg="ord">
        <pc:chgData name="EVELYNSM.YONG" userId="S::evelynsm.yong_gmail.com#ext#@risebcg.onmicrosoft.com::67a27a72-2420-4d38-b745-316a53f4b99a" providerId="AD" clId="Web-{DA0791EE-8C54-44FE-85AD-70117F2C2B72}" dt="2022-01-09T09:06:15.928" v="159"/>
        <pc:sldMkLst>
          <pc:docMk/>
          <pc:sldMk cId="1365250593" sldId="359"/>
        </pc:sldMkLst>
      </pc:sldChg>
      <pc:sldChg chg="delSp modSp modNotes">
        <pc:chgData name="EVELYNSM.YONG" userId="S::evelynsm.yong_gmail.com#ext#@risebcg.onmicrosoft.com::67a27a72-2420-4d38-b745-316a53f4b99a" providerId="AD" clId="Web-{DA0791EE-8C54-44FE-85AD-70117F2C2B72}" dt="2022-01-09T15:51:39.464" v="2787"/>
        <pc:sldMkLst>
          <pc:docMk/>
          <pc:sldMk cId="3531645893" sldId="360"/>
        </pc:sldMkLst>
        <pc:spChg chg="mod">
          <ac:chgData name="EVELYNSM.YONG" userId="S::evelynsm.yong_gmail.com#ext#@risebcg.onmicrosoft.com::67a27a72-2420-4d38-b745-316a53f4b99a" providerId="AD" clId="Web-{DA0791EE-8C54-44FE-85AD-70117F2C2B72}" dt="2022-01-09T13:31:10.152" v="289"/>
          <ac:spMkLst>
            <pc:docMk/>
            <pc:sldMk cId="3531645893" sldId="360"/>
            <ac:spMk id="9" creationId="{E3C0B427-9E9D-47EC-AFD8-3D8F22D59FE9}"/>
          </ac:spMkLst>
        </pc:spChg>
        <pc:spChg chg="mod">
          <ac:chgData name="EVELYNSM.YONG" userId="S::evelynsm.yong_gmail.com#ext#@risebcg.onmicrosoft.com::67a27a72-2420-4d38-b745-316a53f4b99a" providerId="AD" clId="Web-{DA0791EE-8C54-44FE-85AD-70117F2C2B72}" dt="2022-01-09T15:37:22.447" v="2498" actId="1076"/>
          <ac:spMkLst>
            <pc:docMk/>
            <pc:sldMk cId="3531645893" sldId="360"/>
            <ac:spMk id="20" creationId="{64A6A166-6CE6-41F0-99B2-FC47AF50CD6C}"/>
          </ac:spMkLst>
        </pc:spChg>
        <pc:spChg chg="mod">
          <ac:chgData name="EVELYNSM.YONG" userId="S::evelynsm.yong_gmail.com#ext#@risebcg.onmicrosoft.com::67a27a72-2420-4d38-b745-316a53f4b99a" providerId="AD" clId="Web-{DA0791EE-8C54-44FE-85AD-70117F2C2B72}" dt="2022-01-09T15:37:32.369" v="2501" actId="1076"/>
          <ac:spMkLst>
            <pc:docMk/>
            <pc:sldMk cId="3531645893" sldId="360"/>
            <ac:spMk id="22" creationId="{31E2D2F4-E28C-4B52-9C47-E50AD68240D1}"/>
          </ac:spMkLst>
        </pc:spChg>
        <pc:spChg chg="mod">
          <ac:chgData name="EVELYNSM.YONG" userId="S::evelynsm.yong_gmail.com#ext#@risebcg.onmicrosoft.com::67a27a72-2420-4d38-b745-316a53f4b99a" providerId="AD" clId="Web-{DA0791EE-8C54-44FE-85AD-70117F2C2B72}" dt="2022-01-09T15:37:30.072" v="2500" actId="1076"/>
          <ac:spMkLst>
            <pc:docMk/>
            <pc:sldMk cId="3531645893" sldId="360"/>
            <ac:spMk id="23" creationId="{2E06316D-D669-4187-8235-1A4EE0D9868B}"/>
          </ac:spMkLst>
        </pc:spChg>
        <pc:spChg chg="mod">
          <ac:chgData name="EVELYNSM.YONG" userId="S::evelynsm.yong_gmail.com#ext#@risebcg.onmicrosoft.com::67a27a72-2420-4d38-b745-316a53f4b99a" providerId="AD" clId="Web-{DA0791EE-8C54-44FE-85AD-70117F2C2B72}" dt="2022-01-09T15:37:34.416" v="2502" actId="1076"/>
          <ac:spMkLst>
            <pc:docMk/>
            <pc:sldMk cId="3531645893" sldId="360"/>
            <ac:spMk id="24" creationId="{CEFC4E90-FB9D-4E3E-86B1-5712D705BC99}"/>
          </ac:spMkLst>
        </pc:spChg>
        <pc:spChg chg="del">
          <ac:chgData name="EVELYNSM.YONG" userId="S::evelynsm.yong_gmail.com#ext#@risebcg.onmicrosoft.com::67a27a72-2420-4d38-b745-316a53f4b99a" providerId="AD" clId="Web-{DA0791EE-8C54-44FE-85AD-70117F2C2B72}" dt="2022-01-09T15:33:16.786" v="2302"/>
          <ac:spMkLst>
            <pc:docMk/>
            <pc:sldMk cId="3531645893" sldId="360"/>
            <ac:spMk id="38" creationId="{FEF91957-B410-48E7-A904-8D71259BC55D}"/>
          </ac:spMkLst>
        </pc:spChg>
        <pc:spChg chg="del">
          <ac:chgData name="EVELYNSM.YONG" userId="S::evelynsm.yong_gmail.com#ext#@risebcg.onmicrosoft.com::67a27a72-2420-4d38-b745-316a53f4b99a" providerId="AD" clId="Web-{DA0791EE-8C54-44FE-85AD-70117F2C2B72}" dt="2022-01-09T13:20:58.015" v="206"/>
          <ac:spMkLst>
            <pc:docMk/>
            <pc:sldMk cId="3531645893" sldId="360"/>
            <ac:spMk id="39" creationId="{42DA18B2-FE72-46C2-A8F6-3AEF6644F2B4}"/>
          </ac:spMkLst>
        </pc:spChg>
      </pc:sldChg>
    </pc:docChg>
  </pc:docChgLst>
  <pc:docChgLst>
    <pc:chgData name="wei yuan" userId="S::pwy_92_hotmail.com#ext#@risebcg.onmicrosoft.com::ca38e7f8-9ace-4d94-b37a-86e65e91f2b0" providerId="AD" clId="Web-{819C4CA1-6F1E-40FB-B176-D0B36B393917}"/>
    <pc:docChg chg="modSld">
      <pc:chgData name="wei yuan" userId="S::pwy_92_hotmail.com#ext#@risebcg.onmicrosoft.com::ca38e7f8-9ace-4d94-b37a-86e65e91f2b0" providerId="AD" clId="Web-{819C4CA1-6F1E-40FB-B176-D0B36B393917}" dt="2022-01-08T12:35:43.368" v="714" actId="20577"/>
      <pc:docMkLst>
        <pc:docMk/>
      </pc:docMkLst>
      <pc:sldChg chg="addSp delSp modSp">
        <pc:chgData name="wei yuan" userId="S::pwy_92_hotmail.com#ext#@risebcg.onmicrosoft.com::ca38e7f8-9ace-4d94-b37a-86e65e91f2b0" providerId="AD" clId="Web-{819C4CA1-6F1E-40FB-B176-D0B36B393917}" dt="2022-01-08T12:35:43.368" v="714" actId="20577"/>
        <pc:sldMkLst>
          <pc:docMk/>
          <pc:sldMk cId="2316358039" sldId="325"/>
        </pc:sldMkLst>
        <pc:spChg chg="mod">
          <ac:chgData name="wei yuan" userId="S::pwy_92_hotmail.com#ext#@risebcg.onmicrosoft.com::ca38e7f8-9ace-4d94-b37a-86e65e91f2b0" providerId="AD" clId="Web-{819C4CA1-6F1E-40FB-B176-D0B36B393917}" dt="2022-01-08T12:35:43.368" v="714" actId="20577"/>
          <ac:spMkLst>
            <pc:docMk/>
            <pc:sldMk cId="2316358039" sldId="325"/>
            <ac:spMk id="9" creationId="{CE26EE87-2792-4EC3-8D5C-A7F50F434726}"/>
          </ac:spMkLst>
        </pc:spChg>
        <pc:spChg chg="add mod">
          <ac:chgData name="wei yuan" userId="S::pwy_92_hotmail.com#ext#@risebcg.onmicrosoft.com::ca38e7f8-9ace-4d94-b37a-86e65e91f2b0" providerId="AD" clId="Web-{819C4CA1-6F1E-40FB-B176-D0B36B393917}" dt="2022-01-08T12:35:19.336" v="708" actId="1076"/>
          <ac:spMkLst>
            <pc:docMk/>
            <pc:sldMk cId="2316358039" sldId="325"/>
            <ac:spMk id="11" creationId="{2EFF56F4-3D9E-4EE7-83BA-042A94F63CC3}"/>
          </ac:spMkLst>
        </pc:spChg>
        <pc:spChg chg="mod">
          <ac:chgData name="wei yuan" userId="S::pwy_92_hotmail.com#ext#@risebcg.onmicrosoft.com::ca38e7f8-9ace-4d94-b37a-86e65e91f2b0" providerId="AD" clId="Web-{819C4CA1-6F1E-40FB-B176-D0B36B393917}" dt="2022-01-08T12:35:16.555" v="707" actId="20577"/>
          <ac:spMkLst>
            <pc:docMk/>
            <pc:sldMk cId="2316358039" sldId="325"/>
            <ac:spMk id="21" creationId="{E9143E79-0358-464A-ACC6-31293226C369}"/>
          </ac:spMkLst>
        </pc:spChg>
        <pc:picChg chg="add del mod">
          <ac:chgData name="wei yuan" userId="S::pwy_92_hotmail.com#ext#@risebcg.onmicrosoft.com::ca38e7f8-9ace-4d94-b37a-86e65e91f2b0" providerId="AD" clId="Web-{819C4CA1-6F1E-40FB-B176-D0B36B393917}" dt="2022-01-08T12:30:14.659" v="362"/>
          <ac:picMkLst>
            <pc:docMk/>
            <pc:sldMk cId="2316358039" sldId="325"/>
            <ac:picMk id="4" creationId="{1EE6AA77-FDB0-48D1-BC00-D3BEA9A54F91}"/>
          </ac:picMkLst>
        </pc:picChg>
      </pc:sldChg>
      <pc:sldChg chg="addSp modSp">
        <pc:chgData name="wei yuan" userId="S::pwy_92_hotmail.com#ext#@risebcg.onmicrosoft.com::ca38e7f8-9ace-4d94-b37a-86e65e91f2b0" providerId="AD" clId="Web-{819C4CA1-6F1E-40FB-B176-D0B36B393917}" dt="2022-01-08T12:26:08.217" v="358" actId="20577"/>
        <pc:sldMkLst>
          <pc:docMk/>
          <pc:sldMk cId="2160415509" sldId="326"/>
        </pc:sldMkLst>
        <pc:spChg chg="mod">
          <ac:chgData name="wei yuan" userId="S::pwy_92_hotmail.com#ext#@risebcg.onmicrosoft.com::ca38e7f8-9ace-4d94-b37a-86e65e91f2b0" providerId="AD" clId="Web-{819C4CA1-6F1E-40FB-B176-D0B36B393917}" dt="2022-01-08T12:26:08.217" v="358" actId="20577"/>
          <ac:spMkLst>
            <pc:docMk/>
            <pc:sldMk cId="2160415509" sldId="326"/>
            <ac:spMk id="4" creationId="{215644EC-E1A2-4B5F-BA53-79EB189605EC}"/>
          </ac:spMkLst>
        </pc:spChg>
        <pc:picChg chg="add mod">
          <ac:chgData name="wei yuan" userId="S::pwy_92_hotmail.com#ext#@risebcg.onmicrosoft.com::ca38e7f8-9ace-4d94-b37a-86e65e91f2b0" providerId="AD" clId="Web-{819C4CA1-6F1E-40FB-B176-D0B36B393917}" dt="2022-01-08T12:08:05.289" v="4" actId="1076"/>
          <ac:picMkLst>
            <pc:docMk/>
            <pc:sldMk cId="2160415509" sldId="326"/>
            <ac:picMk id="5" creationId="{8D9C3E5E-0B98-4B88-BFAE-486A9BD232FA}"/>
          </ac:picMkLst>
        </pc:picChg>
      </pc:sldChg>
    </pc:docChg>
  </pc:docChgLst>
  <pc:docChgLst>
    <pc:chgData name="WESLEY.TBW" userId="S::wesley.tbw_gmail.com#ext#@risebcg.onmicrosoft.com::1034df62-ee6d-4b2f-8a56-03c4406a0a8a" providerId="AD" clId="Web-{3B0288CD-6438-43D8-A754-2C00C1097321}"/>
    <pc:docChg chg="modSld">
      <pc:chgData name="WESLEY.TBW" userId="S::wesley.tbw_gmail.com#ext#@risebcg.onmicrosoft.com::1034df62-ee6d-4b2f-8a56-03c4406a0a8a" providerId="AD" clId="Web-{3B0288CD-6438-43D8-A754-2C00C1097321}" dt="2022-01-08T09:20:41.361" v="92" actId="1076"/>
      <pc:docMkLst>
        <pc:docMk/>
      </pc:docMkLst>
      <pc:sldChg chg="addSp delSp modSp">
        <pc:chgData name="WESLEY.TBW" userId="S::wesley.tbw_gmail.com#ext#@risebcg.onmicrosoft.com::1034df62-ee6d-4b2f-8a56-03c4406a0a8a" providerId="AD" clId="Web-{3B0288CD-6438-43D8-A754-2C00C1097321}" dt="2022-01-08T09:20:41.361" v="92" actId="1076"/>
        <pc:sldMkLst>
          <pc:docMk/>
          <pc:sldMk cId="4084366951" sldId="318"/>
        </pc:sldMkLst>
        <pc:spChg chg="mod">
          <ac:chgData name="WESLEY.TBW" userId="S::wesley.tbw_gmail.com#ext#@risebcg.onmicrosoft.com::1034df62-ee6d-4b2f-8a56-03c4406a0a8a" providerId="AD" clId="Web-{3B0288CD-6438-43D8-A754-2C00C1097321}" dt="2022-01-08T09:00:12.256" v="20" actId="14100"/>
          <ac:spMkLst>
            <pc:docMk/>
            <pc:sldMk cId="4084366951" sldId="318"/>
            <ac:spMk id="2" creationId="{1CAEE4F4-60D4-46CA-A79F-1CD22235EEA0}"/>
          </ac:spMkLst>
        </pc:spChg>
        <pc:spChg chg="del">
          <ac:chgData name="WESLEY.TBW" userId="S::wesley.tbw_gmail.com#ext#@risebcg.onmicrosoft.com::1034df62-ee6d-4b2f-8a56-03c4406a0a8a" providerId="AD" clId="Web-{3B0288CD-6438-43D8-A754-2C00C1097321}" dt="2022-01-08T09:00:20.365" v="23"/>
          <ac:spMkLst>
            <pc:docMk/>
            <pc:sldMk cId="4084366951" sldId="318"/>
            <ac:spMk id="5" creationId="{78DD61BE-D1D7-401B-B576-C4CC8A01AA78}"/>
          </ac:spMkLst>
        </pc:spChg>
        <pc:spChg chg="add mod">
          <ac:chgData name="WESLEY.TBW" userId="S::wesley.tbw_gmail.com#ext#@risebcg.onmicrosoft.com::1034df62-ee6d-4b2f-8a56-03c4406a0a8a" providerId="AD" clId="Web-{3B0288CD-6438-43D8-A754-2C00C1097321}" dt="2022-01-08T09:00:33.272" v="33" actId="1076"/>
          <ac:spMkLst>
            <pc:docMk/>
            <pc:sldMk cId="4084366951" sldId="318"/>
            <ac:spMk id="7" creationId="{B3BF61C1-43C3-4800-B5DD-5D8A55C1B3E9}"/>
          </ac:spMkLst>
        </pc:spChg>
        <pc:spChg chg="add mod">
          <ac:chgData name="WESLEY.TBW" userId="S::wesley.tbw_gmail.com#ext#@risebcg.onmicrosoft.com::1034df62-ee6d-4b2f-8a56-03c4406a0a8a" providerId="AD" clId="Web-{3B0288CD-6438-43D8-A754-2C00C1097321}" dt="2022-01-08T09:00:47.132" v="40" actId="1076"/>
          <ac:spMkLst>
            <pc:docMk/>
            <pc:sldMk cId="4084366951" sldId="318"/>
            <ac:spMk id="8" creationId="{B4102324-67C0-4946-A006-7D0AB358D531}"/>
          </ac:spMkLst>
        </pc:spChg>
        <pc:spChg chg="add mod">
          <ac:chgData name="WESLEY.TBW" userId="S::wesley.tbw_gmail.com#ext#@risebcg.onmicrosoft.com::1034df62-ee6d-4b2f-8a56-03c4406a0a8a" providerId="AD" clId="Web-{3B0288CD-6438-43D8-A754-2C00C1097321}" dt="2022-01-08T09:20:38.564" v="90" actId="1076"/>
          <ac:spMkLst>
            <pc:docMk/>
            <pc:sldMk cId="4084366951" sldId="318"/>
            <ac:spMk id="19" creationId="{40F287F0-B118-4CB9-ACBF-1E5B0A5817A5}"/>
          </ac:spMkLst>
        </pc:spChg>
        <pc:spChg chg="add mod">
          <ac:chgData name="WESLEY.TBW" userId="S::wesley.tbw_gmail.com#ext#@risebcg.onmicrosoft.com::1034df62-ee6d-4b2f-8a56-03c4406a0a8a" providerId="AD" clId="Web-{3B0288CD-6438-43D8-A754-2C00C1097321}" dt="2022-01-08T09:20:41.361" v="92" actId="1076"/>
          <ac:spMkLst>
            <pc:docMk/>
            <pc:sldMk cId="4084366951" sldId="318"/>
            <ac:spMk id="20" creationId="{FD3BCB8E-6B17-4F0A-A7A8-AA17BE71B8A2}"/>
          </ac:spMkLst>
        </pc:spChg>
        <pc:picChg chg="add mod">
          <ac:chgData name="WESLEY.TBW" userId="S::wesley.tbw_gmail.com#ext#@risebcg.onmicrosoft.com::1034df62-ee6d-4b2f-8a56-03c4406a0a8a" providerId="AD" clId="Web-{3B0288CD-6438-43D8-A754-2C00C1097321}" dt="2022-01-08T09:00:49.600" v="41" actId="1076"/>
          <ac:picMkLst>
            <pc:docMk/>
            <pc:sldMk cId="4084366951" sldId="318"/>
            <ac:picMk id="3" creationId="{4EA9D4D3-D6BE-4DD3-A185-A6287A9302E7}"/>
          </ac:picMkLst>
        </pc:picChg>
        <pc:picChg chg="del mod">
          <ac:chgData name="WESLEY.TBW" userId="S::wesley.tbw_gmail.com#ext#@risebcg.onmicrosoft.com::1034df62-ee6d-4b2f-8a56-03c4406a0a8a" providerId="AD" clId="Web-{3B0288CD-6438-43D8-A754-2C00C1097321}" dt="2022-01-08T08:58:58.285" v="1"/>
          <ac:picMkLst>
            <pc:docMk/>
            <pc:sldMk cId="4084366951" sldId="318"/>
            <ac:picMk id="4" creationId="{E637BE80-4027-4B69-9D4B-56D59ADC9A3A}"/>
          </ac:picMkLst>
        </pc:picChg>
        <pc:picChg chg="add mod modCrop">
          <ac:chgData name="WESLEY.TBW" userId="S::wesley.tbw_gmail.com#ext#@risebcg.onmicrosoft.com::1034df62-ee6d-4b2f-8a56-03c4406a0a8a" providerId="AD" clId="Web-{3B0288CD-6438-43D8-A754-2C00C1097321}" dt="2022-01-08T09:19:17.156" v="77" actId="14100"/>
          <ac:picMkLst>
            <pc:docMk/>
            <pc:sldMk cId="4084366951" sldId="318"/>
            <ac:picMk id="9" creationId="{329F3741-BB5B-4CA9-80DC-60382768BE40}"/>
          </ac:picMkLst>
        </pc:picChg>
        <pc:picChg chg="add mod">
          <ac:chgData name="WESLEY.TBW" userId="S::wesley.tbw_gmail.com#ext#@risebcg.onmicrosoft.com::1034df62-ee6d-4b2f-8a56-03c4406a0a8a" providerId="AD" clId="Web-{3B0288CD-6438-43D8-A754-2C00C1097321}" dt="2022-01-08T09:02:06.868" v="50" actId="1076"/>
          <ac:picMkLst>
            <pc:docMk/>
            <pc:sldMk cId="4084366951" sldId="318"/>
            <ac:picMk id="11" creationId="{079CE0C2-D9FF-4DFE-967B-E9EFC7681473}"/>
          </ac:picMkLst>
        </pc:picChg>
        <pc:picChg chg="add mod modCrop">
          <ac:chgData name="WESLEY.TBW" userId="S::wesley.tbw_gmail.com#ext#@risebcg.onmicrosoft.com::1034df62-ee6d-4b2f-8a56-03c4406a0a8a" providerId="AD" clId="Web-{3B0288CD-6438-43D8-A754-2C00C1097321}" dt="2022-01-08T09:15:37.229" v="70" actId="1076"/>
          <ac:picMkLst>
            <pc:docMk/>
            <pc:sldMk cId="4084366951" sldId="318"/>
            <ac:picMk id="16" creationId="{D69CAFA9-4C9E-4C9D-8063-6AB7F66A7981}"/>
          </ac:picMkLst>
        </pc:picChg>
        <pc:picChg chg="add mod">
          <ac:chgData name="WESLEY.TBW" userId="S::wesley.tbw_gmail.com#ext#@risebcg.onmicrosoft.com::1034df62-ee6d-4b2f-8a56-03c4406a0a8a" providerId="AD" clId="Web-{3B0288CD-6438-43D8-A754-2C00C1097321}" dt="2022-01-08T09:14:12.884" v="59" actId="14100"/>
          <ac:picMkLst>
            <pc:docMk/>
            <pc:sldMk cId="4084366951" sldId="318"/>
            <ac:picMk id="17" creationId="{C02E3874-4ED2-4407-929C-4049D332C643}"/>
          </ac:picMkLst>
        </pc:picChg>
        <pc:picChg chg="add mod">
          <ac:chgData name="WESLEY.TBW" userId="S::wesley.tbw_gmail.com#ext#@risebcg.onmicrosoft.com::1034df62-ee6d-4b2f-8a56-03c4406a0a8a" providerId="AD" clId="Web-{3B0288CD-6438-43D8-A754-2C00C1097321}" dt="2022-01-08T09:19:33.234" v="80" actId="14100"/>
          <ac:picMkLst>
            <pc:docMk/>
            <pc:sldMk cId="4084366951" sldId="318"/>
            <ac:picMk id="18" creationId="{01844450-929B-4C6F-8685-6FF3118F02E2}"/>
          </ac:picMkLst>
        </pc:picChg>
      </pc:sldChg>
    </pc:docChg>
  </pc:docChgLst>
  <pc:docChgLst>
    <pc:chgData name="WESLEY.TBW" userId="S::wesley.tbw_gmail.com#ext#@risebcg.onmicrosoft.com::1034df62-ee6d-4b2f-8a56-03c4406a0a8a" providerId="AD" clId="Web-{0781AC2C-9B4D-48D3-8DAF-7A5A21AEF7CE}"/>
    <pc:docChg chg="addSld delSld modSld sldOrd">
      <pc:chgData name="WESLEY.TBW" userId="S::wesley.tbw_gmail.com#ext#@risebcg.onmicrosoft.com::1034df62-ee6d-4b2f-8a56-03c4406a0a8a" providerId="AD" clId="Web-{0781AC2C-9B4D-48D3-8DAF-7A5A21AEF7CE}" dt="2022-01-08T16:24:48.142" v="1955"/>
      <pc:docMkLst>
        <pc:docMk/>
      </pc:docMkLst>
      <pc:sldChg chg="addSp delSp modSp modNotes">
        <pc:chgData name="WESLEY.TBW" userId="S::wesley.tbw_gmail.com#ext#@risebcg.onmicrosoft.com::1034df62-ee6d-4b2f-8a56-03c4406a0a8a" providerId="AD" clId="Web-{0781AC2C-9B4D-48D3-8DAF-7A5A21AEF7CE}" dt="2022-01-08T15:52:30.964" v="1809"/>
        <pc:sldMkLst>
          <pc:docMk/>
          <pc:sldMk cId="2256265757" sldId="315"/>
        </pc:sldMkLst>
        <pc:spChg chg="add del">
          <ac:chgData name="WESLEY.TBW" userId="S::wesley.tbw_gmail.com#ext#@risebcg.onmicrosoft.com::1034df62-ee6d-4b2f-8a56-03c4406a0a8a" providerId="AD" clId="Web-{0781AC2C-9B4D-48D3-8DAF-7A5A21AEF7CE}" dt="2022-01-08T15:11:38.948" v="1315"/>
          <ac:spMkLst>
            <pc:docMk/>
            <pc:sldMk cId="2256265757" sldId="315"/>
            <ac:spMk id="307" creationId="{E00E73AA-F824-41AB-B027-8124E5A10950}"/>
          </ac:spMkLst>
        </pc:spChg>
        <pc:spChg chg="add del">
          <ac:chgData name="WESLEY.TBW" userId="S::wesley.tbw_gmail.com#ext#@risebcg.onmicrosoft.com::1034df62-ee6d-4b2f-8a56-03c4406a0a8a" providerId="AD" clId="Web-{0781AC2C-9B4D-48D3-8DAF-7A5A21AEF7CE}" dt="2022-01-08T15:11:37.120" v="1314"/>
          <ac:spMkLst>
            <pc:docMk/>
            <pc:sldMk cId="2256265757" sldId="315"/>
            <ac:spMk id="309" creationId="{A26C4C9B-6DBB-43FF-AC4B-9BFF881F3C41}"/>
          </ac:spMkLst>
        </pc:spChg>
        <pc:spChg chg="add del mod">
          <ac:chgData name="WESLEY.TBW" userId="S::wesley.tbw_gmail.com#ext#@risebcg.onmicrosoft.com::1034df62-ee6d-4b2f-8a56-03c4406a0a8a" providerId="AD" clId="Web-{0781AC2C-9B4D-48D3-8DAF-7A5A21AEF7CE}" dt="2022-01-08T15:43:34.548" v="1496"/>
          <ac:spMkLst>
            <pc:docMk/>
            <pc:sldMk cId="2256265757" sldId="315"/>
            <ac:spMk id="310" creationId="{7279E154-C085-4EBE-AC48-6B0CF54A67C5}"/>
          </ac:spMkLst>
        </pc:spChg>
        <pc:spChg chg="add del mod">
          <ac:chgData name="WESLEY.TBW" userId="S::wesley.tbw_gmail.com#ext#@risebcg.onmicrosoft.com::1034df62-ee6d-4b2f-8a56-03c4406a0a8a" providerId="AD" clId="Web-{0781AC2C-9B4D-48D3-8DAF-7A5A21AEF7CE}" dt="2022-01-08T15:11:36.213" v="1313"/>
          <ac:spMkLst>
            <pc:docMk/>
            <pc:sldMk cId="2256265757" sldId="315"/>
            <ac:spMk id="311" creationId="{0D7DB02B-9E0D-42BB-B9F5-6E4E6F601F99}"/>
          </ac:spMkLst>
        </pc:spChg>
        <pc:inkChg chg="add del">
          <ac:chgData name="WESLEY.TBW" userId="S::wesley.tbw_gmail.com#ext#@risebcg.onmicrosoft.com::1034df62-ee6d-4b2f-8a56-03c4406a0a8a" providerId="AD" clId="Web-{0781AC2C-9B4D-48D3-8DAF-7A5A21AEF7CE}" dt="2022-01-08T15:44:26.674" v="1539"/>
          <ac:inkMkLst>
            <pc:docMk/>
            <pc:sldMk cId="2256265757" sldId="315"/>
            <ac:inkMk id="23" creationId="{C2F4CE54-E29E-4058-ACAE-D21109DB8FE1}"/>
          </ac:inkMkLst>
        </pc:inkChg>
        <pc:inkChg chg="add del">
          <ac:chgData name="WESLEY.TBW" userId="S::wesley.tbw_gmail.com#ext#@risebcg.onmicrosoft.com::1034df62-ee6d-4b2f-8a56-03c4406a0a8a" providerId="AD" clId="Web-{0781AC2C-9B4D-48D3-8DAF-7A5A21AEF7CE}" dt="2022-01-08T15:44:26.674" v="1538"/>
          <ac:inkMkLst>
            <pc:docMk/>
            <pc:sldMk cId="2256265757" sldId="315"/>
            <ac:inkMk id="24" creationId="{A50A6D13-DD58-4435-B868-16DCFE26F779}"/>
          </ac:inkMkLst>
        </pc:inkChg>
        <pc:inkChg chg="add del">
          <ac:chgData name="WESLEY.TBW" userId="S::wesley.tbw_gmail.com#ext#@risebcg.onmicrosoft.com::1034df62-ee6d-4b2f-8a56-03c4406a0a8a" providerId="AD" clId="Web-{0781AC2C-9B4D-48D3-8DAF-7A5A21AEF7CE}" dt="2022-01-08T15:44:26.658" v="1537"/>
          <ac:inkMkLst>
            <pc:docMk/>
            <pc:sldMk cId="2256265757" sldId="315"/>
            <ac:inkMk id="25" creationId="{9CABD214-0ACC-4B81-859B-336EB863F42E}"/>
          </ac:inkMkLst>
        </pc:inkChg>
        <pc:inkChg chg="add del">
          <ac:chgData name="WESLEY.TBW" userId="S::wesley.tbw_gmail.com#ext#@risebcg.onmicrosoft.com::1034df62-ee6d-4b2f-8a56-03c4406a0a8a" providerId="AD" clId="Web-{0781AC2C-9B4D-48D3-8DAF-7A5A21AEF7CE}" dt="2022-01-08T15:44:26.658" v="1536"/>
          <ac:inkMkLst>
            <pc:docMk/>
            <pc:sldMk cId="2256265757" sldId="315"/>
            <ac:inkMk id="26" creationId="{58B50773-2D60-4526-A1E9-47B026EC25C1}"/>
          </ac:inkMkLst>
        </pc:inkChg>
        <pc:inkChg chg="add del">
          <ac:chgData name="WESLEY.TBW" userId="S::wesley.tbw_gmail.com#ext#@risebcg.onmicrosoft.com::1034df62-ee6d-4b2f-8a56-03c4406a0a8a" providerId="AD" clId="Web-{0781AC2C-9B4D-48D3-8DAF-7A5A21AEF7CE}" dt="2022-01-08T15:44:26.658" v="1535"/>
          <ac:inkMkLst>
            <pc:docMk/>
            <pc:sldMk cId="2256265757" sldId="315"/>
            <ac:inkMk id="27" creationId="{3D7FE265-7B2F-44CB-A72B-4D553863B224}"/>
          </ac:inkMkLst>
        </pc:inkChg>
        <pc:inkChg chg="add del">
          <ac:chgData name="WESLEY.TBW" userId="S::wesley.tbw_gmail.com#ext#@risebcg.onmicrosoft.com::1034df62-ee6d-4b2f-8a56-03c4406a0a8a" providerId="AD" clId="Web-{0781AC2C-9B4D-48D3-8DAF-7A5A21AEF7CE}" dt="2022-01-08T15:44:26.658" v="1534"/>
          <ac:inkMkLst>
            <pc:docMk/>
            <pc:sldMk cId="2256265757" sldId="315"/>
            <ac:inkMk id="28" creationId="{FA95E691-1111-4AC6-8FD5-C393ACB792D0}"/>
          </ac:inkMkLst>
        </pc:inkChg>
        <pc:inkChg chg="add del">
          <ac:chgData name="WESLEY.TBW" userId="S::wesley.tbw_gmail.com#ext#@risebcg.onmicrosoft.com::1034df62-ee6d-4b2f-8a56-03c4406a0a8a" providerId="AD" clId="Web-{0781AC2C-9B4D-48D3-8DAF-7A5A21AEF7CE}" dt="2022-01-08T15:44:26.658" v="1533"/>
          <ac:inkMkLst>
            <pc:docMk/>
            <pc:sldMk cId="2256265757" sldId="315"/>
            <ac:inkMk id="29" creationId="{1CADFB49-10B3-42FA-9AAD-803D16899073}"/>
          </ac:inkMkLst>
        </pc:inkChg>
        <pc:inkChg chg="add del">
          <ac:chgData name="WESLEY.TBW" userId="S::wesley.tbw_gmail.com#ext#@risebcg.onmicrosoft.com::1034df62-ee6d-4b2f-8a56-03c4406a0a8a" providerId="AD" clId="Web-{0781AC2C-9B4D-48D3-8DAF-7A5A21AEF7CE}" dt="2022-01-08T15:44:27.752" v="1541"/>
          <ac:inkMkLst>
            <pc:docMk/>
            <pc:sldMk cId="2256265757" sldId="315"/>
            <ac:inkMk id="30" creationId="{8CC5C3D1-1667-469C-B3B0-794BCD151ABE}"/>
          </ac:inkMkLst>
        </pc:inkChg>
        <pc:inkChg chg="add del">
          <ac:chgData name="WESLEY.TBW" userId="S::wesley.tbw_gmail.com#ext#@risebcg.onmicrosoft.com::1034df62-ee6d-4b2f-8a56-03c4406a0a8a" providerId="AD" clId="Web-{0781AC2C-9B4D-48D3-8DAF-7A5A21AEF7CE}" dt="2022-01-08T15:44:33.080" v="1549"/>
          <ac:inkMkLst>
            <pc:docMk/>
            <pc:sldMk cId="2256265757" sldId="315"/>
            <ac:inkMk id="31" creationId="{4399D499-0467-4A35-9D3C-4F55F12A9D8E}"/>
          </ac:inkMkLst>
        </pc:inkChg>
        <pc:inkChg chg="add del">
          <ac:chgData name="WESLEY.TBW" userId="S::wesley.tbw_gmail.com#ext#@risebcg.onmicrosoft.com::1034df62-ee6d-4b2f-8a56-03c4406a0a8a" providerId="AD" clId="Web-{0781AC2C-9B4D-48D3-8DAF-7A5A21AEF7CE}" dt="2022-01-08T15:44:33.080" v="1548"/>
          <ac:inkMkLst>
            <pc:docMk/>
            <pc:sldMk cId="2256265757" sldId="315"/>
            <ac:inkMk id="32" creationId="{97235DD4-4C11-4D05-82DB-67D973ED21E7}"/>
          </ac:inkMkLst>
        </pc:inkChg>
        <pc:inkChg chg="add del">
          <ac:chgData name="WESLEY.TBW" userId="S::wesley.tbw_gmail.com#ext#@risebcg.onmicrosoft.com::1034df62-ee6d-4b2f-8a56-03c4406a0a8a" providerId="AD" clId="Web-{0781AC2C-9B4D-48D3-8DAF-7A5A21AEF7CE}" dt="2022-01-08T15:44:33.080" v="1547"/>
          <ac:inkMkLst>
            <pc:docMk/>
            <pc:sldMk cId="2256265757" sldId="315"/>
            <ac:inkMk id="33" creationId="{BEE4AE01-62A7-436F-873F-B6694A01C12A}"/>
          </ac:inkMkLst>
        </pc:inkChg>
        <pc:inkChg chg="add del">
          <ac:chgData name="WESLEY.TBW" userId="S::wesley.tbw_gmail.com#ext#@risebcg.onmicrosoft.com::1034df62-ee6d-4b2f-8a56-03c4406a0a8a" providerId="AD" clId="Web-{0781AC2C-9B4D-48D3-8DAF-7A5A21AEF7CE}" dt="2022-01-08T15:44:33.080" v="1546"/>
          <ac:inkMkLst>
            <pc:docMk/>
            <pc:sldMk cId="2256265757" sldId="315"/>
            <ac:inkMk id="34" creationId="{AB881702-E2B8-4741-85D3-17F5532913DC}"/>
          </ac:inkMkLst>
        </pc:inkChg>
        <pc:inkChg chg="add del">
          <ac:chgData name="WESLEY.TBW" userId="S::wesley.tbw_gmail.com#ext#@risebcg.onmicrosoft.com::1034df62-ee6d-4b2f-8a56-03c4406a0a8a" providerId="AD" clId="Web-{0781AC2C-9B4D-48D3-8DAF-7A5A21AEF7CE}" dt="2022-01-08T15:44:33.080" v="1545"/>
          <ac:inkMkLst>
            <pc:docMk/>
            <pc:sldMk cId="2256265757" sldId="315"/>
            <ac:inkMk id="35" creationId="{A5A07B7A-289D-4874-BFD9-77F6860E1062}"/>
          </ac:inkMkLst>
        </pc:inkChg>
        <pc:inkChg chg="add del">
          <ac:chgData name="WESLEY.TBW" userId="S::wesley.tbw_gmail.com#ext#@risebcg.onmicrosoft.com::1034df62-ee6d-4b2f-8a56-03c4406a0a8a" providerId="AD" clId="Web-{0781AC2C-9B4D-48D3-8DAF-7A5A21AEF7CE}" dt="2022-01-08T15:44:33.080" v="1544"/>
          <ac:inkMkLst>
            <pc:docMk/>
            <pc:sldMk cId="2256265757" sldId="315"/>
            <ac:inkMk id="36" creationId="{9705C685-CD40-43E3-B17C-2A60521D7914}"/>
          </ac:inkMkLst>
        </pc:inkChg>
        <pc:inkChg chg="add del">
          <ac:chgData name="WESLEY.TBW" userId="S::wesley.tbw_gmail.com#ext#@risebcg.onmicrosoft.com::1034df62-ee6d-4b2f-8a56-03c4406a0a8a" providerId="AD" clId="Web-{0781AC2C-9B4D-48D3-8DAF-7A5A21AEF7CE}" dt="2022-01-08T15:44:33.080" v="1543"/>
          <ac:inkMkLst>
            <pc:docMk/>
            <pc:sldMk cId="2256265757" sldId="315"/>
            <ac:inkMk id="37" creationId="{A0B02A6A-348D-4C2A-A9D5-CB932866A743}"/>
          </ac:inkMkLst>
        </pc:inkChg>
        <pc:inkChg chg="add del">
          <ac:chgData name="WESLEY.TBW" userId="S::wesley.tbw_gmail.com#ext#@risebcg.onmicrosoft.com::1034df62-ee6d-4b2f-8a56-03c4406a0a8a" providerId="AD" clId="Web-{0781AC2C-9B4D-48D3-8DAF-7A5A21AEF7CE}" dt="2022-01-08T15:44:33.080" v="1542"/>
          <ac:inkMkLst>
            <pc:docMk/>
            <pc:sldMk cId="2256265757" sldId="315"/>
            <ac:inkMk id="38" creationId="{3E28EA8C-24DC-4B94-B99A-8088F0309A32}"/>
          </ac:inkMkLst>
        </pc:inkChg>
        <pc:inkChg chg="add del">
          <ac:chgData name="WESLEY.TBW" userId="S::wesley.tbw_gmail.com#ext#@risebcg.onmicrosoft.com::1034df62-ee6d-4b2f-8a56-03c4406a0a8a" providerId="AD" clId="Web-{0781AC2C-9B4D-48D3-8DAF-7A5A21AEF7CE}" dt="2022-01-08T15:44:20.017" v="1525"/>
          <ac:inkMkLst>
            <pc:docMk/>
            <pc:sldMk cId="2256265757" sldId="315"/>
            <ac:inkMk id="39" creationId="{FBAFBF46-5E82-431C-A151-5E03AE8A6BB5}"/>
          </ac:inkMkLst>
        </pc:inkChg>
        <pc:inkChg chg="add del">
          <ac:chgData name="WESLEY.TBW" userId="S::wesley.tbw_gmail.com#ext#@risebcg.onmicrosoft.com::1034df62-ee6d-4b2f-8a56-03c4406a0a8a" providerId="AD" clId="Web-{0781AC2C-9B4D-48D3-8DAF-7A5A21AEF7CE}" dt="2022-01-08T15:44:20.017" v="1524"/>
          <ac:inkMkLst>
            <pc:docMk/>
            <pc:sldMk cId="2256265757" sldId="315"/>
            <ac:inkMk id="40" creationId="{777AA4B3-F23B-4279-9EE6-8FA7558C39CB}"/>
          </ac:inkMkLst>
        </pc:inkChg>
        <pc:inkChg chg="add del">
          <ac:chgData name="WESLEY.TBW" userId="S::wesley.tbw_gmail.com#ext#@risebcg.onmicrosoft.com::1034df62-ee6d-4b2f-8a56-03c4406a0a8a" providerId="AD" clId="Web-{0781AC2C-9B4D-48D3-8DAF-7A5A21AEF7CE}" dt="2022-01-08T15:43:38.579" v="1497"/>
          <ac:inkMkLst>
            <pc:docMk/>
            <pc:sldMk cId="2256265757" sldId="315"/>
            <ac:inkMk id="306" creationId="{1ADAC67C-7A8E-4033-BC20-2A0849411A17}"/>
          </ac:inkMkLst>
        </pc:inkChg>
        <pc:inkChg chg="add del">
          <ac:chgData name="WESLEY.TBW" userId="S::wesley.tbw_gmail.com#ext#@risebcg.onmicrosoft.com::1034df62-ee6d-4b2f-8a56-03c4406a0a8a" providerId="AD" clId="Web-{0781AC2C-9B4D-48D3-8DAF-7A5A21AEF7CE}" dt="2022-01-08T15:11:25.791" v="1309"/>
          <ac:inkMkLst>
            <pc:docMk/>
            <pc:sldMk cId="2256265757" sldId="315"/>
            <ac:inkMk id="308" creationId="{4548D7DD-5CD4-4B4F-BC99-26F1FBEE0A54}"/>
          </ac:inkMkLst>
        </pc:inkChg>
        <pc:inkChg chg="add del">
          <ac:chgData name="WESLEY.TBW" userId="S::wesley.tbw_gmail.com#ext#@risebcg.onmicrosoft.com::1034df62-ee6d-4b2f-8a56-03c4406a0a8a" providerId="AD" clId="Web-{0781AC2C-9B4D-48D3-8DAF-7A5A21AEF7CE}" dt="2022-01-08T15:44:26.674" v="1540"/>
          <ac:inkMkLst>
            <pc:docMk/>
            <pc:sldMk cId="2256265757" sldId="315"/>
            <ac:inkMk id="652" creationId="{FDE45141-A42A-4B3A-B173-8EE6D1ABDDF0}"/>
          </ac:inkMkLst>
        </pc:inkChg>
        <pc:inkChg chg="add del">
          <ac:chgData name="WESLEY.TBW" userId="S::wesley.tbw_gmail.com#ext#@risebcg.onmicrosoft.com::1034df62-ee6d-4b2f-8a56-03c4406a0a8a" providerId="AD" clId="Web-{0781AC2C-9B4D-48D3-8DAF-7A5A21AEF7CE}" dt="2022-01-08T15:44:22.877" v="1532"/>
          <ac:inkMkLst>
            <pc:docMk/>
            <pc:sldMk cId="2256265757" sldId="315"/>
            <ac:inkMk id="681" creationId="{CD447D58-BB3A-4632-989D-CA5C5C7EF243}"/>
          </ac:inkMkLst>
        </pc:inkChg>
        <pc:inkChg chg="add del">
          <ac:chgData name="WESLEY.TBW" userId="S::wesley.tbw_gmail.com#ext#@risebcg.onmicrosoft.com::1034df62-ee6d-4b2f-8a56-03c4406a0a8a" providerId="AD" clId="Web-{0781AC2C-9B4D-48D3-8DAF-7A5A21AEF7CE}" dt="2022-01-08T15:44:22.877" v="1531"/>
          <ac:inkMkLst>
            <pc:docMk/>
            <pc:sldMk cId="2256265757" sldId="315"/>
            <ac:inkMk id="682" creationId="{67D4A873-5173-400D-9DE7-58A798CF7449}"/>
          </ac:inkMkLst>
        </pc:inkChg>
        <pc:inkChg chg="add del">
          <ac:chgData name="WESLEY.TBW" userId="S::wesley.tbw_gmail.com#ext#@risebcg.onmicrosoft.com::1034df62-ee6d-4b2f-8a56-03c4406a0a8a" providerId="AD" clId="Web-{0781AC2C-9B4D-48D3-8DAF-7A5A21AEF7CE}" dt="2022-01-08T15:44:22.877" v="1530"/>
          <ac:inkMkLst>
            <pc:docMk/>
            <pc:sldMk cId="2256265757" sldId="315"/>
            <ac:inkMk id="683" creationId="{79E2BAAF-0A92-4783-AC2F-423147AD25F2}"/>
          </ac:inkMkLst>
        </pc:inkChg>
        <pc:inkChg chg="add del">
          <ac:chgData name="WESLEY.TBW" userId="S::wesley.tbw_gmail.com#ext#@risebcg.onmicrosoft.com::1034df62-ee6d-4b2f-8a56-03c4406a0a8a" providerId="AD" clId="Web-{0781AC2C-9B4D-48D3-8DAF-7A5A21AEF7CE}" dt="2022-01-08T15:44:22.877" v="1529"/>
          <ac:inkMkLst>
            <pc:docMk/>
            <pc:sldMk cId="2256265757" sldId="315"/>
            <ac:inkMk id="744" creationId="{DBCE7B23-F1B4-4B9A-9209-ACBF2A02ACDC}"/>
          </ac:inkMkLst>
        </pc:inkChg>
        <pc:inkChg chg="add del">
          <ac:chgData name="WESLEY.TBW" userId="S::wesley.tbw_gmail.com#ext#@risebcg.onmicrosoft.com::1034df62-ee6d-4b2f-8a56-03c4406a0a8a" providerId="AD" clId="Web-{0781AC2C-9B4D-48D3-8DAF-7A5A21AEF7CE}" dt="2022-01-08T15:44:22.877" v="1528"/>
          <ac:inkMkLst>
            <pc:docMk/>
            <pc:sldMk cId="2256265757" sldId="315"/>
            <ac:inkMk id="745" creationId="{4E0CBFFF-4162-45BF-B134-2328CFFF93D5}"/>
          </ac:inkMkLst>
        </pc:inkChg>
        <pc:inkChg chg="add del">
          <ac:chgData name="WESLEY.TBW" userId="S::wesley.tbw_gmail.com#ext#@risebcg.onmicrosoft.com::1034df62-ee6d-4b2f-8a56-03c4406a0a8a" providerId="AD" clId="Web-{0781AC2C-9B4D-48D3-8DAF-7A5A21AEF7CE}" dt="2022-01-08T15:44:22.877" v="1527"/>
          <ac:inkMkLst>
            <pc:docMk/>
            <pc:sldMk cId="2256265757" sldId="315"/>
            <ac:inkMk id="746" creationId="{3CBC7C08-B8D8-4198-9DA0-19B776EB9CBA}"/>
          </ac:inkMkLst>
        </pc:inkChg>
        <pc:inkChg chg="add del">
          <ac:chgData name="WESLEY.TBW" userId="S::wesley.tbw_gmail.com#ext#@risebcg.onmicrosoft.com::1034df62-ee6d-4b2f-8a56-03c4406a0a8a" providerId="AD" clId="Web-{0781AC2C-9B4D-48D3-8DAF-7A5A21AEF7CE}" dt="2022-01-08T15:44:22.877" v="1526"/>
          <ac:inkMkLst>
            <pc:docMk/>
            <pc:sldMk cId="2256265757" sldId="315"/>
            <ac:inkMk id="747" creationId="{B319FEA4-818F-4419-BE68-9BDC7F10686A}"/>
          </ac:inkMkLst>
        </pc:inkChg>
      </pc:sldChg>
      <pc:sldChg chg="addSp delSp modSp modNotes">
        <pc:chgData name="WESLEY.TBW" userId="S::wesley.tbw_gmail.com#ext#@risebcg.onmicrosoft.com::1034df62-ee6d-4b2f-8a56-03c4406a0a8a" providerId="AD" clId="Web-{0781AC2C-9B4D-48D3-8DAF-7A5A21AEF7CE}" dt="2022-01-08T16:24:48.142" v="1955"/>
        <pc:sldMkLst>
          <pc:docMk/>
          <pc:sldMk cId="4084366951" sldId="318"/>
        </pc:sldMkLst>
        <pc:spChg chg="mod">
          <ac:chgData name="WESLEY.TBW" userId="S::wesley.tbw_gmail.com#ext#@risebcg.onmicrosoft.com::1034df62-ee6d-4b2f-8a56-03c4406a0a8a" providerId="AD" clId="Web-{0781AC2C-9B4D-48D3-8DAF-7A5A21AEF7CE}" dt="2022-01-08T14:26:35.786" v="959" actId="20577"/>
          <ac:spMkLst>
            <pc:docMk/>
            <pc:sldMk cId="4084366951" sldId="318"/>
            <ac:spMk id="32" creationId="{41E099E5-F68B-4939-9F7A-B9CC2E5F333A}"/>
          </ac:spMkLst>
        </pc:spChg>
        <pc:grpChg chg="del">
          <ac:chgData name="WESLEY.TBW" userId="S::wesley.tbw_gmail.com#ext#@risebcg.onmicrosoft.com::1034df62-ee6d-4b2f-8a56-03c4406a0a8a" providerId="AD" clId="Web-{0781AC2C-9B4D-48D3-8DAF-7A5A21AEF7CE}" dt="2022-01-08T13:47:06.115" v="616"/>
          <ac:grpSpMkLst>
            <pc:docMk/>
            <pc:sldMk cId="4084366951" sldId="318"/>
            <ac:grpSpMk id="34" creationId="{05607143-7AC4-4585-8FF1-3A1245EE3DDE}"/>
          </ac:grpSpMkLst>
        </pc:grpChg>
        <pc:picChg chg="add mod">
          <ac:chgData name="WESLEY.TBW" userId="S::wesley.tbw_gmail.com#ext#@risebcg.onmicrosoft.com::1034df62-ee6d-4b2f-8a56-03c4406a0a8a" providerId="AD" clId="Web-{0781AC2C-9B4D-48D3-8DAF-7A5A21AEF7CE}" dt="2022-01-08T12:33:27.341" v="71" actId="14100"/>
          <ac:picMkLst>
            <pc:docMk/>
            <pc:sldMk cId="4084366951" sldId="318"/>
            <ac:picMk id="2" creationId="{A614BDB2-A87C-4D6E-B961-198BF7854FE2}"/>
          </ac:picMkLst>
        </pc:picChg>
        <pc:picChg chg="del">
          <ac:chgData name="WESLEY.TBW" userId="S::wesley.tbw_gmail.com#ext#@risebcg.onmicrosoft.com::1034df62-ee6d-4b2f-8a56-03c4406a0a8a" providerId="AD" clId="Web-{0781AC2C-9B4D-48D3-8DAF-7A5A21AEF7CE}" dt="2022-01-08T12:33:12.466" v="68"/>
          <ac:picMkLst>
            <pc:docMk/>
            <pc:sldMk cId="4084366951" sldId="318"/>
            <ac:picMk id="3" creationId="{4EA9D4D3-D6BE-4DD3-A185-A6287A9302E7}"/>
          </ac:picMkLst>
        </pc:picChg>
        <pc:picChg chg="add del mod">
          <ac:chgData name="WESLEY.TBW" userId="S::wesley.tbw_gmail.com#ext#@risebcg.onmicrosoft.com::1034df62-ee6d-4b2f-8a56-03c4406a0a8a" providerId="AD" clId="Web-{0781AC2C-9B4D-48D3-8DAF-7A5A21AEF7CE}" dt="2022-01-08T13:47:06.115" v="615"/>
          <ac:picMkLst>
            <pc:docMk/>
            <pc:sldMk cId="4084366951" sldId="318"/>
            <ac:picMk id="5" creationId="{B46453E5-BEB4-482A-8561-F215B9AE53A0}"/>
          </ac:picMkLst>
        </pc:picChg>
        <pc:picChg chg="del">
          <ac:chgData name="WESLEY.TBW" userId="S::wesley.tbw_gmail.com#ext#@risebcg.onmicrosoft.com::1034df62-ee6d-4b2f-8a56-03c4406a0a8a" providerId="AD" clId="Web-{0781AC2C-9B4D-48D3-8DAF-7A5A21AEF7CE}" dt="2022-01-08T12:09:59.045" v="0"/>
          <ac:picMkLst>
            <pc:docMk/>
            <pc:sldMk cId="4084366951" sldId="318"/>
            <ac:picMk id="9" creationId="{329F3741-BB5B-4CA9-80DC-60382768BE40}"/>
          </ac:picMkLst>
        </pc:picChg>
        <pc:picChg chg="del">
          <ac:chgData name="WESLEY.TBW" userId="S::wesley.tbw_gmail.com#ext#@risebcg.onmicrosoft.com::1034df62-ee6d-4b2f-8a56-03c4406a0a8a" providerId="AD" clId="Web-{0781AC2C-9B4D-48D3-8DAF-7A5A21AEF7CE}" dt="2022-01-08T12:33:11.654" v="67"/>
          <ac:picMkLst>
            <pc:docMk/>
            <pc:sldMk cId="4084366951" sldId="318"/>
            <ac:picMk id="11" creationId="{079CE0C2-D9FF-4DFE-967B-E9EFC7681473}"/>
          </ac:picMkLst>
        </pc:picChg>
        <pc:picChg chg="del">
          <ac:chgData name="WESLEY.TBW" userId="S::wesley.tbw_gmail.com#ext#@risebcg.onmicrosoft.com::1034df62-ee6d-4b2f-8a56-03c4406a0a8a" providerId="AD" clId="Web-{0781AC2C-9B4D-48D3-8DAF-7A5A21AEF7CE}" dt="2022-01-08T12:10:00.608" v="1"/>
          <ac:picMkLst>
            <pc:docMk/>
            <pc:sldMk cId="4084366951" sldId="318"/>
            <ac:picMk id="16" creationId="{D69CAFA9-4C9E-4C9D-8063-6AB7F66A7981}"/>
          </ac:picMkLst>
        </pc:picChg>
        <pc:picChg chg="mod">
          <ac:chgData name="WESLEY.TBW" userId="S::wesley.tbw_gmail.com#ext#@risebcg.onmicrosoft.com::1034df62-ee6d-4b2f-8a56-03c4406a0a8a" providerId="AD" clId="Web-{0781AC2C-9B4D-48D3-8DAF-7A5A21AEF7CE}" dt="2022-01-08T12:10:03.296" v="3" actId="1076"/>
          <ac:picMkLst>
            <pc:docMk/>
            <pc:sldMk cId="4084366951" sldId="318"/>
            <ac:picMk id="18" creationId="{01844450-929B-4C6F-8685-6FF3118F02E2}"/>
          </ac:picMkLst>
        </pc:picChg>
        <pc:inkChg chg="add del">
          <ac:chgData name="WESLEY.TBW" userId="S::wesley.tbw_gmail.com#ext#@risebcg.onmicrosoft.com::1034df62-ee6d-4b2f-8a56-03c4406a0a8a" providerId="AD" clId="Web-{0781AC2C-9B4D-48D3-8DAF-7A5A21AEF7CE}" dt="2022-01-08T12:52:57.005" v="121"/>
          <ac:inkMkLst>
            <pc:docMk/>
            <pc:sldMk cId="4084366951" sldId="318"/>
            <ac:inkMk id="9" creationId="{8F82CD96-0B4A-459B-9447-67F6FCB00A17}"/>
          </ac:inkMkLst>
        </pc:inkChg>
        <pc:inkChg chg="add del">
          <ac:chgData name="WESLEY.TBW" userId="S::wesley.tbw_gmail.com#ext#@risebcg.onmicrosoft.com::1034df62-ee6d-4b2f-8a56-03c4406a0a8a" providerId="AD" clId="Web-{0781AC2C-9B4D-48D3-8DAF-7A5A21AEF7CE}" dt="2022-01-08T12:52:55.880" v="120"/>
          <ac:inkMkLst>
            <pc:docMk/>
            <pc:sldMk cId="4084366951" sldId="318"/>
            <ac:inkMk id="10" creationId="{B41B370B-9EB4-4D59-B187-3D40C9339EE6}"/>
          </ac:inkMkLst>
        </pc:inkChg>
        <pc:inkChg chg="add del">
          <ac:chgData name="WESLEY.TBW" userId="S::wesley.tbw_gmail.com#ext#@risebcg.onmicrosoft.com::1034df62-ee6d-4b2f-8a56-03c4406a0a8a" providerId="AD" clId="Web-{0781AC2C-9B4D-48D3-8DAF-7A5A21AEF7CE}" dt="2022-01-08T12:53:01.630" v="123"/>
          <ac:inkMkLst>
            <pc:docMk/>
            <pc:sldMk cId="4084366951" sldId="318"/>
            <ac:inkMk id="13" creationId="{EBE6E996-1632-4D61-9334-9B03E63D8278}"/>
          </ac:inkMkLst>
        </pc:inkChg>
      </pc:sldChg>
      <pc:sldChg chg="addSp delSp modSp new">
        <pc:chgData name="WESLEY.TBW" userId="S::wesley.tbw_gmail.com#ext#@risebcg.onmicrosoft.com::1034df62-ee6d-4b2f-8a56-03c4406a0a8a" providerId="AD" clId="Web-{0781AC2C-9B4D-48D3-8DAF-7A5A21AEF7CE}" dt="2022-01-08T13:55:44.953" v="680" actId="1076"/>
        <pc:sldMkLst>
          <pc:docMk/>
          <pc:sldMk cId="426360798" sldId="347"/>
        </pc:sldMkLst>
        <pc:spChg chg="mod">
          <ac:chgData name="WESLEY.TBW" userId="S::wesley.tbw_gmail.com#ext#@risebcg.onmicrosoft.com::1034df62-ee6d-4b2f-8a56-03c4406a0a8a" providerId="AD" clId="Web-{0781AC2C-9B4D-48D3-8DAF-7A5A21AEF7CE}" dt="2022-01-08T13:55:44.953" v="680" actId="1076"/>
          <ac:spMkLst>
            <pc:docMk/>
            <pc:sldMk cId="426360798" sldId="347"/>
            <ac:spMk id="2" creationId="{539C9826-9E79-4999-9783-F530944DD31E}"/>
          </ac:spMkLst>
        </pc:spChg>
        <pc:spChg chg="del">
          <ac:chgData name="WESLEY.TBW" userId="S::wesley.tbw_gmail.com#ext#@risebcg.onmicrosoft.com::1034df62-ee6d-4b2f-8a56-03c4406a0a8a" providerId="AD" clId="Web-{0781AC2C-9B4D-48D3-8DAF-7A5A21AEF7CE}" dt="2022-01-08T13:46:50.693" v="612"/>
          <ac:spMkLst>
            <pc:docMk/>
            <pc:sldMk cId="426360798" sldId="347"/>
            <ac:spMk id="3" creationId="{A254067E-EB82-44DA-A794-5BF0FF9FF8E7}"/>
          </ac:spMkLst>
        </pc:spChg>
        <pc:spChg chg="add">
          <ac:chgData name="WESLEY.TBW" userId="S::wesley.tbw_gmail.com#ext#@risebcg.onmicrosoft.com::1034df62-ee6d-4b2f-8a56-03c4406a0a8a" providerId="AD" clId="Web-{0781AC2C-9B4D-48D3-8DAF-7A5A21AEF7CE}" dt="2022-01-08T13:47:10.490" v="617"/>
          <ac:spMkLst>
            <pc:docMk/>
            <pc:sldMk cId="426360798" sldId="347"/>
            <ac:spMk id="8" creationId="{140DCEFC-B17A-4E93-BD95-F2C39BB68786}"/>
          </ac:spMkLst>
        </pc:spChg>
        <pc:spChg chg="add">
          <ac:chgData name="WESLEY.TBW" userId="S::wesley.tbw_gmail.com#ext#@risebcg.onmicrosoft.com::1034df62-ee6d-4b2f-8a56-03c4406a0a8a" providerId="AD" clId="Web-{0781AC2C-9B4D-48D3-8DAF-7A5A21AEF7CE}" dt="2022-01-08T13:47:10.490" v="617"/>
          <ac:spMkLst>
            <pc:docMk/>
            <pc:sldMk cId="426360798" sldId="347"/>
            <ac:spMk id="9" creationId="{82BDF24A-ECCC-4A3B-BA0C-529F536B1CEF}"/>
          </ac:spMkLst>
        </pc:spChg>
        <pc:grpChg chg="add del mod">
          <ac:chgData name="WESLEY.TBW" userId="S::wesley.tbw_gmail.com#ext#@risebcg.onmicrosoft.com::1034df62-ee6d-4b2f-8a56-03c4406a0a8a" providerId="AD" clId="Web-{0781AC2C-9B4D-48D3-8DAF-7A5A21AEF7CE}" dt="2022-01-08T13:47:55.866" v="626"/>
          <ac:grpSpMkLst>
            <pc:docMk/>
            <pc:sldMk cId="426360798" sldId="347"/>
            <ac:grpSpMk id="5" creationId="{0532B9A3-2CE8-47E6-92B2-6F465C10AF36}"/>
          </ac:grpSpMkLst>
        </pc:grpChg>
        <pc:picChg chg="add del mod">
          <ac:chgData name="WESLEY.TBW" userId="S::wesley.tbw_gmail.com#ext#@risebcg.onmicrosoft.com::1034df62-ee6d-4b2f-8a56-03c4406a0a8a" providerId="AD" clId="Web-{0781AC2C-9B4D-48D3-8DAF-7A5A21AEF7CE}" dt="2022-01-08T13:47:54.569" v="624"/>
          <ac:picMkLst>
            <pc:docMk/>
            <pc:sldMk cId="426360798" sldId="347"/>
            <ac:picMk id="4" creationId="{5077707B-414C-42AA-B330-0167CEF42AD3}"/>
          </ac:picMkLst>
        </pc:picChg>
        <pc:picChg chg="add del mod">
          <ac:chgData name="WESLEY.TBW" userId="S::wesley.tbw_gmail.com#ext#@risebcg.onmicrosoft.com::1034df62-ee6d-4b2f-8a56-03c4406a0a8a" providerId="AD" clId="Web-{0781AC2C-9B4D-48D3-8DAF-7A5A21AEF7CE}" dt="2022-01-08T13:47:55.225" v="625"/>
          <ac:picMkLst>
            <pc:docMk/>
            <pc:sldMk cId="426360798" sldId="347"/>
            <ac:picMk id="6" creationId="{C0B12439-C614-4DBE-98E0-19638BA3CCB5}"/>
          </ac:picMkLst>
        </pc:picChg>
        <pc:picChg chg="add">
          <ac:chgData name="WESLEY.TBW" userId="S::wesley.tbw_gmail.com#ext#@risebcg.onmicrosoft.com::1034df62-ee6d-4b2f-8a56-03c4406a0a8a" providerId="AD" clId="Web-{0781AC2C-9B4D-48D3-8DAF-7A5A21AEF7CE}" dt="2022-01-08T13:47:10.490" v="617"/>
          <ac:picMkLst>
            <pc:docMk/>
            <pc:sldMk cId="426360798" sldId="347"/>
            <ac:picMk id="7" creationId="{FA955553-C4F0-4574-B009-5E58FA251B0F}"/>
          </ac:picMkLst>
        </pc:picChg>
        <pc:picChg chg="add mod">
          <ac:chgData name="WESLEY.TBW" userId="S::wesley.tbw_gmail.com#ext#@risebcg.onmicrosoft.com::1034df62-ee6d-4b2f-8a56-03c4406a0a8a" providerId="AD" clId="Web-{0781AC2C-9B4D-48D3-8DAF-7A5A21AEF7CE}" dt="2022-01-08T13:55:41.703" v="679" actId="1076"/>
          <ac:picMkLst>
            <pc:docMk/>
            <pc:sldMk cId="426360798" sldId="347"/>
            <ac:picMk id="10" creationId="{676266AD-39DD-4C63-AC43-FBDA958C8BFA}"/>
          </ac:picMkLst>
        </pc:picChg>
      </pc:sldChg>
      <pc:sldChg chg="addSp modSp new del">
        <pc:chgData name="WESLEY.TBW" userId="S::wesley.tbw_gmail.com#ext#@risebcg.onmicrosoft.com::1034df62-ee6d-4b2f-8a56-03c4406a0a8a" providerId="AD" clId="Web-{0781AC2C-9B4D-48D3-8DAF-7A5A21AEF7CE}" dt="2022-01-08T12:51:30.503" v="117"/>
        <pc:sldMkLst>
          <pc:docMk/>
          <pc:sldMk cId="3201265486" sldId="347"/>
        </pc:sldMkLst>
        <pc:spChg chg="add mod">
          <ac:chgData name="WESLEY.TBW" userId="S::wesley.tbw_gmail.com#ext#@risebcg.onmicrosoft.com::1034df62-ee6d-4b2f-8a56-03c4406a0a8a" providerId="AD" clId="Web-{0781AC2C-9B4D-48D3-8DAF-7A5A21AEF7CE}" dt="2022-01-08T12:48:02.155" v="100"/>
          <ac:spMkLst>
            <pc:docMk/>
            <pc:sldMk cId="3201265486" sldId="347"/>
            <ac:spMk id="4" creationId="{D335345E-A5D2-4357-BA65-198E63ECAED2}"/>
          </ac:spMkLst>
        </pc:spChg>
        <pc:spChg chg="add mod">
          <ac:chgData name="WESLEY.TBW" userId="S::wesley.tbw_gmail.com#ext#@risebcg.onmicrosoft.com::1034df62-ee6d-4b2f-8a56-03c4406a0a8a" providerId="AD" clId="Web-{0781AC2C-9B4D-48D3-8DAF-7A5A21AEF7CE}" dt="2022-01-08T12:48:08.890" v="103" actId="1076"/>
          <ac:spMkLst>
            <pc:docMk/>
            <pc:sldMk cId="3201265486" sldId="347"/>
            <ac:spMk id="5" creationId="{64952840-ABA1-4113-A857-771F0C1A625B}"/>
          </ac:spMkLst>
        </pc:spChg>
        <pc:inkChg chg="add">
          <ac:chgData name="WESLEY.TBW" userId="S::wesley.tbw_gmail.com#ext#@risebcg.onmicrosoft.com::1034df62-ee6d-4b2f-8a56-03c4406a0a8a" providerId="AD" clId="Web-{0781AC2C-9B4D-48D3-8DAF-7A5A21AEF7CE}" dt="2022-01-08T12:48:21.031" v="104"/>
          <ac:inkMkLst>
            <pc:docMk/>
            <pc:sldMk cId="3201265486" sldId="347"/>
            <ac:inkMk id="6" creationId="{48D22F0D-F3C9-4336-A135-89D0B62D5D7E}"/>
          </ac:inkMkLst>
        </pc:inkChg>
        <pc:inkChg chg="add">
          <ac:chgData name="WESLEY.TBW" userId="S::wesley.tbw_gmail.com#ext#@risebcg.onmicrosoft.com::1034df62-ee6d-4b2f-8a56-03c4406a0a8a" providerId="AD" clId="Web-{0781AC2C-9B4D-48D3-8DAF-7A5A21AEF7CE}" dt="2022-01-08T12:48:22.093" v="105"/>
          <ac:inkMkLst>
            <pc:docMk/>
            <pc:sldMk cId="3201265486" sldId="347"/>
            <ac:inkMk id="7" creationId="{92538774-378A-4375-8D99-8B1FD0C60E06}"/>
          </ac:inkMkLst>
        </pc:inkChg>
        <pc:inkChg chg="add">
          <ac:chgData name="WESLEY.TBW" userId="S::wesley.tbw_gmail.com#ext#@risebcg.onmicrosoft.com::1034df62-ee6d-4b2f-8a56-03c4406a0a8a" providerId="AD" clId="Web-{0781AC2C-9B4D-48D3-8DAF-7A5A21AEF7CE}" dt="2022-01-08T12:48:26.999" v="106"/>
          <ac:inkMkLst>
            <pc:docMk/>
            <pc:sldMk cId="3201265486" sldId="347"/>
            <ac:inkMk id="8" creationId="{DE783DDB-3A91-46A1-93B0-4D9A37FE1A59}"/>
          </ac:inkMkLst>
        </pc:inkChg>
        <pc:inkChg chg="add">
          <ac:chgData name="WESLEY.TBW" userId="S::wesley.tbw_gmail.com#ext#@risebcg.onmicrosoft.com::1034df62-ee6d-4b2f-8a56-03c4406a0a8a" providerId="AD" clId="Web-{0781AC2C-9B4D-48D3-8DAF-7A5A21AEF7CE}" dt="2022-01-08T12:48:31.734" v="107"/>
          <ac:inkMkLst>
            <pc:docMk/>
            <pc:sldMk cId="3201265486" sldId="347"/>
            <ac:inkMk id="9" creationId="{6844DFCE-D259-4DB3-8800-29F2AD81BC26}"/>
          </ac:inkMkLst>
        </pc:inkChg>
        <pc:inkChg chg="add">
          <ac:chgData name="WESLEY.TBW" userId="S::wesley.tbw_gmail.com#ext#@risebcg.onmicrosoft.com::1034df62-ee6d-4b2f-8a56-03c4406a0a8a" providerId="AD" clId="Web-{0781AC2C-9B4D-48D3-8DAF-7A5A21AEF7CE}" dt="2022-01-08T12:50:46.830" v="108"/>
          <ac:inkMkLst>
            <pc:docMk/>
            <pc:sldMk cId="3201265486" sldId="347"/>
            <ac:inkMk id="10" creationId="{371B720D-0408-44FE-AF8A-1C4C541B12F1}"/>
          </ac:inkMkLst>
        </pc:inkChg>
        <pc:inkChg chg="add">
          <ac:chgData name="WESLEY.TBW" userId="S::wesley.tbw_gmail.com#ext#@risebcg.onmicrosoft.com::1034df62-ee6d-4b2f-8a56-03c4406a0a8a" providerId="AD" clId="Web-{0781AC2C-9B4D-48D3-8DAF-7A5A21AEF7CE}" dt="2022-01-08T12:51:05.112" v="109"/>
          <ac:inkMkLst>
            <pc:docMk/>
            <pc:sldMk cId="3201265486" sldId="347"/>
            <ac:inkMk id="11" creationId="{68D91E38-B19A-4C23-B821-9BFF4BAFEE9E}"/>
          </ac:inkMkLst>
        </pc:inkChg>
        <pc:inkChg chg="add">
          <ac:chgData name="WESLEY.TBW" userId="S::wesley.tbw_gmail.com#ext#@risebcg.onmicrosoft.com::1034df62-ee6d-4b2f-8a56-03c4406a0a8a" providerId="AD" clId="Web-{0781AC2C-9B4D-48D3-8DAF-7A5A21AEF7CE}" dt="2022-01-08T12:51:14.846" v="110"/>
          <ac:inkMkLst>
            <pc:docMk/>
            <pc:sldMk cId="3201265486" sldId="347"/>
            <ac:inkMk id="12" creationId="{5AF93DA5-1919-4375-802C-EBB97327B761}"/>
          </ac:inkMkLst>
        </pc:inkChg>
        <pc:inkChg chg="add">
          <ac:chgData name="WESLEY.TBW" userId="S::wesley.tbw_gmail.com#ext#@risebcg.onmicrosoft.com::1034df62-ee6d-4b2f-8a56-03c4406a0a8a" providerId="AD" clId="Web-{0781AC2C-9B4D-48D3-8DAF-7A5A21AEF7CE}" dt="2022-01-08T12:51:15.581" v="111"/>
          <ac:inkMkLst>
            <pc:docMk/>
            <pc:sldMk cId="3201265486" sldId="347"/>
            <ac:inkMk id="13" creationId="{2AE93BE0-FCF8-4080-B699-F35912D3C5B2}"/>
          </ac:inkMkLst>
        </pc:inkChg>
        <pc:inkChg chg="add">
          <ac:chgData name="WESLEY.TBW" userId="S::wesley.tbw_gmail.com#ext#@risebcg.onmicrosoft.com::1034df62-ee6d-4b2f-8a56-03c4406a0a8a" providerId="AD" clId="Web-{0781AC2C-9B4D-48D3-8DAF-7A5A21AEF7CE}" dt="2022-01-08T12:51:16.253" v="112"/>
          <ac:inkMkLst>
            <pc:docMk/>
            <pc:sldMk cId="3201265486" sldId="347"/>
            <ac:inkMk id="14" creationId="{89186AF9-D668-4847-8AEE-034C73692439}"/>
          </ac:inkMkLst>
        </pc:inkChg>
        <pc:inkChg chg="add">
          <ac:chgData name="WESLEY.TBW" userId="S::wesley.tbw_gmail.com#ext#@risebcg.onmicrosoft.com::1034df62-ee6d-4b2f-8a56-03c4406a0a8a" providerId="AD" clId="Web-{0781AC2C-9B4D-48D3-8DAF-7A5A21AEF7CE}" dt="2022-01-08T12:51:17.190" v="113"/>
          <ac:inkMkLst>
            <pc:docMk/>
            <pc:sldMk cId="3201265486" sldId="347"/>
            <ac:inkMk id="15" creationId="{F382744B-56DE-41B6-97BB-764A0F8CDBD6}"/>
          </ac:inkMkLst>
        </pc:inkChg>
        <pc:inkChg chg="add">
          <ac:chgData name="WESLEY.TBW" userId="S::wesley.tbw_gmail.com#ext#@risebcg.onmicrosoft.com::1034df62-ee6d-4b2f-8a56-03c4406a0a8a" providerId="AD" clId="Web-{0781AC2C-9B4D-48D3-8DAF-7A5A21AEF7CE}" dt="2022-01-08T12:51:17.190" v="114"/>
          <ac:inkMkLst>
            <pc:docMk/>
            <pc:sldMk cId="3201265486" sldId="347"/>
            <ac:inkMk id="16" creationId="{F8354AFF-04A6-4FBE-B7C8-06D0C57C8106}"/>
          </ac:inkMkLst>
        </pc:inkChg>
        <pc:inkChg chg="add">
          <ac:chgData name="WESLEY.TBW" userId="S::wesley.tbw_gmail.com#ext#@risebcg.onmicrosoft.com::1034df62-ee6d-4b2f-8a56-03c4406a0a8a" providerId="AD" clId="Web-{0781AC2C-9B4D-48D3-8DAF-7A5A21AEF7CE}" dt="2022-01-08T12:51:18.034" v="115"/>
          <ac:inkMkLst>
            <pc:docMk/>
            <pc:sldMk cId="3201265486" sldId="347"/>
            <ac:inkMk id="17" creationId="{1F7C0E6E-432F-4796-9E55-FBBE92338E38}"/>
          </ac:inkMkLst>
        </pc:inkChg>
        <pc:inkChg chg="add">
          <ac:chgData name="WESLEY.TBW" userId="S::wesley.tbw_gmail.com#ext#@risebcg.onmicrosoft.com::1034df62-ee6d-4b2f-8a56-03c4406a0a8a" providerId="AD" clId="Web-{0781AC2C-9B4D-48D3-8DAF-7A5A21AEF7CE}" dt="2022-01-08T12:51:18.034" v="116"/>
          <ac:inkMkLst>
            <pc:docMk/>
            <pc:sldMk cId="3201265486" sldId="347"/>
            <ac:inkMk id="18" creationId="{EBBB4658-1A4F-499C-9418-226B11E9EEC6}"/>
          </ac:inkMkLst>
        </pc:inkChg>
      </pc:sldChg>
      <pc:sldChg chg="new">
        <pc:chgData name="WESLEY.TBW" userId="S::wesley.tbw_gmail.com#ext#@risebcg.onmicrosoft.com::1034df62-ee6d-4b2f-8a56-03c4406a0a8a" providerId="AD" clId="Web-{0781AC2C-9B4D-48D3-8DAF-7A5A21AEF7CE}" dt="2022-01-08T13:46:55.427" v="614"/>
        <pc:sldMkLst>
          <pc:docMk/>
          <pc:sldMk cId="861222469" sldId="348"/>
        </pc:sldMkLst>
      </pc:sldChg>
      <pc:sldChg chg="addSp delSp modSp add replId">
        <pc:chgData name="WESLEY.TBW" userId="S::wesley.tbw_gmail.com#ext#@risebcg.onmicrosoft.com::1034df62-ee6d-4b2f-8a56-03c4406a0a8a" providerId="AD" clId="Web-{0781AC2C-9B4D-48D3-8DAF-7A5A21AEF7CE}" dt="2022-01-08T13:56:17.625" v="689" actId="14100"/>
        <pc:sldMkLst>
          <pc:docMk/>
          <pc:sldMk cId="2528704326" sldId="349"/>
        </pc:sldMkLst>
        <pc:spChg chg="mod">
          <ac:chgData name="WESLEY.TBW" userId="S::wesley.tbw_gmail.com#ext#@risebcg.onmicrosoft.com::1034df62-ee6d-4b2f-8a56-03c4406a0a8a" providerId="AD" clId="Web-{0781AC2C-9B4D-48D3-8DAF-7A5A21AEF7CE}" dt="2022-01-08T13:56:09.485" v="687" actId="14100"/>
          <ac:spMkLst>
            <pc:docMk/>
            <pc:sldMk cId="2528704326" sldId="349"/>
            <ac:spMk id="2" creationId="{539C9826-9E79-4999-9783-F530944DD31E}"/>
          </ac:spMkLst>
        </pc:spChg>
        <pc:grpChg chg="del">
          <ac:chgData name="WESLEY.TBW" userId="S::wesley.tbw_gmail.com#ext#@risebcg.onmicrosoft.com::1034df62-ee6d-4b2f-8a56-03c4406a0a8a" providerId="AD" clId="Web-{0781AC2C-9B4D-48D3-8DAF-7A5A21AEF7CE}" dt="2022-01-08T13:48:51.148" v="633"/>
          <ac:grpSpMkLst>
            <pc:docMk/>
            <pc:sldMk cId="2528704326" sldId="349"/>
            <ac:grpSpMk id="5" creationId="{0532B9A3-2CE8-47E6-92B2-6F465C10AF36}"/>
          </ac:grpSpMkLst>
        </pc:grpChg>
        <pc:picChg chg="add del mod">
          <ac:chgData name="WESLEY.TBW" userId="S::wesley.tbw_gmail.com#ext#@risebcg.onmicrosoft.com::1034df62-ee6d-4b2f-8a56-03c4406a0a8a" providerId="AD" clId="Web-{0781AC2C-9B4D-48D3-8DAF-7A5A21AEF7CE}" dt="2022-01-08T13:56:17.625" v="689" actId="14100"/>
          <ac:picMkLst>
            <pc:docMk/>
            <pc:sldMk cId="2528704326" sldId="349"/>
            <ac:picMk id="4" creationId="{5077707B-414C-42AA-B330-0167CEF42AD3}"/>
          </ac:picMkLst>
        </pc:picChg>
        <pc:picChg chg="del">
          <ac:chgData name="WESLEY.TBW" userId="S::wesley.tbw_gmail.com#ext#@risebcg.onmicrosoft.com::1034df62-ee6d-4b2f-8a56-03c4406a0a8a" providerId="AD" clId="Web-{0781AC2C-9B4D-48D3-8DAF-7A5A21AEF7CE}" dt="2022-01-08T13:48:51.148" v="632"/>
          <ac:picMkLst>
            <pc:docMk/>
            <pc:sldMk cId="2528704326" sldId="349"/>
            <ac:picMk id="6" creationId="{C0B12439-C614-4DBE-98E0-19638BA3CCB5}"/>
          </ac:picMkLst>
        </pc:picChg>
      </pc:sldChg>
      <pc:sldChg chg="addSp delSp modSp new">
        <pc:chgData name="WESLEY.TBW" userId="S::wesley.tbw_gmail.com#ext#@risebcg.onmicrosoft.com::1034df62-ee6d-4b2f-8a56-03c4406a0a8a" providerId="AD" clId="Web-{0781AC2C-9B4D-48D3-8DAF-7A5A21AEF7CE}" dt="2022-01-08T13:56:35.740" v="693" actId="1076"/>
        <pc:sldMkLst>
          <pc:docMk/>
          <pc:sldMk cId="3685283696" sldId="350"/>
        </pc:sldMkLst>
        <pc:spChg chg="del">
          <ac:chgData name="WESLEY.TBW" userId="S::wesley.tbw_gmail.com#ext#@risebcg.onmicrosoft.com::1034df62-ee6d-4b2f-8a56-03c4406a0a8a" providerId="AD" clId="Web-{0781AC2C-9B4D-48D3-8DAF-7A5A21AEF7CE}" dt="2022-01-08T13:49:24.227" v="641"/>
          <ac:spMkLst>
            <pc:docMk/>
            <pc:sldMk cId="3685283696" sldId="350"/>
            <ac:spMk id="2" creationId="{E782F4D1-DCDA-4CF4-B83D-4F17C6A30770}"/>
          </ac:spMkLst>
        </pc:spChg>
        <pc:spChg chg="del">
          <ac:chgData name="WESLEY.TBW" userId="S::wesley.tbw_gmail.com#ext#@risebcg.onmicrosoft.com::1034df62-ee6d-4b2f-8a56-03c4406a0a8a" providerId="AD" clId="Web-{0781AC2C-9B4D-48D3-8DAF-7A5A21AEF7CE}" dt="2022-01-08T13:49:11.008" v="636"/>
          <ac:spMkLst>
            <pc:docMk/>
            <pc:sldMk cId="3685283696" sldId="350"/>
            <ac:spMk id="3" creationId="{5C91E705-886E-4DA6-93E3-41961C77C8ED}"/>
          </ac:spMkLst>
        </pc:spChg>
        <pc:spChg chg="add">
          <ac:chgData name="WESLEY.TBW" userId="S::wesley.tbw_gmail.com#ext#@risebcg.onmicrosoft.com::1034df62-ee6d-4b2f-8a56-03c4406a0a8a" providerId="AD" clId="Web-{0781AC2C-9B4D-48D3-8DAF-7A5A21AEF7CE}" dt="2022-01-08T13:48:52.851" v="634"/>
          <ac:spMkLst>
            <pc:docMk/>
            <pc:sldMk cId="3685283696" sldId="350"/>
            <ac:spMk id="7" creationId="{448DCFB8-0BB7-4818-BFA7-52EE275AEB29}"/>
          </ac:spMkLst>
        </pc:spChg>
        <pc:spChg chg="add">
          <ac:chgData name="WESLEY.TBW" userId="S::wesley.tbw_gmail.com#ext#@risebcg.onmicrosoft.com::1034df62-ee6d-4b2f-8a56-03c4406a0a8a" providerId="AD" clId="Web-{0781AC2C-9B4D-48D3-8DAF-7A5A21AEF7CE}" dt="2022-01-08T13:48:52.851" v="634"/>
          <ac:spMkLst>
            <pc:docMk/>
            <pc:sldMk cId="3685283696" sldId="350"/>
            <ac:spMk id="8" creationId="{09412181-5062-449B-9180-7019A8119B2C}"/>
          </ac:spMkLst>
        </pc:spChg>
        <pc:spChg chg="add mod">
          <ac:chgData name="WESLEY.TBW" userId="S::wesley.tbw_gmail.com#ext#@risebcg.onmicrosoft.com::1034df62-ee6d-4b2f-8a56-03c4406a0a8a" providerId="AD" clId="Web-{0781AC2C-9B4D-48D3-8DAF-7A5A21AEF7CE}" dt="2022-01-08T13:56:26.563" v="690"/>
          <ac:spMkLst>
            <pc:docMk/>
            <pc:sldMk cId="3685283696" sldId="350"/>
            <ac:spMk id="10" creationId="{5867374F-5434-4E13-812F-03FB0E588491}"/>
          </ac:spMkLst>
        </pc:spChg>
        <pc:grpChg chg="add del mod">
          <ac:chgData name="WESLEY.TBW" userId="S::wesley.tbw_gmail.com#ext#@risebcg.onmicrosoft.com::1034df62-ee6d-4b2f-8a56-03c4406a0a8a" providerId="AD" clId="Web-{0781AC2C-9B4D-48D3-8DAF-7A5A21AEF7CE}" dt="2022-01-08T13:56:35.740" v="693" actId="1076"/>
          <ac:grpSpMkLst>
            <pc:docMk/>
            <pc:sldMk cId="3685283696" sldId="350"/>
            <ac:grpSpMk id="4" creationId="{94C6C106-B386-4A2E-81E6-1F3F086FEAC0}"/>
          </ac:grpSpMkLst>
        </pc:grpChg>
        <pc:picChg chg="add mod">
          <ac:chgData name="WESLEY.TBW" userId="S::wesley.tbw_gmail.com#ext#@risebcg.onmicrosoft.com::1034df62-ee6d-4b2f-8a56-03c4406a0a8a" providerId="AD" clId="Web-{0781AC2C-9B4D-48D3-8DAF-7A5A21AEF7CE}" dt="2022-01-08T13:56:33.423" v="692" actId="14100"/>
          <ac:picMkLst>
            <pc:docMk/>
            <pc:sldMk cId="3685283696" sldId="350"/>
            <ac:picMk id="5" creationId="{B95C723D-080B-423A-BEDF-8046FB191CAA}"/>
          </ac:picMkLst>
        </pc:picChg>
        <pc:picChg chg="add">
          <ac:chgData name="WESLEY.TBW" userId="S::wesley.tbw_gmail.com#ext#@risebcg.onmicrosoft.com::1034df62-ee6d-4b2f-8a56-03c4406a0a8a" providerId="AD" clId="Web-{0781AC2C-9B4D-48D3-8DAF-7A5A21AEF7CE}" dt="2022-01-08T13:48:52.851" v="634"/>
          <ac:picMkLst>
            <pc:docMk/>
            <pc:sldMk cId="3685283696" sldId="350"/>
            <ac:picMk id="6" creationId="{403F2A95-E655-4F3E-AA55-9C7C28F67C77}"/>
          </ac:picMkLst>
        </pc:picChg>
      </pc:sldChg>
      <pc:sldChg chg="addSp delSp modSp new">
        <pc:chgData name="WESLEY.TBW" userId="S::wesley.tbw_gmail.com#ext#@risebcg.onmicrosoft.com::1034df62-ee6d-4b2f-8a56-03c4406a0a8a" providerId="AD" clId="Web-{0781AC2C-9B4D-48D3-8DAF-7A5A21AEF7CE}" dt="2022-01-08T13:56:01.328" v="685" actId="1076"/>
        <pc:sldMkLst>
          <pc:docMk/>
          <pc:sldMk cId="1823296178" sldId="351"/>
        </pc:sldMkLst>
        <pc:spChg chg="del">
          <ac:chgData name="WESLEY.TBW" userId="S::wesley.tbw_gmail.com#ext#@risebcg.onmicrosoft.com::1034df62-ee6d-4b2f-8a56-03c4406a0a8a" providerId="AD" clId="Web-{0781AC2C-9B4D-48D3-8DAF-7A5A21AEF7CE}" dt="2022-01-08T13:53:01.606" v="660"/>
          <ac:spMkLst>
            <pc:docMk/>
            <pc:sldMk cId="1823296178" sldId="351"/>
            <ac:spMk id="2" creationId="{004DC5F3-DEC9-4374-94EB-F850FEC70A64}"/>
          </ac:spMkLst>
        </pc:spChg>
        <pc:spChg chg="del">
          <ac:chgData name="WESLEY.TBW" userId="S::wesley.tbw_gmail.com#ext#@risebcg.onmicrosoft.com::1034df62-ee6d-4b2f-8a56-03c4406a0a8a" providerId="AD" clId="Web-{0781AC2C-9B4D-48D3-8DAF-7A5A21AEF7CE}" dt="2022-01-08T13:53:00.262" v="659"/>
          <ac:spMkLst>
            <pc:docMk/>
            <pc:sldMk cId="1823296178" sldId="351"/>
            <ac:spMk id="3" creationId="{50036D6F-AF58-41CB-8D39-63EB8D9FC19A}"/>
          </ac:spMkLst>
        </pc:spChg>
        <pc:spChg chg="add mod">
          <ac:chgData name="WESLEY.TBW" userId="S::wesley.tbw_gmail.com#ext#@risebcg.onmicrosoft.com::1034df62-ee6d-4b2f-8a56-03c4406a0a8a" providerId="AD" clId="Web-{0781AC2C-9B4D-48D3-8DAF-7A5A21AEF7CE}" dt="2022-01-08T13:56:01.328" v="685" actId="1076"/>
          <ac:spMkLst>
            <pc:docMk/>
            <pc:sldMk cId="1823296178" sldId="351"/>
            <ac:spMk id="8" creationId="{38EF7586-1E62-49DF-BFC5-73CC01BB83D6}"/>
          </ac:spMkLst>
        </pc:spChg>
        <pc:picChg chg="add mod">
          <ac:chgData name="WESLEY.TBW" userId="S::wesley.tbw_gmail.com#ext#@risebcg.onmicrosoft.com::1034df62-ee6d-4b2f-8a56-03c4406a0a8a" providerId="AD" clId="Web-{0781AC2C-9B4D-48D3-8DAF-7A5A21AEF7CE}" dt="2022-01-08T13:55:53.500" v="683" actId="1076"/>
          <ac:picMkLst>
            <pc:docMk/>
            <pc:sldMk cId="1823296178" sldId="351"/>
            <ac:picMk id="4" creationId="{809C533A-AFC0-4A50-BB53-AD1A504EB8AA}"/>
          </ac:picMkLst>
        </pc:picChg>
        <pc:picChg chg="add del mod">
          <ac:chgData name="WESLEY.TBW" userId="S::wesley.tbw_gmail.com#ext#@risebcg.onmicrosoft.com::1034df62-ee6d-4b2f-8a56-03c4406a0a8a" providerId="AD" clId="Web-{0781AC2C-9B4D-48D3-8DAF-7A5A21AEF7CE}" dt="2022-01-08T13:54:28.264" v="668"/>
          <ac:picMkLst>
            <pc:docMk/>
            <pc:sldMk cId="1823296178" sldId="351"/>
            <ac:picMk id="5" creationId="{7F0C3A1F-2F60-48EA-8AC7-351A266EDF90}"/>
          </ac:picMkLst>
        </pc:picChg>
        <pc:picChg chg="add mod">
          <ac:chgData name="WESLEY.TBW" userId="S::wesley.tbw_gmail.com#ext#@risebcg.onmicrosoft.com::1034df62-ee6d-4b2f-8a56-03c4406a0a8a" providerId="AD" clId="Web-{0781AC2C-9B4D-48D3-8DAF-7A5A21AEF7CE}" dt="2022-01-08T13:55:56.703" v="684" actId="14100"/>
          <ac:picMkLst>
            <pc:docMk/>
            <pc:sldMk cId="1823296178" sldId="351"/>
            <ac:picMk id="6" creationId="{6A9FCBE7-1CC3-44E4-81F0-428DD3F70CFC}"/>
          </ac:picMkLst>
        </pc:picChg>
      </pc:sldChg>
      <pc:sldChg chg="addSp delSp modSp add ord replId">
        <pc:chgData name="WESLEY.TBW" userId="S::wesley.tbw_gmail.com#ext#@risebcg.onmicrosoft.com::1034df62-ee6d-4b2f-8a56-03c4406a0a8a" providerId="AD" clId="Web-{0781AC2C-9B4D-48D3-8DAF-7A5A21AEF7CE}" dt="2022-01-08T14:14:09.928" v="706" actId="1076"/>
        <pc:sldMkLst>
          <pc:docMk/>
          <pc:sldMk cId="1602317283" sldId="352"/>
        </pc:sldMkLst>
        <pc:picChg chg="add mod">
          <ac:chgData name="WESLEY.TBW" userId="S::wesley.tbw_gmail.com#ext#@risebcg.onmicrosoft.com::1034df62-ee6d-4b2f-8a56-03c4406a0a8a" providerId="AD" clId="Web-{0781AC2C-9B4D-48D3-8DAF-7A5A21AEF7CE}" dt="2022-01-08T14:14:08.349" v="705" actId="1076"/>
          <ac:picMkLst>
            <pc:docMk/>
            <pc:sldMk cId="1602317283" sldId="352"/>
            <ac:picMk id="3" creationId="{20B35CB3-36DD-49EE-954D-E122673D5070}"/>
          </ac:picMkLst>
        </pc:picChg>
        <pc:picChg chg="add mod">
          <ac:chgData name="WESLEY.TBW" userId="S::wesley.tbw_gmail.com#ext#@risebcg.onmicrosoft.com::1034df62-ee6d-4b2f-8a56-03c4406a0a8a" providerId="AD" clId="Web-{0781AC2C-9B4D-48D3-8DAF-7A5A21AEF7CE}" dt="2022-01-08T14:14:09.928" v="706" actId="1076"/>
          <ac:picMkLst>
            <pc:docMk/>
            <pc:sldMk cId="1602317283" sldId="352"/>
            <ac:picMk id="4" creationId="{77A06809-46E8-4104-8CC2-39B3E44D4271}"/>
          </ac:picMkLst>
        </pc:picChg>
        <pc:picChg chg="del">
          <ac:chgData name="WESLEY.TBW" userId="S::wesley.tbw_gmail.com#ext#@risebcg.onmicrosoft.com::1034df62-ee6d-4b2f-8a56-03c4406a0a8a" providerId="AD" clId="Web-{0781AC2C-9B4D-48D3-8DAF-7A5A21AEF7CE}" dt="2022-01-08T13:57:02.095" v="696"/>
          <ac:picMkLst>
            <pc:docMk/>
            <pc:sldMk cId="1602317283" sldId="352"/>
            <ac:picMk id="10" creationId="{676266AD-39DD-4C63-AC43-FBDA958C8BFA}"/>
          </ac:picMkLst>
        </pc:picChg>
      </pc:sldChg>
      <pc:sldChg chg="addSp delSp modSp add replId">
        <pc:chgData name="WESLEY.TBW" userId="S::wesley.tbw_gmail.com#ext#@risebcg.onmicrosoft.com::1034df62-ee6d-4b2f-8a56-03c4406a0a8a" providerId="AD" clId="Web-{0781AC2C-9B4D-48D3-8DAF-7A5A21AEF7CE}" dt="2022-01-08T14:14:38.116" v="715" actId="1076"/>
        <pc:sldMkLst>
          <pc:docMk/>
          <pc:sldMk cId="1042141491" sldId="353"/>
        </pc:sldMkLst>
        <pc:picChg chg="del">
          <ac:chgData name="WESLEY.TBW" userId="S::wesley.tbw_gmail.com#ext#@risebcg.onmicrosoft.com::1034df62-ee6d-4b2f-8a56-03c4406a0a8a" providerId="AD" clId="Web-{0781AC2C-9B4D-48D3-8DAF-7A5A21AEF7CE}" dt="2022-01-08T14:14:18.397" v="707"/>
          <ac:picMkLst>
            <pc:docMk/>
            <pc:sldMk cId="1042141491" sldId="353"/>
            <ac:picMk id="3" creationId="{20B35CB3-36DD-49EE-954D-E122673D5070}"/>
          </ac:picMkLst>
        </pc:picChg>
        <pc:picChg chg="add mod">
          <ac:chgData name="WESLEY.TBW" userId="S::wesley.tbw_gmail.com#ext#@risebcg.onmicrosoft.com::1034df62-ee6d-4b2f-8a56-03c4406a0a8a" providerId="AD" clId="Web-{0781AC2C-9B4D-48D3-8DAF-7A5A21AEF7CE}" dt="2022-01-08T14:14:38.116" v="715" actId="1076"/>
          <ac:picMkLst>
            <pc:docMk/>
            <pc:sldMk cId="1042141491" sldId="353"/>
            <ac:picMk id="4" creationId="{0633DDFD-C6E4-49AC-8FC0-3B3F14495A9E}"/>
          </ac:picMkLst>
        </pc:picChg>
        <pc:picChg chg="add mod">
          <ac:chgData name="WESLEY.TBW" userId="S::wesley.tbw_gmail.com#ext#@risebcg.onmicrosoft.com::1034df62-ee6d-4b2f-8a56-03c4406a0a8a" providerId="AD" clId="Web-{0781AC2C-9B4D-48D3-8DAF-7A5A21AEF7CE}" dt="2022-01-08T14:14:36.100" v="714" actId="1076"/>
          <ac:picMkLst>
            <pc:docMk/>
            <pc:sldMk cId="1042141491" sldId="353"/>
            <ac:picMk id="5" creationId="{3B6F7F7B-D3FB-4B64-A663-FE7B75E2A8B0}"/>
          </ac:picMkLst>
        </pc:picChg>
      </pc:sldChg>
    </pc:docChg>
  </pc:docChgLst>
  <pc:docChgLst>
    <pc:chgData name="WONGYONGLIN91" userId="S::wongyonglin91_gmail.com#ext#@risebcg.onmicrosoft.com::b2d94f93-e580-4f0d-9dda-2138509d25ae" providerId="AD" clId="Web-{F0A9F897-F63F-4ABF-9284-5B2E5231BFDE}"/>
    <pc:docChg chg="delSld modSld">
      <pc:chgData name="WONGYONGLIN91" userId="S::wongyonglin91_gmail.com#ext#@risebcg.onmicrosoft.com::b2d94f93-e580-4f0d-9dda-2138509d25ae" providerId="AD" clId="Web-{F0A9F897-F63F-4ABF-9284-5B2E5231BFDE}" dt="2022-01-09T05:48:54.330" v="19" actId="20577"/>
      <pc:docMkLst>
        <pc:docMk/>
      </pc:docMkLst>
      <pc:sldChg chg="addSp delSp modSp">
        <pc:chgData name="WONGYONGLIN91" userId="S::wongyonglin91_gmail.com#ext#@risebcg.onmicrosoft.com::b2d94f93-e580-4f0d-9dda-2138509d25ae" providerId="AD" clId="Web-{F0A9F897-F63F-4ABF-9284-5B2E5231BFDE}" dt="2022-01-09T05:48:54.330" v="19" actId="20577"/>
        <pc:sldMkLst>
          <pc:docMk/>
          <pc:sldMk cId="1894441827" sldId="358"/>
        </pc:sldMkLst>
        <pc:spChg chg="mod">
          <ac:chgData name="WONGYONGLIN91" userId="S::wongyonglin91_gmail.com#ext#@risebcg.onmicrosoft.com::b2d94f93-e580-4f0d-9dda-2138509d25ae" providerId="AD" clId="Web-{F0A9F897-F63F-4ABF-9284-5B2E5231BFDE}" dt="2022-01-09T05:48:54.330" v="19" actId="20577"/>
          <ac:spMkLst>
            <pc:docMk/>
            <pc:sldMk cId="1894441827" sldId="358"/>
            <ac:spMk id="17" creationId="{815F3179-193A-4F5E-A1A9-12297C608458}"/>
          </ac:spMkLst>
        </pc:spChg>
        <pc:picChg chg="add mod">
          <ac:chgData name="WONGYONGLIN91" userId="S::wongyonglin91_gmail.com#ext#@risebcg.onmicrosoft.com::b2d94f93-e580-4f0d-9dda-2138509d25ae" providerId="AD" clId="Web-{F0A9F897-F63F-4ABF-9284-5B2E5231BFDE}" dt="2022-01-09T05:46:48.968" v="9" actId="14100"/>
          <ac:picMkLst>
            <pc:docMk/>
            <pc:sldMk cId="1894441827" sldId="358"/>
            <ac:picMk id="4" creationId="{BA22EAA2-4B47-4688-9DD6-1B3E79191AAF}"/>
          </ac:picMkLst>
        </pc:picChg>
        <pc:picChg chg="add mod">
          <ac:chgData name="WONGYONGLIN91" userId="S::wongyonglin91_gmail.com#ext#@risebcg.onmicrosoft.com::b2d94f93-e580-4f0d-9dda-2138509d25ae" providerId="AD" clId="Web-{F0A9F897-F63F-4ABF-9284-5B2E5231BFDE}" dt="2022-01-09T05:47:51.907" v="13" actId="14100"/>
          <ac:picMkLst>
            <pc:docMk/>
            <pc:sldMk cId="1894441827" sldId="358"/>
            <ac:picMk id="6" creationId="{5F5024CD-EB7B-49D0-9E4B-B6BFDC4F5683}"/>
          </ac:picMkLst>
        </pc:picChg>
        <pc:picChg chg="del">
          <ac:chgData name="WONGYONGLIN91" userId="S::wongyonglin91_gmail.com#ext#@risebcg.onmicrosoft.com::b2d94f93-e580-4f0d-9dda-2138509d25ae" providerId="AD" clId="Web-{F0A9F897-F63F-4ABF-9284-5B2E5231BFDE}" dt="2022-01-09T05:46:53.906" v="10"/>
          <ac:picMkLst>
            <pc:docMk/>
            <pc:sldMk cId="1894441827" sldId="358"/>
            <ac:picMk id="9" creationId="{AE0C5261-EE51-4A4C-8F2E-CF83910177AF}"/>
          </ac:picMkLst>
        </pc:picChg>
        <pc:picChg chg="del">
          <ac:chgData name="WONGYONGLIN91" userId="S::wongyonglin91_gmail.com#ext#@risebcg.onmicrosoft.com::b2d94f93-e580-4f0d-9dda-2138509d25ae" providerId="AD" clId="Web-{F0A9F897-F63F-4ABF-9284-5B2E5231BFDE}" dt="2022-01-09T05:46:24.327" v="2"/>
          <ac:picMkLst>
            <pc:docMk/>
            <pc:sldMk cId="1894441827" sldId="358"/>
            <ac:picMk id="13" creationId="{527B4510-4D9B-455A-B6C2-3238A0275F12}"/>
          </ac:picMkLst>
        </pc:picChg>
      </pc:sldChg>
      <pc:sldChg chg="del">
        <pc:chgData name="WONGYONGLIN91" userId="S::wongyonglin91_gmail.com#ext#@risebcg.onmicrosoft.com::b2d94f93-e580-4f0d-9dda-2138509d25ae" providerId="AD" clId="Web-{F0A9F897-F63F-4ABF-9284-5B2E5231BFDE}" dt="2022-01-09T05:20:57.244" v="0"/>
        <pc:sldMkLst>
          <pc:docMk/>
          <pc:sldMk cId="373009354" sldId="36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2C0361-2AF4-403D-9556-EC28E8565404}" type="doc">
      <dgm:prSet loTypeId="urn:microsoft.com/office/officeart/2005/8/layout/orgChart1" loCatId="hierarchy" qsTypeId="urn:microsoft.com/office/officeart/2005/8/quickstyle/simple1" qsCatId="simple" csTypeId="urn:microsoft.com/office/officeart/2005/8/colors/accent2_2" csCatId="accent2" phldr="1"/>
      <dgm:spPr/>
      <dgm:t>
        <a:bodyPr/>
        <a:lstStyle/>
        <a:p>
          <a:endParaRPr lang="en-US"/>
        </a:p>
      </dgm:t>
    </dgm:pt>
    <dgm:pt modelId="{2B407BBF-E10D-49D4-ADC4-C4C936319F45}">
      <dgm:prSet phldrT="[Text]"/>
      <dgm:spPr/>
      <dgm:t>
        <a:bodyPr/>
        <a:lstStyle/>
        <a:p>
          <a:pPr rtl="0"/>
          <a:r>
            <a:rPr lang="en-US">
              <a:latin typeface="Trebuchet MS"/>
            </a:rPr>
            <a:t>Features </a:t>
          </a:r>
          <a:endParaRPr lang="en-US"/>
        </a:p>
      </dgm:t>
    </dgm:pt>
    <dgm:pt modelId="{74DDAC21-A09D-4644-BA90-93C87D93DCFD}" type="parTrans" cxnId="{43EB3BA3-8E7E-47E6-886E-B9B7B676597E}">
      <dgm:prSet/>
      <dgm:spPr/>
      <dgm:t>
        <a:bodyPr/>
        <a:lstStyle/>
        <a:p>
          <a:endParaRPr lang="en-US"/>
        </a:p>
      </dgm:t>
    </dgm:pt>
    <dgm:pt modelId="{87BD3336-8813-4C80-9F0B-2E8D3D01CD6A}" type="sibTrans" cxnId="{43EB3BA3-8E7E-47E6-886E-B9B7B676597E}">
      <dgm:prSet/>
      <dgm:spPr/>
      <dgm:t>
        <a:bodyPr/>
        <a:lstStyle/>
        <a:p>
          <a:endParaRPr lang="en-US"/>
        </a:p>
      </dgm:t>
    </dgm:pt>
    <dgm:pt modelId="{921D9F10-6EA4-469D-A3D6-2FA8B9F421D4}">
      <dgm:prSet phldrT="[Text]" phldr="0"/>
      <dgm:spPr/>
      <dgm:t>
        <a:bodyPr/>
        <a:lstStyle/>
        <a:p>
          <a:pPr rtl="0"/>
          <a:r>
            <a:rPr lang="en-US">
              <a:latin typeface="Trebuchet MS"/>
            </a:rPr>
            <a:t>Internal Data (Provided by Sentosa) </a:t>
          </a:r>
        </a:p>
      </dgm:t>
    </dgm:pt>
    <dgm:pt modelId="{374B108A-D4A2-4A80-886C-14D2711D64D9}" type="parTrans" cxnId="{0EE3C989-3716-4E88-B036-1A7A526EFB65}">
      <dgm:prSet/>
      <dgm:spPr/>
      <dgm:t>
        <a:bodyPr/>
        <a:lstStyle/>
        <a:p>
          <a:endParaRPr lang="en-US"/>
        </a:p>
      </dgm:t>
    </dgm:pt>
    <dgm:pt modelId="{9B57671D-B35E-4E5E-B75E-946B588954D4}" type="sibTrans" cxnId="{0EE3C989-3716-4E88-B036-1A7A526EFB65}">
      <dgm:prSet/>
      <dgm:spPr/>
      <dgm:t>
        <a:bodyPr/>
        <a:lstStyle/>
        <a:p>
          <a:endParaRPr lang="en-US"/>
        </a:p>
      </dgm:t>
    </dgm:pt>
    <dgm:pt modelId="{7D66D1BA-3244-4E9B-8415-402F3E3D256D}">
      <dgm:prSet phldr="0"/>
      <dgm:spPr/>
      <dgm:t>
        <a:bodyPr/>
        <a:lstStyle/>
        <a:p>
          <a:pPr rtl="0"/>
          <a:r>
            <a:rPr lang="en-US">
              <a:latin typeface="Trebuchet MS"/>
            </a:rPr>
            <a:t> External Data</a:t>
          </a:r>
        </a:p>
      </dgm:t>
    </dgm:pt>
    <dgm:pt modelId="{125F3890-B46C-4E18-B024-9FAFB884C3B6}" type="parTrans" cxnId="{8FA3D13F-C739-46CC-BFCD-04686826926F}">
      <dgm:prSet/>
      <dgm:spPr/>
    </dgm:pt>
    <dgm:pt modelId="{C1644C6B-4EB3-4693-ADC1-F06434C915B2}" type="sibTrans" cxnId="{8FA3D13F-C739-46CC-BFCD-04686826926F}">
      <dgm:prSet/>
      <dgm:spPr/>
    </dgm:pt>
    <dgm:pt modelId="{8D7BA605-43F7-4B34-B283-49A3E2B9C76D}">
      <dgm:prSet phldr="0"/>
      <dgm:spPr/>
      <dgm:t>
        <a:bodyPr/>
        <a:lstStyle/>
        <a:p>
          <a:pPr rtl="0"/>
          <a:r>
            <a:rPr lang="en-US">
              <a:latin typeface="Trebuchet MS"/>
            </a:rPr>
            <a:t>Ridership Data</a:t>
          </a:r>
        </a:p>
      </dgm:t>
    </dgm:pt>
    <dgm:pt modelId="{FFFC4EF6-AF4B-4358-B906-D25BA0D07825}" type="parTrans" cxnId="{E243E449-2210-4078-8358-18CA3B6C8108}">
      <dgm:prSet/>
      <dgm:spPr/>
    </dgm:pt>
    <dgm:pt modelId="{60240213-0DF5-4AA8-94C6-8476DE2FCB95}" type="sibTrans" cxnId="{E243E449-2210-4078-8358-18CA3B6C8108}">
      <dgm:prSet/>
      <dgm:spPr/>
    </dgm:pt>
    <dgm:pt modelId="{CBE2C7AB-6617-4EE5-B073-496CF250BAAD}">
      <dgm:prSet phldr="0"/>
      <dgm:spPr/>
      <dgm:t>
        <a:bodyPr/>
        <a:lstStyle/>
        <a:p>
          <a:pPr rtl="0"/>
          <a:r>
            <a:rPr lang="en-US">
              <a:latin typeface="Trebuchet MS"/>
            </a:rPr>
            <a:t> Holiday Flag (Govt Public Holidays, School Holidays)</a:t>
          </a:r>
        </a:p>
      </dgm:t>
    </dgm:pt>
    <dgm:pt modelId="{7C589D82-36DA-40B0-8344-FCAC680EA735}" type="parTrans" cxnId="{4E0B74AD-361B-4CAA-B029-88881EF987EB}">
      <dgm:prSet/>
      <dgm:spPr/>
    </dgm:pt>
    <dgm:pt modelId="{E106E858-32B4-4C36-BC3E-35C3DD85BA47}" type="sibTrans" cxnId="{4E0B74AD-361B-4CAA-B029-88881EF987EB}">
      <dgm:prSet/>
      <dgm:spPr/>
    </dgm:pt>
    <dgm:pt modelId="{9D6F5524-641C-4880-A3D1-B66718A28B97}">
      <dgm:prSet phldr="0"/>
      <dgm:spPr/>
      <dgm:t>
        <a:bodyPr/>
        <a:lstStyle/>
        <a:p>
          <a:pPr rtl="0"/>
          <a:r>
            <a:rPr lang="en-US">
              <a:latin typeface="Trebuchet MS"/>
            </a:rPr>
            <a:t> Live Weather Data (weather.gov.sg) </a:t>
          </a:r>
        </a:p>
      </dgm:t>
    </dgm:pt>
    <dgm:pt modelId="{B6ABD7A9-BB03-4785-8DA3-1BBC4BBEBE4E}" type="parTrans" cxnId="{265AF77F-1B1B-41AE-8E4B-4CB0A6E2688E}">
      <dgm:prSet/>
      <dgm:spPr/>
    </dgm:pt>
    <dgm:pt modelId="{02CFAF66-9DAD-4150-A6FF-CE1138CB7F4B}" type="sibTrans" cxnId="{265AF77F-1B1B-41AE-8E4B-4CB0A6E2688E}">
      <dgm:prSet/>
      <dgm:spPr/>
    </dgm:pt>
    <dgm:pt modelId="{5231BFD0-BC09-4EEB-9409-C1D6F460F8A1}">
      <dgm:prSet phldr="0"/>
      <dgm:spPr/>
      <dgm:t>
        <a:bodyPr/>
        <a:lstStyle/>
        <a:p>
          <a:pPr rtl="0"/>
          <a:r>
            <a:rPr lang="en-US">
              <a:latin typeface="Trebuchet MS"/>
            </a:rPr>
            <a:t>Day of Week Flag</a:t>
          </a:r>
        </a:p>
      </dgm:t>
    </dgm:pt>
    <dgm:pt modelId="{735B5C96-B3BC-43A1-926F-8385BF18FD02}" type="parTrans" cxnId="{BA0640B0-645A-4385-846E-1E8F04554410}">
      <dgm:prSet/>
      <dgm:spPr/>
    </dgm:pt>
    <dgm:pt modelId="{34D59059-1C0A-487B-9C3D-318BC70693E3}" type="sibTrans" cxnId="{BA0640B0-645A-4385-846E-1E8F04554410}">
      <dgm:prSet/>
      <dgm:spPr/>
    </dgm:pt>
    <dgm:pt modelId="{4DEE920C-44DA-420A-BBA9-9A6DBF240AF6}">
      <dgm:prSet phldr="0"/>
      <dgm:spPr/>
      <dgm:t>
        <a:bodyPr/>
        <a:lstStyle/>
        <a:p>
          <a:pPr rtl="0"/>
          <a:r>
            <a:rPr lang="en-US">
              <a:latin typeface="Trebuchet MS"/>
            </a:rPr>
            <a:t>Weather Data </a:t>
          </a:r>
        </a:p>
      </dgm:t>
    </dgm:pt>
    <dgm:pt modelId="{1CEA8DD7-79DF-4A31-8BDD-7C359234C271}" type="parTrans" cxnId="{6EEA40FC-8E1D-4C68-BEA3-45FAB219DA2E}">
      <dgm:prSet/>
      <dgm:spPr/>
    </dgm:pt>
    <dgm:pt modelId="{CE8659BE-969D-452A-A25E-58E4DE418D15}" type="sibTrans" cxnId="{6EEA40FC-8E1D-4C68-BEA3-45FAB219DA2E}">
      <dgm:prSet/>
      <dgm:spPr/>
    </dgm:pt>
    <dgm:pt modelId="{A7700BDF-CEC7-4298-A311-7492AFFD6590}">
      <dgm:prSet phldr="0"/>
      <dgm:spPr/>
      <dgm:t>
        <a:bodyPr/>
        <a:lstStyle/>
        <a:p>
          <a:r>
            <a:rPr lang="en-US">
              <a:latin typeface="Trebuchet MS"/>
            </a:rPr>
            <a:t>Rain Flag</a:t>
          </a:r>
          <a:endParaRPr lang="en-US"/>
        </a:p>
      </dgm:t>
    </dgm:pt>
    <dgm:pt modelId="{1F93248C-103D-435E-8598-B3FACE6E29A7}" type="parTrans" cxnId="{924007A9-7733-42F8-9745-B983C28D22BF}">
      <dgm:prSet/>
      <dgm:spPr/>
    </dgm:pt>
    <dgm:pt modelId="{BA16B77C-E754-4552-A83D-A3105B237A8A}" type="sibTrans" cxnId="{924007A9-7733-42F8-9745-B983C28D22BF}">
      <dgm:prSet/>
      <dgm:spPr/>
    </dgm:pt>
    <dgm:pt modelId="{E2740EFC-221D-41D6-8B2D-2EEBB2CC1DAB}">
      <dgm:prSet phldr="0"/>
      <dgm:spPr/>
      <dgm:t>
        <a:bodyPr/>
        <a:lstStyle/>
        <a:p>
          <a:pPr rtl="0"/>
          <a:r>
            <a:rPr lang="en-US">
              <a:latin typeface="Trebuchet MS"/>
            </a:rPr>
            <a:t>Weekend Flag</a:t>
          </a:r>
        </a:p>
      </dgm:t>
    </dgm:pt>
    <dgm:pt modelId="{E70623EA-78E3-4494-85B1-76A50DD2D521}" type="parTrans" cxnId="{39E85CBB-C155-4460-B418-ACB6054E9C42}">
      <dgm:prSet/>
      <dgm:spPr/>
    </dgm:pt>
    <dgm:pt modelId="{A7998C02-45BE-4354-B0F3-B7BED92D3151}" type="sibTrans" cxnId="{39E85CBB-C155-4460-B418-ACB6054E9C42}">
      <dgm:prSet/>
      <dgm:spPr/>
    </dgm:pt>
    <dgm:pt modelId="{04511269-CD7F-4C88-B15E-A79D32687DD9}">
      <dgm:prSet phldr="0"/>
      <dgm:spPr/>
      <dgm:t>
        <a:bodyPr/>
        <a:lstStyle/>
        <a:p>
          <a:pPr rtl="0"/>
          <a:r>
            <a:rPr lang="en-US">
              <a:latin typeface="Trebuchet MS"/>
            </a:rPr>
            <a:t>Weekday Flag</a:t>
          </a:r>
        </a:p>
      </dgm:t>
    </dgm:pt>
    <dgm:pt modelId="{9194D665-D17F-46BF-9873-0877AFFA3813}" type="parTrans" cxnId="{1AFA23F0-D761-4551-B218-9B2D8259BE7E}">
      <dgm:prSet/>
      <dgm:spPr/>
    </dgm:pt>
    <dgm:pt modelId="{2F972072-4AAA-47CA-AD8C-EE5F34370E48}" type="sibTrans" cxnId="{1AFA23F0-D761-4551-B218-9B2D8259BE7E}">
      <dgm:prSet/>
      <dgm:spPr/>
    </dgm:pt>
    <dgm:pt modelId="{A195318E-6875-4E10-9D5D-9DD56D57DE8A}">
      <dgm:prSet phldr="0"/>
      <dgm:spPr/>
      <dgm:t>
        <a:bodyPr/>
        <a:lstStyle/>
        <a:p>
          <a:r>
            <a:rPr lang="en-US">
              <a:latin typeface="Trebuchet MS"/>
            </a:rPr>
            <a:t>Mid-week Flag</a:t>
          </a:r>
          <a:endParaRPr lang="en-US"/>
        </a:p>
      </dgm:t>
    </dgm:pt>
    <dgm:pt modelId="{72F28A72-9B4E-465A-8D00-84284158A52B}" type="parTrans" cxnId="{921728C4-06E3-4FEA-AA9B-71F517E0E7A2}">
      <dgm:prSet/>
      <dgm:spPr/>
    </dgm:pt>
    <dgm:pt modelId="{DE7579CD-DDA5-4C9B-ABF0-9267CAAE1AEE}" type="sibTrans" cxnId="{921728C4-06E3-4FEA-AA9B-71F517E0E7A2}">
      <dgm:prSet/>
      <dgm:spPr/>
    </dgm:pt>
    <dgm:pt modelId="{EBD320BA-E1D8-43E1-9532-F5229FB103E4}">
      <dgm:prSet phldr="0"/>
      <dgm:spPr/>
      <dgm:t>
        <a:bodyPr/>
        <a:lstStyle/>
        <a:p>
          <a:pPr rtl="0"/>
          <a:r>
            <a:rPr lang="en-US">
              <a:latin typeface="Trebuchet MS"/>
            </a:rPr>
            <a:t>Saturday Flag</a:t>
          </a:r>
        </a:p>
      </dgm:t>
    </dgm:pt>
    <dgm:pt modelId="{48BE8E7A-8514-4D0D-928D-3797ED1CB626}" type="parTrans" cxnId="{76EDBCAE-B877-4FD0-864D-3581D57DA321}">
      <dgm:prSet/>
      <dgm:spPr/>
    </dgm:pt>
    <dgm:pt modelId="{52A3E73C-E63B-4CED-9CA5-53FC1D99F0B7}" type="sibTrans" cxnId="{76EDBCAE-B877-4FD0-864D-3581D57DA321}">
      <dgm:prSet/>
      <dgm:spPr/>
    </dgm:pt>
    <dgm:pt modelId="{F7A13298-94F1-4908-B399-232188B45540}">
      <dgm:prSet phldr="0"/>
      <dgm:spPr/>
      <dgm:t>
        <a:bodyPr/>
        <a:lstStyle/>
        <a:p>
          <a:r>
            <a:rPr lang="en-US">
              <a:latin typeface="Trebuchet MS"/>
            </a:rPr>
            <a:t>Sunday Flag</a:t>
          </a:r>
          <a:endParaRPr lang="en-US"/>
        </a:p>
      </dgm:t>
    </dgm:pt>
    <dgm:pt modelId="{0291537D-0EC9-4B54-8636-A184DF21AD4A}" type="parTrans" cxnId="{9CDE94EE-31F1-49AC-A150-C97A19D9BE36}">
      <dgm:prSet/>
      <dgm:spPr/>
    </dgm:pt>
    <dgm:pt modelId="{E43C794D-D8AB-4FD8-B2AB-62DB4C5534BC}" type="sibTrans" cxnId="{9CDE94EE-31F1-49AC-A150-C97A19D9BE36}">
      <dgm:prSet/>
      <dgm:spPr/>
    </dgm:pt>
    <dgm:pt modelId="{86248B53-864C-49CE-9553-C8071A9EB2A0}">
      <dgm:prSet phldr="0"/>
      <dgm:spPr/>
      <dgm:t>
        <a:bodyPr/>
        <a:lstStyle/>
        <a:p>
          <a:pPr rtl="0"/>
          <a:r>
            <a:rPr lang="en-US">
              <a:latin typeface="Trebuchet MS"/>
            </a:rPr>
            <a:t>Weekday Holiday Flag</a:t>
          </a:r>
        </a:p>
      </dgm:t>
    </dgm:pt>
    <dgm:pt modelId="{48ACB221-425D-4209-AF83-3454838F433E}" type="parTrans" cxnId="{0B35FCB4-448C-4BD4-913C-77B4271CF3E5}">
      <dgm:prSet/>
      <dgm:spPr/>
    </dgm:pt>
    <dgm:pt modelId="{91FB92B2-2530-4882-A341-18892C90EF58}" type="sibTrans" cxnId="{0B35FCB4-448C-4BD4-913C-77B4271CF3E5}">
      <dgm:prSet/>
      <dgm:spPr/>
    </dgm:pt>
    <dgm:pt modelId="{9824F04F-DC62-42A1-BE42-9F44711318F5}">
      <dgm:prSet phldr="0"/>
      <dgm:spPr/>
      <dgm:t>
        <a:bodyPr/>
        <a:lstStyle/>
        <a:p>
          <a:pPr rtl="0"/>
          <a:r>
            <a:rPr lang="en-US">
              <a:latin typeface="Trebuchet MS"/>
            </a:rPr>
            <a:t>Weekend Holiday Flag</a:t>
          </a:r>
        </a:p>
      </dgm:t>
    </dgm:pt>
    <dgm:pt modelId="{F56D1EA8-2E9F-4B5F-87F2-5003B94F967B}" type="parTrans" cxnId="{452920B7-B5C6-4A12-BF2E-038597FE1882}">
      <dgm:prSet/>
      <dgm:spPr/>
    </dgm:pt>
    <dgm:pt modelId="{F3B95446-72E1-463D-95D3-D38A4F6D9932}" type="sibTrans" cxnId="{452920B7-B5C6-4A12-BF2E-038597FE1882}">
      <dgm:prSet/>
      <dgm:spPr/>
    </dgm:pt>
    <dgm:pt modelId="{26549DFE-1534-4633-B2B1-49E5605A2548}" type="pres">
      <dgm:prSet presAssocID="{E42C0361-2AF4-403D-9556-EC28E8565404}" presName="hierChild1" presStyleCnt="0">
        <dgm:presLayoutVars>
          <dgm:orgChart val="1"/>
          <dgm:chPref val="1"/>
          <dgm:dir/>
          <dgm:animOne val="branch"/>
          <dgm:animLvl val="lvl"/>
          <dgm:resizeHandles/>
        </dgm:presLayoutVars>
      </dgm:prSet>
      <dgm:spPr/>
    </dgm:pt>
    <dgm:pt modelId="{F38C306E-80B9-4389-A53B-F4BACE4F9B88}" type="pres">
      <dgm:prSet presAssocID="{2B407BBF-E10D-49D4-ADC4-C4C936319F45}" presName="hierRoot1" presStyleCnt="0">
        <dgm:presLayoutVars>
          <dgm:hierBranch val="init"/>
        </dgm:presLayoutVars>
      </dgm:prSet>
      <dgm:spPr/>
    </dgm:pt>
    <dgm:pt modelId="{32342361-4138-47A3-B99E-B47EE0667514}" type="pres">
      <dgm:prSet presAssocID="{2B407BBF-E10D-49D4-ADC4-C4C936319F45}" presName="rootComposite1" presStyleCnt="0"/>
      <dgm:spPr/>
    </dgm:pt>
    <dgm:pt modelId="{7CCC9B79-2A2E-4E9B-8B25-FA4382B79E9C}" type="pres">
      <dgm:prSet presAssocID="{2B407BBF-E10D-49D4-ADC4-C4C936319F45}" presName="rootText1" presStyleLbl="node0" presStyleIdx="0" presStyleCnt="1">
        <dgm:presLayoutVars>
          <dgm:chPref val="3"/>
        </dgm:presLayoutVars>
      </dgm:prSet>
      <dgm:spPr/>
    </dgm:pt>
    <dgm:pt modelId="{2FB19B05-6550-4F86-8D95-E37624305099}" type="pres">
      <dgm:prSet presAssocID="{2B407BBF-E10D-49D4-ADC4-C4C936319F45}" presName="rootConnector1" presStyleLbl="node1" presStyleIdx="0" presStyleCnt="0"/>
      <dgm:spPr/>
    </dgm:pt>
    <dgm:pt modelId="{97FC22E7-04EE-461B-8D57-99113EAC0E23}" type="pres">
      <dgm:prSet presAssocID="{2B407BBF-E10D-49D4-ADC4-C4C936319F45}" presName="hierChild2" presStyleCnt="0"/>
      <dgm:spPr/>
    </dgm:pt>
    <dgm:pt modelId="{7DC4373B-0F8F-4FDB-B285-C238BFAE51E2}" type="pres">
      <dgm:prSet presAssocID="{374B108A-D4A2-4A80-886C-14D2711D64D9}" presName="Name37" presStyleLbl="parChTrans1D2" presStyleIdx="0" presStyleCnt="2"/>
      <dgm:spPr/>
    </dgm:pt>
    <dgm:pt modelId="{D80E65C5-4A65-4A50-A036-DA008FC61B1A}" type="pres">
      <dgm:prSet presAssocID="{921D9F10-6EA4-469D-A3D6-2FA8B9F421D4}" presName="hierRoot2" presStyleCnt="0">
        <dgm:presLayoutVars>
          <dgm:hierBranch val="init"/>
        </dgm:presLayoutVars>
      </dgm:prSet>
      <dgm:spPr/>
    </dgm:pt>
    <dgm:pt modelId="{9007D6C1-5DF8-47E7-9014-3596A338CB58}" type="pres">
      <dgm:prSet presAssocID="{921D9F10-6EA4-469D-A3D6-2FA8B9F421D4}" presName="rootComposite" presStyleCnt="0"/>
      <dgm:spPr/>
    </dgm:pt>
    <dgm:pt modelId="{9C3C9FFC-6CE3-4516-BB48-0B379AF3246F}" type="pres">
      <dgm:prSet presAssocID="{921D9F10-6EA4-469D-A3D6-2FA8B9F421D4}" presName="rootText" presStyleLbl="node2" presStyleIdx="0" presStyleCnt="2">
        <dgm:presLayoutVars>
          <dgm:chPref val="3"/>
        </dgm:presLayoutVars>
      </dgm:prSet>
      <dgm:spPr/>
    </dgm:pt>
    <dgm:pt modelId="{E4DC44BB-52EE-4F95-8B71-78BBDF92F603}" type="pres">
      <dgm:prSet presAssocID="{921D9F10-6EA4-469D-A3D6-2FA8B9F421D4}" presName="rootConnector" presStyleLbl="node2" presStyleIdx="0" presStyleCnt="2"/>
      <dgm:spPr/>
    </dgm:pt>
    <dgm:pt modelId="{3A6F3DC8-075D-4FF7-B421-14773B0AAF78}" type="pres">
      <dgm:prSet presAssocID="{921D9F10-6EA4-469D-A3D6-2FA8B9F421D4}" presName="hierChild4" presStyleCnt="0"/>
      <dgm:spPr/>
    </dgm:pt>
    <dgm:pt modelId="{AE00DE9D-DF71-45A6-B704-E8788574280F}" type="pres">
      <dgm:prSet presAssocID="{FFFC4EF6-AF4B-4358-B906-D25BA0D07825}" presName="Name37" presStyleLbl="parChTrans1D3" presStyleIdx="0" presStyleCnt="4"/>
      <dgm:spPr/>
    </dgm:pt>
    <dgm:pt modelId="{5611CEAC-5E92-4E90-ADB3-35FDD05E0586}" type="pres">
      <dgm:prSet presAssocID="{8D7BA605-43F7-4B34-B283-49A3E2B9C76D}" presName="hierRoot2" presStyleCnt="0">
        <dgm:presLayoutVars>
          <dgm:hierBranch val="init"/>
        </dgm:presLayoutVars>
      </dgm:prSet>
      <dgm:spPr/>
    </dgm:pt>
    <dgm:pt modelId="{C8112308-BE3A-4D87-ADAE-5BFA593AD577}" type="pres">
      <dgm:prSet presAssocID="{8D7BA605-43F7-4B34-B283-49A3E2B9C76D}" presName="rootComposite" presStyleCnt="0"/>
      <dgm:spPr/>
    </dgm:pt>
    <dgm:pt modelId="{563BBF97-88AD-43EB-A041-55D190C5C942}" type="pres">
      <dgm:prSet presAssocID="{8D7BA605-43F7-4B34-B283-49A3E2B9C76D}" presName="rootText" presStyleLbl="node3" presStyleIdx="0" presStyleCnt="4">
        <dgm:presLayoutVars>
          <dgm:chPref val="3"/>
        </dgm:presLayoutVars>
      </dgm:prSet>
      <dgm:spPr/>
    </dgm:pt>
    <dgm:pt modelId="{D3055B64-53D6-4E65-9E75-1733614931B4}" type="pres">
      <dgm:prSet presAssocID="{8D7BA605-43F7-4B34-B283-49A3E2B9C76D}" presName="rootConnector" presStyleLbl="node3" presStyleIdx="0" presStyleCnt="4"/>
      <dgm:spPr/>
    </dgm:pt>
    <dgm:pt modelId="{0EDD845F-0361-48B8-B3D3-9076DA29B511}" type="pres">
      <dgm:prSet presAssocID="{8D7BA605-43F7-4B34-B283-49A3E2B9C76D}" presName="hierChild4" presStyleCnt="0"/>
      <dgm:spPr/>
    </dgm:pt>
    <dgm:pt modelId="{1533D59C-C7D9-441C-A6EB-8AAD259C4A7C}" type="pres">
      <dgm:prSet presAssocID="{735B5C96-B3BC-43A1-926F-8385BF18FD02}" presName="Name37" presStyleLbl="parChTrans1D4" presStyleIdx="0" presStyleCnt="9"/>
      <dgm:spPr/>
    </dgm:pt>
    <dgm:pt modelId="{B083BE6F-9445-4FBA-BB41-93BD32F99CE3}" type="pres">
      <dgm:prSet presAssocID="{5231BFD0-BC09-4EEB-9409-C1D6F460F8A1}" presName="hierRoot2" presStyleCnt="0">
        <dgm:presLayoutVars>
          <dgm:hierBranch val="init"/>
        </dgm:presLayoutVars>
      </dgm:prSet>
      <dgm:spPr/>
    </dgm:pt>
    <dgm:pt modelId="{999F2054-59AB-49CF-8904-CF1A02182ACE}" type="pres">
      <dgm:prSet presAssocID="{5231BFD0-BC09-4EEB-9409-C1D6F460F8A1}" presName="rootComposite" presStyleCnt="0"/>
      <dgm:spPr/>
    </dgm:pt>
    <dgm:pt modelId="{3F6F8835-3E01-4CBA-87F8-17629877A87D}" type="pres">
      <dgm:prSet presAssocID="{5231BFD0-BC09-4EEB-9409-C1D6F460F8A1}" presName="rootText" presStyleLbl="node4" presStyleIdx="0" presStyleCnt="9">
        <dgm:presLayoutVars>
          <dgm:chPref val="3"/>
        </dgm:presLayoutVars>
      </dgm:prSet>
      <dgm:spPr/>
    </dgm:pt>
    <dgm:pt modelId="{E40391C9-4216-4A1E-88DE-AB4DDA27E93D}" type="pres">
      <dgm:prSet presAssocID="{5231BFD0-BC09-4EEB-9409-C1D6F460F8A1}" presName="rootConnector" presStyleLbl="node4" presStyleIdx="0" presStyleCnt="9"/>
      <dgm:spPr/>
    </dgm:pt>
    <dgm:pt modelId="{8A9EDECE-2F0E-417B-AB14-A0A4B60150AA}" type="pres">
      <dgm:prSet presAssocID="{5231BFD0-BC09-4EEB-9409-C1D6F460F8A1}" presName="hierChild4" presStyleCnt="0"/>
      <dgm:spPr/>
    </dgm:pt>
    <dgm:pt modelId="{21B11E23-AB53-4F80-8C29-C4605835CEEB}" type="pres">
      <dgm:prSet presAssocID="{9194D665-D17F-46BF-9873-0877AFFA3813}" presName="Name37" presStyleLbl="parChTrans1D4" presStyleIdx="1" presStyleCnt="9"/>
      <dgm:spPr/>
    </dgm:pt>
    <dgm:pt modelId="{CCC03BA0-4B39-4312-878B-BF823AED693E}" type="pres">
      <dgm:prSet presAssocID="{04511269-CD7F-4C88-B15E-A79D32687DD9}" presName="hierRoot2" presStyleCnt="0">
        <dgm:presLayoutVars>
          <dgm:hierBranch val="init"/>
        </dgm:presLayoutVars>
      </dgm:prSet>
      <dgm:spPr/>
    </dgm:pt>
    <dgm:pt modelId="{360A0688-14E8-4945-85E4-7630AFFC7D8E}" type="pres">
      <dgm:prSet presAssocID="{04511269-CD7F-4C88-B15E-A79D32687DD9}" presName="rootComposite" presStyleCnt="0"/>
      <dgm:spPr/>
    </dgm:pt>
    <dgm:pt modelId="{32FD44D1-15AC-45E4-8D6B-40465314CCA3}" type="pres">
      <dgm:prSet presAssocID="{04511269-CD7F-4C88-B15E-A79D32687DD9}" presName="rootText" presStyleLbl="node4" presStyleIdx="1" presStyleCnt="9">
        <dgm:presLayoutVars>
          <dgm:chPref val="3"/>
        </dgm:presLayoutVars>
      </dgm:prSet>
      <dgm:spPr/>
    </dgm:pt>
    <dgm:pt modelId="{415C4986-5043-4CE0-A7CD-07ADD733CBC6}" type="pres">
      <dgm:prSet presAssocID="{04511269-CD7F-4C88-B15E-A79D32687DD9}" presName="rootConnector" presStyleLbl="node4" presStyleIdx="1" presStyleCnt="9"/>
      <dgm:spPr/>
    </dgm:pt>
    <dgm:pt modelId="{674EE2B6-6A9A-4710-A41B-F4184C99278F}" type="pres">
      <dgm:prSet presAssocID="{04511269-CD7F-4C88-B15E-A79D32687DD9}" presName="hierChild4" presStyleCnt="0"/>
      <dgm:spPr/>
    </dgm:pt>
    <dgm:pt modelId="{E380D099-B26B-473F-8A47-154E9D1E544A}" type="pres">
      <dgm:prSet presAssocID="{72F28A72-9B4E-465A-8D00-84284158A52B}" presName="Name37" presStyleLbl="parChTrans1D4" presStyleIdx="2" presStyleCnt="9"/>
      <dgm:spPr/>
    </dgm:pt>
    <dgm:pt modelId="{B0CCEE0A-E6BF-40C3-B11A-15C576624463}" type="pres">
      <dgm:prSet presAssocID="{A195318E-6875-4E10-9D5D-9DD56D57DE8A}" presName="hierRoot2" presStyleCnt="0">
        <dgm:presLayoutVars>
          <dgm:hierBranch val="init"/>
        </dgm:presLayoutVars>
      </dgm:prSet>
      <dgm:spPr/>
    </dgm:pt>
    <dgm:pt modelId="{15BE3576-4908-4153-8F99-C5522B3F2C6D}" type="pres">
      <dgm:prSet presAssocID="{A195318E-6875-4E10-9D5D-9DD56D57DE8A}" presName="rootComposite" presStyleCnt="0"/>
      <dgm:spPr/>
    </dgm:pt>
    <dgm:pt modelId="{AB0401D6-D40F-476A-94B5-F1A0BD9D8ECD}" type="pres">
      <dgm:prSet presAssocID="{A195318E-6875-4E10-9D5D-9DD56D57DE8A}" presName="rootText" presStyleLbl="node4" presStyleIdx="2" presStyleCnt="9">
        <dgm:presLayoutVars>
          <dgm:chPref val="3"/>
        </dgm:presLayoutVars>
      </dgm:prSet>
      <dgm:spPr/>
    </dgm:pt>
    <dgm:pt modelId="{891C9DC7-0B89-48CE-A9DA-CED4387C7212}" type="pres">
      <dgm:prSet presAssocID="{A195318E-6875-4E10-9D5D-9DD56D57DE8A}" presName="rootConnector" presStyleLbl="node4" presStyleIdx="2" presStyleCnt="9"/>
      <dgm:spPr/>
    </dgm:pt>
    <dgm:pt modelId="{6F81F615-FC37-4717-87A5-0F7C150A6945}" type="pres">
      <dgm:prSet presAssocID="{A195318E-6875-4E10-9D5D-9DD56D57DE8A}" presName="hierChild4" presStyleCnt="0"/>
      <dgm:spPr/>
    </dgm:pt>
    <dgm:pt modelId="{F5F19194-FE96-4C2C-BDA1-67014970F3AA}" type="pres">
      <dgm:prSet presAssocID="{A195318E-6875-4E10-9D5D-9DD56D57DE8A}" presName="hierChild5" presStyleCnt="0"/>
      <dgm:spPr/>
    </dgm:pt>
    <dgm:pt modelId="{9178B038-B870-4607-AB97-F0DA531DEBF3}" type="pres">
      <dgm:prSet presAssocID="{04511269-CD7F-4C88-B15E-A79D32687DD9}" presName="hierChild5" presStyleCnt="0"/>
      <dgm:spPr/>
    </dgm:pt>
    <dgm:pt modelId="{4D0D67AD-19DA-4ECA-A253-A7B25154619A}" type="pres">
      <dgm:prSet presAssocID="{E70623EA-78E3-4494-85B1-76A50DD2D521}" presName="Name37" presStyleLbl="parChTrans1D4" presStyleIdx="3" presStyleCnt="9"/>
      <dgm:spPr/>
    </dgm:pt>
    <dgm:pt modelId="{BCFA5F45-CC54-4685-B520-DBD7D18A775A}" type="pres">
      <dgm:prSet presAssocID="{E2740EFC-221D-41D6-8B2D-2EEBB2CC1DAB}" presName="hierRoot2" presStyleCnt="0">
        <dgm:presLayoutVars>
          <dgm:hierBranch val="init"/>
        </dgm:presLayoutVars>
      </dgm:prSet>
      <dgm:spPr/>
    </dgm:pt>
    <dgm:pt modelId="{4E112E6D-8220-48DF-8426-656BCEC9E686}" type="pres">
      <dgm:prSet presAssocID="{E2740EFC-221D-41D6-8B2D-2EEBB2CC1DAB}" presName="rootComposite" presStyleCnt="0"/>
      <dgm:spPr/>
    </dgm:pt>
    <dgm:pt modelId="{A80037A4-023F-4557-8F10-D3BD4D8F16AF}" type="pres">
      <dgm:prSet presAssocID="{E2740EFC-221D-41D6-8B2D-2EEBB2CC1DAB}" presName="rootText" presStyleLbl="node4" presStyleIdx="3" presStyleCnt="9">
        <dgm:presLayoutVars>
          <dgm:chPref val="3"/>
        </dgm:presLayoutVars>
      </dgm:prSet>
      <dgm:spPr/>
    </dgm:pt>
    <dgm:pt modelId="{EFA2B48D-0875-4D4B-A648-0AF8BFF1025E}" type="pres">
      <dgm:prSet presAssocID="{E2740EFC-221D-41D6-8B2D-2EEBB2CC1DAB}" presName="rootConnector" presStyleLbl="node4" presStyleIdx="3" presStyleCnt="9"/>
      <dgm:spPr/>
    </dgm:pt>
    <dgm:pt modelId="{C6F157B0-0DA4-42AB-940F-A165C7623492}" type="pres">
      <dgm:prSet presAssocID="{E2740EFC-221D-41D6-8B2D-2EEBB2CC1DAB}" presName="hierChild4" presStyleCnt="0"/>
      <dgm:spPr/>
    </dgm:pt>
    <dgm:pt modelId="{97416CC7-9D51-46E8-BBB9-E790E67E6B07}" type="pres">
      <dgm:prSet presAssocID="{48BE8E7A-8514-4D0D-928D-3797ED1CB626}" presName="Name37" presStyleLbl="parChTrans1D4" presStyleIdx="4" presStyleCnt="9"/>
      <dgm:spPr/>
    </dgm:pt>
    <dgm:pt modelId="{0D4CA84F-1773-4842-A1A0-28CE236D5B56}" type="pres">
      <dgm:prSet presAssocID="{EBD320BA-E1D8-43E1-9532-F5229FB103E4}" presName="hierRoot2" presStyleCnt="0">
        <dgm:presLayoutVars>
          <dgm:hierBranch val="init"/>
        </dgm:presLayoutVars>
      </dgm:prSet>
      <dgm:spPr/>
    </dgm:pt>
    <dgm:pt modelId="{D5A449D8-AF5C-4129-AA3F-65081722651B}" type="pres">
      <dgm:prSet presAssocID="{EBD320BA-E1D8-43E1-9532-F5229FB103E4}" presName="rootComposite" presStyleCnt="0"/>
      <dgm:spPr/>
    </dgm:pt>
    <dgm:pt modelId="{E00C2A3A-BF99-41B3-A61A-F31DF31E1D9B}" type="pres">
      <dgm:prSet presAssocID="{EBD320BA-E1D8-43E1-9532-F5229FB103E4}" presName="rootText" presStyleLbl="node4" presStyleIdx="4" presStyleCnt="9">
        <dgm:presLayoutVars>
          <dgm:chPref val="3"/>
        </dgm:presLayoutVars>
      </dgm:prSet>
      <dgm:spPr/>
    </dgm:pt>
    <dgm:pt modelId="{107A001A-3E5F-4DFE-BA02-5615BE999851}" type="pres">
      <dgm:prSet presAssocID="{EBD320BA-E1D8-43E1-9532-F5229FB103E4}" presName="rootConnector" presStyleLbl="node4" presStyleIdx="4" presStyleCnt="9"/>
      <dgm:spPr/>
    </dgm:pt>
    <dgm:pt modelId="{9E479120-F469-4F0D-AB54-765AD00A286F}" type="pres">
      <dgm:prSet presAssocID="{EBD320BA-E1D8-43E1-9532-F5229FB103E4}" presName="hierChild4" presStyleCnt="0"/>
      <dgm:spPr/>
    </dgm:pt>
    <dgm:pt modelId="{14DC5007-8563-4E9A-8057-20AF6755C4FA}" type="pres">
      <dgm:prSet presAssocID="{EBD320BA-E1D8-43E1-9532-F5229FB103E4}" presName="hierChild5" presStyleCnt="0"/>
      <dgm:spPr/>
    </dgm:pt>
    <dgm:pt modelId="{80D8E449-04C7-46A5-B564-7BBC4AA6A838}" type="pres">
      <dgm:prSet presAssocID="{0291537D-0EC9-4B54-8636-A184DF21AD4A}" presName="Name37" presStyleLbl="parChTrans1D4" presStyleIdx="5" presStyleCnt="9"/>
      <dgm:spPr/>
    </dgm:pt>
    <dgm:pt modelId="{3008CE70-D4A0-4673-9FEB-B18695CD7285}" type="pres">
      <dgm:prSet presAssocID="{F7A13298-94F1-4908-B399-232188B45540}" presName="hierRoot2" presStyleCnt="0">
        <dgm:presLayoutVars>
          <dgm:hierBranch val="init"/>
        </dgm:presLayoutVars>
      </dgm:prSet>
      <dgm:spPr/>
    </dgm:pt>
    <dgm:pt modelId="{28313C2F-A88B-4BFA-A5B3-D07BB2F60F1B}" type="pres">
      <dgm:prSet presAssocID="{F7A13298-94F1-4908-B399-232188B45540}" presName="rootComposite" presStyleCnt="0"/>
      <dgm:spPr/>
    </dgm:pt>
    <dgm:pt modelId="{CEC98FEA-A9C8-46BF-9ECC-D8B2A1E09D1B}" type="pres">
      <dgm:prSet presAssocID="{F7A13298-94F1-4908-B399-232188B45540}" presName="rootText" presStyleLbl="node4" presStyleIdx="5" presStyleCnt="9">
        <dgm:presLayoutVars>
          <dgm:chPref val="3"/>
        </dgm:presLayoutVars>
      </dgm:prSet>
      <dgm:spPr/>
    </dgm:pt>
    <dgm:pt modelId="{DA37A591-5192-46A3-8B18-0EE62A210F25}" type="pres">
      <dgm:prSet presAssocID="{F7A13298-94F1-4908-B399-232188B45540}" presName="rootConnector" presStyleLbl="node4" presStyleIdx="5" presStyleCnt="9"/>
      <dgm:spPr/>
    </dgm:pt>
    <dgm:pt modelId="{AFBC67CA-8B9C-42B8-AC4D-4B56D1AEAA5A}" type="pres">
      <dgm:prSet presAssocID="{F7A13298-94F1-4908-B399-232188B45540}" presName="hierChild4" presStyleCnt="0"/>
      <dgm:spPr/>
    </dgm:pt>
    <dgm:pt modelId="{65684F97-FA09-44C3-B213-37D0A77E1BE3}" type="pres">
      <dgm:prSet presAssocID="{F7A13298-94F1-4908-B399-232188B45540}" presName="hierChild5" presStyleCnt="0"/>
      <dgm:spPr/>
    </dgm:pt>
    <dgm:pt modelId="{90C6DCB9-E905-46E7-B022-F8779B1F80BC}" type="pres">
      <dgm:prSet presAssocID="{E2740EFC-221D-41D6-8B2D-2EEBB2CC1DAB}" presName="hierChild5" presStyleCnt="0"/>
      <dgm:spPr/>
    </dgm:pt>
    <dgm:pt modelId="{B00EC84C-BDA8-42F4-819E-37DD9D6CED4B}" type="pres">
      <dgm:prSet presAssocID="{5231BFD0-BC09-4EEB-9409-C1D6F460F8A1}" presName="hierChild5" presStyleCnt="0"/>
      <dgm:spPr/>
    </dgm:pt>
    <dgm:pt modelId="{3ECB7C24-E518-485C-A203-816D25B87E59}" type="pres">
      <dgm:prSet presAssocID="{8D7BA605-43F7-4B34-B283-49A3E2B9C76D}" presName="hierChild5" presStyleCnt="0"/>
      <dgm:spPr/>
    </dgm:pt>
    <dgm:pt modelId="{09603B20-48F1-4E86-A3E1-394B1CC12AE5}" type="pres">
      <dgm:prSet presAssocID="{1CEA8DD7-79DF-4A31-8BDD-7C359234C271}" presName="Name37" presStyleLbl="parChTrans1D3" presStyleIdx="1" presStyleCnt="4"/>
      <dgm:spPr/>
    </dgm:pt>
    <dgm:pt modelId="{6AB68293-EAB8-4A3E-9D9E-09BFC5A9DCEC}" type="pres">
      <dgm:prSet presAssocID="{4DEE920C-44DA-420A-BBA9-9A6DBF240AF6}" presName="hierRoot2" presStyleCnt="0">
        <dgm:presLayoutVars>
          <dgm:hierBranch val="init"/>
        </dgm:presLayoutVars>
      </dgm:prSet>
      <dgm:spPr/>
    </dgm:pt>
    <dgm:pt modelId="{311F6300-1F1B-4341-BEE8-8AB439936AC0}" type="pres">
      <dgm:prSet presAssocID="{4DEE920C-44DA-420A-BBA9-9A6DBF240AF6}" presName="rootComposite" presStyleCnt="0"/>
      <dgm:spPr/>
    </dgm:pt>
    <dgm:pt modelId="{2E815A99-6C5E-4835-B17D-7FF3C7546795}" type="pres">
      <dgm:prSet presAssocID="{4DEE920C-44DA-420A-BBA9-9A6DBF240AF6}" presName="rootText" presStyleLbl="node3" presStyleIdx="1" presStyleCnt="4">
        <dgm:presLayoutVars>
          <dgm:chPref val="3"/>
        </dgm:presLayoutVars>
      </dgm:prSet>
      <dgm:spPr/>
    </dgm:pt>
    <dgm:pt modelId="{B9E4C48A-6082-4742-A638-D84D267BC479}" type="pres">
      <dgm:prSet presAssocID="{4DEE920C-44DA-420A-BBA9-9A6DBF240AF6}" presName="rootConnector" presStyleLbl="node3" presStyleIdx="1" presStyleCnt="4"/>
      <dgm:spPr/>
    </dgm:pt>
    <dgm:pt modelId="{50A1C775-C650-4F90-8944-9924909A2946}" type="pres">
      <dgm:prSet presAssocID="{4DEE920C-44DA-420A-BBA9-9A6DBF240AF6}" presName="hierChild4" presStyleCnt="0"/>
      <dgm:spPr/>
    </dgm:pt>
    <dgm:pt modelId="{67D61832-D05A-4CE4-82A9-437CD1356122}" type="pres">
      <dgm:prSet presAssocID="{1F93248C-103D-435E-8598-B3FACE6E29A7}" presName="Name37" presStyleLbl="parChTrans1D4" presStyleIdx="6" presStyleCnt="9"/>
      <dgm:spPr/>
    </dgm:pt>
    <dgm:pt modelId="{93CB55F9-2E67-423C-909B-16AA02418F30}" type="pres">
      <dgm:prSet presAssocID="{A7700BDF-CEC7-4298-A311-7492AFFD6590}" presName="hierRoot2" presStyleCnt="0">
        <dgm:presLayoutVars>
          <dgm:hierBranch val="init"/>
        </dgm:presLayoutVars>
      </dgm:prSet>
      <dgm:spPr/>
    </dgm:pt>
    <dgm:pt modelId="{4277DC01-71BD-4641-A621-808E37C2EC18}" type="pres">
      <dgm:prSet presAssocID="{A7700BDF-CEC7-4298-A311-7492AFFD6590}" presName="rootComposite" presStyleCnt="0"/>
      <dgm:spPr/>
    </dgm:pt>
    <dgm:pt modelId="{0FF8AA66-E202-4B8D-A95E-F0B1EC4313B1}" type="pres">
      <dgm:prSet presAssocID="{A7700BDF-CEC7-4298-A311-7492AFFD6590}" presName="rootText" presStyleLbl="node4" presStyleIdx="6" presStyleCnt="9">
        <dgm:presLayoutVars>
          <dgm:chPref val="3"/>
        </dgm:presLayoutVars>
      </dgm:prSet>
      <dgm:spPr/>
    </dgm:pt>
    <dgm:pt modelId="{EB67A293-2F95-422D-9CAF-D41590D9E41A}" type="pres">
      <dgm:prSet presAssocID="{A7700BDF-CEC7-4298-A311-7492AFFD6590}" presName="rootConnector" presStyleLbl="node4" presStyleIdx="6" presStyleCnt="9"/>
      <dgm:spPr/>
    </dgm:pt>
    <dgm:pt modelId="{8091098F-5083-469A-9BB7-CE7C06CA0DA3}" type="pres">
      <dgm:prSet presAssocID="{A7700BDF-CEC7-4298-A311-7492AFFD6590}" presName="hierChild4" presStyleCnt="0"/>
      <dgm:spPr/>
    </dgm:pt>
    <dgm:pt modelId="{A0334206-2AC9-4603-B04A-279D6CE0F3C1}" type="pres">
      <dgm:prSet presAssocID="{A7700BDF-CEC7-4298-A311-7492AFFD6590}" presName="hierChild5" presStyleCnt="0"/>
      <dgm:spPr/>
    </dgm:pt>
    <dgm:pt modelId="{0822457C-032F-4F1E-8F62-7EE494804F11}" type="pres">
      <dgm:prSet presAssocID="{4DEE920C-44DA-420A-BBA9-9A6DBF240AF6}" presName="hierChild5" presStyleCnt="0"/>
      <dgm:spPr/>
    </dgm:pt>
    <dgm:pt modelId="{C5254BF7-106D-435B-8786-962FFD9ADB33}" type="pres">
      <dgm:prSet presAssocID="{921D9F10-6EA4-469D-A3D6-2FA8B9F421D4}" presName="hierChild5" presStyleCnt="0"/>
      <dgm:spPr/>
    </dgm:pt>
    <dgm:pt modelId="{3AC20B5E-6098-4A47-9EF1-D51B0BA7F14A}" type="pres">
      <dgm:prSet presAssocID="{125F3890-B46C-4E18-B024-9FAFB884C3B6}" presName="Name37" presStyleLbl="parChTrans1D2" presStyleIdx="1" presStyleCnt="2"/>
      <dgm:spPr/>
    </dgm:pt>
    <dgm:pt modelId="{C33C7935-7273-4F7B-BE0C-3AF9BA94BE25}" type="pres">
      <dgm:prSet presAssocID="{7D66D1BA-3244-4E9B-8415-402F3E3D256D}" presName="hierRoot2" presStyleCnt="0">
        <dgm:presLayoutVars>
          <dgm:hierBranch val="init"/>
        </dgm:presLayoutVars>
      </dgm:prSet>
      <dgm:spPr/>
    </dgm:pt>
    <dgm:pt modelId="{CDE1020B-9BE0-463D-B36C-8F44FA1C50C0}" type="pres">
      <dgm:prSet presAssocID="{7D66D1BA-3244-4E9B-8415-402F3E3D256D}" presName="rootComposite" presStyleCnt="0"/>
      <dgm:spPr/>
    </dgm:pt>
    <dgm:pt modelId="{D7CE84D8-5A9B-4243-BFAD-A10EC40DF307}" type="pres">
      <dgm:prSet presAssocID="{7D66D1BA-3244-4E9B-8415-402F3E3D256D}" presName="rootText" presStyleLbl="node2" presStyleIdx="1" presStyleCnt="2">
        <dgm:presLayoutVars>
          <dgm:chPref val="3"/>
        </dgm:presLayoutVars>
      </dgm:prSet>
      <dgm:spPr/>
    </dgm:pt>
    <dgm:pt modelId="{CD7C79BE-B9FB-49F6-BABE-D511A638DBF7}" type="pres">
      <dgm:prSet presAssocID="{7D66D1BA-3244-4E9B-8415-402F3E3D256D}" presName="rootConnector" presStyleLbl="node2" presStyleIdx="1" presStyleCnt="2"/>
      <dgm:spPr/>
    </dgm:pt>
    <dgm:pt modelId="{D2208961-EE10-474B-9741-D45FF2212D3F}" type="pres">
      <dgm:prSet presAssocID="{7D66D1BA-3244-4E9B-8415-402F3E3D256D}" presName="hierChild4" presStyleCnt="0"/>
      <dgm:spPr/>
    </dgm:pt>
    <dgm:pt modelId="{F09046E2-F351-4C0E-9903-BB63930E82C8}" type="pres">
      <dgm:prSet presAssocID="{7C589D82-36DA-40B0-8344-FCAC680EA735}" presName="Name37" presStyleLbl="parChTrans1D3" presStyleIdx="2" presStyleCnt="4"/>
      <dgm:spPr/>
    </dgm:pt>
    <dgm:pt modelId="{08CD7F7B-216B-4586-B91D-0874BBDE3D00}" type="pres">
      <dgm:prSet presAssocID="{CBE2C7AB-6617-4EE5-B073-496CF250BAAD}" presName="hierRoot2" presStyleCnt="0">
        <dgm:presLayoutVars>
          <dgm:hierBranch val="init"/>
        </dgm:presLayoutVars>
      </dgm:prSet>
      <dgm:spPr/>
    </dgm:pt>
    <dgm:pt modelId="{D1447F47-51ED-4AC6-AFC5-957AB908B56A}" type="pres">
      <dgm:prSet presAssocID="{CBE2C7AB-6617-4EE5-B073-496CF250BAAD}" presName="rootComposite" presStyleCnt="0"/>
      <dgm:spPr/>
    </dgm:pt>
    <dgm:pt modelId="{90B3EEEC-4BEA-4F2C-9390-7382EBF2E384}" type="pres">
      <dgm:prSet presAssocID="{CBE2C7AB-6617-4EE5-B073-496CF250BAAD}" presName="rootText" presStyleLbl="node3" presStyleIdx="2" presStyleCnt="4">
        <dgm:presLayoutVars>
          <dgm:chPref val="3"/>
        </dgm:presLayoutVars>
      </dgm:prSet>
      <dgm:spPr/>
    </dgm:pt>
    <dgm:pt modelId="{9B6AE352-E2BB-4763-9C80-9275AADE2B4F}" type="pres">
      <dgm:prSet presAssocID="{CBE2C7AB-6617-4EE5-B073-496CF250BAAD}" presName="rootConnector" presStyleLbl="node3" presStyleIdx="2" presStyleCnt="4"/>
      <dgm:spPr/>
    </dgm:pt>
    <dgm:pt modelId="{28B79522-40EA-48DB-92E1-33DE2D734146}" type="pres">
      <dgm:prSet presAssocID="{CBE2C7AB-6617-4EE5-B073-496CF250BAAD}" presName="hierChild4" presStyleCnt="0"/>
      <dgm:spPr/>
    </dgm:pt>
    <dgm:pt modelId="{78382E3D-F7B7-41A6-AE23-F8106B8EA9B5}" type="pres">
      <dgm:prSet presAssocID="{48ACB221-425D-4209-AF83-3454838F433E}" presName="Name37" presStyleLbl="parChTrans1D4" presStyleIdx="7" presStyleCnt="9"/>
      <dgm:spPr/>
    </dgm:pt>
    <dgm:pt modelId="{2DA4D414-AEEA-49BA-9652-CDB5986A94D4}" type="pres">
      <dgm:prSet presAssocID="{86248B53-864C-49CE-9553-C8071A9EB2A0}" presName="hierRoot2" presStyleCnt="0">
        <dgm:presLayoutVars>
          <dgm:hierBranch val="init"/>
        </dgm:presLayoutVars>
      </dgm:prSet>
      <dgm:spPr/>
    </dgm:pt>
    <dgm:pt modelId="{C4C210AA-5A34-4BA3-88F9-AB0B0D4B6CC3}" type="pres">
      <dgm:prSet presAssocID="{86248B53-864C-49CE-9553-C8071A9EB2A0}" presName="rootComposite" presStyleCnt="0"/>
      <dgm:spPr/>
    </dgm:pt>
    <dgm:pt modelId="{8E9A9B7E-907F-4D29-AB54-4D70C869635F}" type="pres">
      <dgm:prSet presAssocID="{86248B53-864C-49CE-9553-C8071A9EB2A0}" presName="rootText" presStyleLbl="node4" presStyleIdx="7" presStyleCnt="9">
        <dgm:presLayoutVars>
          <dgm:chPref val="3"/>
        </dgm:presLayoutVars>
      </dgm:prSet>
      <dgm:spPr/>
    </dgm:pt>
    <dgm:pt modelId="{D3B5CCC0-61AD-4BDA-B0E1-A1D58BFA0768}" type="pres">
      <dgm:prSet presAssocID="{86248B53-864C-49CE-9553-C8071A9EB2A0}" presName="rootConnector" presStyleLbl="node4" presStyleIdx="7" presStyleCnt="9"/>
      <dgm:spPr/>
    </dgm:pt>
    <dgm:pt modelId="{E0765B0E-DE63-4B4D-99BD-3DC42B5DF482}" type="pres">
      <dgm:prSet presAssocID="{86248B53-864C-49CE-9553-C8071A9EB2A0}" presName="hierChild4" presStyleCnt="0"/>
      <dgm:spPr/>
    </dgm:pt>
    <dgm:pt modelId="{CAEAD495-8156-4CEE-9168-3BDD3043483E}" type="pres">
      <dgm:prSet presAssocID="{86248B53-864C-49CE-9553-C8071A9EB2A0}" presName="hierChild5" presStyleCnt="0"/>
      <dgm:spPr/>
    </dgm:pt>
    <dgm:pt modelId="{88DBE16A-0ACA-4FF8-9463-FDF240942B51}" type="pres">
      <dgm:prSet presAssocID="{F56D1EA8-2E9F-4B5F-87F2-5003B94F967B}" presName="Name37" presStyleLbl="parChTrans1D4" presStyleIdx="8" presStyleCnt="9"/>
      <dgm:spPr/>
    </dgm:pt>
    <dgm:pt modelId="{0C7C02DC-40A4-4E72-B1B1-A4278FD32FE2}" type="pres">
      <dgm:prSet presAssocID="{9824F04F-DC62-42A1-BE42-9F44711318F5}" presName="hierRoot2" presStyleCnt="0">
        <dgm:presLayoutVars>
          <dgm:hierBranch val="init"/>
        </dgm:presLayoutVars>
      </dgm:prSet>
      <dgm:spPr/>
    </dgm:pt>
    <dgm:pt modelId="{E8B803DA-55D5-4A5E-B99F-509B4C007DA1}" type="pres">
      <dgm:prSet presAssocID="{9824F04F-DC62-42A1-BE42-9F44711318F5}" presName="rootComposite" presStyleCnt="0"/>
      <dgm:spPr/>
    </dgm:pt>
    <dgm:pt modelId="{5AFBF90A-1D5A-47DC-ACB5-D45662A8B8FB}" type="pres">
      <dgm:prSet presAssocID="{9824F04F-DC62-42A1-BE42-9F44711318F5}" presName="rootText" presStyleLbl="node4" presStyleIdx="8" presStyleCnt="9">
        <dgm:presLayoutVars>
          <dgm:chPref val="3"/>
        </dgm:presLayoutVars>
      </dgm:prSet>
      <dgm:spPr/>
    </dgm:pt>
    <dgm:pt modelId="{68A42D7E-F3AA-416F-BC95-B2762E0EEBD0}" type="pres">
      <dgm:prSet presAssocID="{9824F04F-DC62-42A1-BE42-9F44711318F5}" presName="rootConnector" presStyleLbl="node4" presStyleIdx="8" presStyleCnt="9"/>
      <dgm:spPr/>
    </dgm:pt>
    <dgm:pt modelId="{1C4D1B2F-F45C-43A1-92B6-78C4E155986F}" type="pres">
      <dgm:prSet presAssocID="{9824F04F-DC62-42A1-BE42-9F44711318F5}" presName="hierChild4" presStyleCnt="0"/>
      <dgm:spPr/>
    </dgm:pt>
    <dgm:pt modelId="{73A8A17D-7001-4EED-878E-2840DA034276}" type="pres">
      <dgm:prSet presAssocID="{9824F04F-DC62-42A1-BE42-9F44711318F5}" presName="hierChild5" presStyleCnt="0"/>
      <dgm:spPr/>
    </dgm:pt>
    <dgm:pt modelId="{2794F0D2-5018-4442-80B1-53876772A39B}" type="pres">
      <dgm:prSet presAssocID="{CBE2C7AB-6617-4EE5-B073-496CF250BAAD}" presName="hierChild5" presStyleCnt="0"/>
      <dgm:spPr/>
    </dgm:pt>
    <dgm:pt modelId="{BDD18F89-A724-4748-8AE6-AAFD1C5AE2A5}" type="pres">
      <dgm:prSet presAssocID="{B6ABD7A9-BB03-4785-8DA3-1BBC4BBEBE4E}" presName="Name37" presStyleLbl="parChTrans1D3" presStyleIdx="3" presStyleCnt="4"/>
      <dgm:spPr/>
    </dgm:pt>
    <dgm:pt modelId="{9D70C5FD-35F0-463A-A07A-BE42D1C6AC49}" type="pres">
      <dgm:prSet presAssocID="{9D6F5524-641C-4880-A3D1-B66718A28B97}" presName="hierRoot2" presStyleCnt="0">
        <dgm:presLayoutVars>
          <dgm:hierBranch val="init"/>
        </dgm:presLayoutVars>
      </dgm:prSet>
      <dgm:spPr/>
    </dgm:pt>
    <dgm:pt modelId="{09743E14-78AC-4BF6-9E33-0AE477E85904}" type="pres">
      <dgm:prSet presAssocID="{9D6F5524-641C-4880-A3D1-B66718A28B97}" presName="rootComposite" presStyleCnt="0"/>
      <dgm:spPr/>
    </dgm:pt>
    <dgm:pt modelId="{78B41A26-2EB1-4E2B-884F-73A15160A423}" type="pres">
      <dgm:prSet presAssocID="{9D6F5524-641C-4880-A3D1-B66718A28B97}" presName="rootText" presStyleLbl="node3" presStyleIdx="3" presStyleCnt="4">
        <dgm:presLayoutVars>
          <dgm:chPref val="3"/>
        </dgm:presLayoutVars>
      </dgm:prSet>
      <dgm:spPr/>
    </dgm:pt>
    <dgm:pt modelId="{5EA00EE2-897F-43C1-909F-854EB98F8088}" type="pres">
      <dgm:prSet presAssocID="{9D6F5524-641C-4880-A3D1-B66718A28B97}" presName="rootConnector" presStyleLbl="node3" presStyleIdx="3" presStyleCnt="4"/>
      <dgm:spPr/>
    </dgm:pt>
    <dgm:pt modelId="{BD60064C-0B0E-4164-BA57-32932A09ACCD}" type="pres">
      <dgm:prSet presAssocID="{9D6F5524-641C-4880-A3D1-B66718A28B97}" presName="hierChild4" presStyleCnt="0"/>
      <dgm:spPr/>
    </dgm:pt>
    <dgm:pt modelId="{A0CB5F8B-AA95-417A-B1F1-703059BA631B}" type="pres">
      <dgm:prSet presAssocID="{9D6F5524-641C-4880-A3D1-B66718A28B97}" presName="hierChild5" presStyleCnt="0"/>
      <dgm:spPr/>
    </dgm:pt>
    <dgm:pt modelId="{DE08AF67-5004-4798-BAED-A4ABA979442B}" type="pres">
      <dgm:prSet presAssocID="{7D66D1BA-3244-4E9B-8415-402F3E3D256D}" presName="hierChild5" presStyleCnt="0"/>
      <dgm:spPr/>
    </dgm:pt>
    <dgm:pt modelId="{ABF11072-C779-4BA1-857D-852D30B701F9}" type="pres">
      <dgm:prSet presAssocID="{2B407BBF-E10D-49D4-ADC4-C4C936319F45}" presName="hierChild3" presStyleCnt="0"/>
      <dgm:spPr/>
    </dgm:pt>
  </dgm:ptLst>
  <dgm:cxnLst>
    <dgm:cxn modelId="{6283CB03-B9BE-4DC5-9652-DBEB18966D46}" type="presOf" srcId="{F7A13298-94F1-4908-B399-232188B45540}" destId="{CEC98FEA-A9C8-46BF-9ECC-D8B2A1E09D1B}" srcOrd="0" destOrd="0" presId="urn:microsoft.com/office/officeart/2005/8/layout/orgChart1"/>
    <dgm:cxn modelId="{05DF7209-A9FE-48F2-97DB-001B433F786D}" type="presOf" srcId="{E70623EA-78E3-4494-85B1-76A50DD2D521}" destId="{4D0D67AD-19DA-4ECA-A253-A7B25154619A}" srcOrd="0" destOrd="0" presId="urn:microsoft.com/office/officeart/2005/8/layout/orgChart1"/>
    <dgm:cxn modelId="{1A2E4D0C-C4CB-4BD7-ACF0-C07901F5B6E6}" type="presOf" srcId="{5231BFD0-BC09-4EEB-9409-C1D6F460F8A1}" destId="{E40391C9-4216-4A1E-88DE-AB4DDA27E93D}" srcOrd="1" destOrd="0" presId="urn:microsoft.com/office/officeart/2005/8/layout/orgChart1"/>
    <dgm:cxn modelId="{F4542510-FAF7-4A3A-B5BE-15C3A048A4A2}" type="presOf" srcId="{E2740EFC-221D-41D6-8B2D-2EEBB2CC1DAB}" destId="{A80037A4-023F-4557-8F10-D3BD4D8F16AF}" srcOrd="0" destOrd="0" presId="urn:microsoft.com/office/officeart/2005/8/layout/orgChart1"/>
    <dgm:cxn modelId="{623CA115-86C3-43A9-994F-25D03077B7C9}" type="presOf" srcId="{9824F04F-DC62-42A1-BE42-9F44711318F5}" destId="{68A42D7E-F3AA-416F-BC95-B2762E0EEBD0}" srcOrd="1" destOrd="0" presId="urn:microsoft.com/office/officeart/2005/8/layout/orgChart1"/>
    <dgm:cxn modelId="{5D4FCF19-23B4-4097-9C3D-BB5991E2EE00}" type="presOf" srcId="{CBE2C7AB-6617-4EE5-B073-496CF250BAAD}" destId="{9B6AE352-E2BB-4763-9C80-9275AADE2B4F}" srcOrd="1" destOrd="0" presId="urn:microsoft.com/office/officeart/2005/8/layout/orgChart1"/>
    <dgm:cxn modelId="{5D6A911F-D221-4123-AE19-4B817719B484}" type="presOf" srcId="{0291537D-0EC9-4B54-8636-A184DF21AD4A}" destId="{80D8E449-04C7-46A5-B564-7BBC4AA6A838}" srcOrd="0" destOrd="0" presId="urn:microsoft.com/office/officeart/2005/8/layout/orgChart1"/>
    <dgm:cxn modelId="{1F34BA2D-9A4E-4DED-85F1-B87A4BEFBE28}" type="presOf" srcId="{5231BFD0-BC09-4EEB-9409-C1D6F460F8A1}" destId="{3F6F8835-3E01-4CBA-87F8-17629877A87D}" srcOrd="0" destOrd="0" presId="urn:microsoft.com/office/officeart/2005/8/layout/orgChart1"/>
    <dgm:cxn modelId="{60310C33-A870-4694-91B6-E27BB71090D1}" type="presOf" srcId="{04511269-CD7F-4C88-B15E-A79D32687DD9}" destId="{32FD44D1-15AC-45E4-8D6B-40465314CCA3}" srcOrd="0" destOrd="0" presId="urn:microsoft.com/office/officeart/2005/8/layout/orgChart1"/>
    <dgm:cxn modelId="{6F4E6E34-9AFB-48D1-9071-EC3D1B422104}" type="presOf" srcId="{1CEA8DD7-79DF-4A31-8BDD-7C359234C271}" destId="{09603B20-48F1-4E86-A3E1-394B1CC12AE5}" srcOrd="0" destOrd="0" presId="urn:microsoft.com/office/officeart/2005/8/layout/orgChart1"/>
    <dgm:cxn modelId="{DCE5993B-2142-4114-AF4C-F1BA6EAA761A}" type="presOf" srcId="{921D9F10-6EA4-469D-A3D6-2FA8B9F421D4}" destId="{9C3C9FFC-6CE3-4516-BB48-0B379AF3246F}" srcOrd="0" destOrd="0" presId="urn:microsoft.com/office/officeart/2005/8/layout/orgChart1"/>
    <dgm:cxn modelId="{97F6763E-6A19-4649-B6A4-8CC44E5DE2B6}" type="presOf" srcId="{8D7BA605-43F7-4B34-B283-49A3E2B9C76D}" destId="{D3055B64-53D6-4E65-9E75-1733614931B4}" srcOrd="1" destOrd="0" presId="urn:microsoft.com/office/officeart/2005/8/layout/orgChart1"/>
    <dgm:cxn modelId="{456C0F3F-8F54-45EB-842E-4F288B6F5992}" type="presOf" srcId="{B6ABD7A9-BB03-4785-8DA3-1BBC4BBEBE4E}" destId="{BDD18F89-A724-4748-8AE6-AAFD1C5AE2A5}" srcOrd="0" destOrd="0" presId="urn:microsoft.com/office/officeart/2005/8/layout/orgChart1"/>
    <dgm:cxn modelId="{8FA3D13F-C739-46CC-BFCD-04686826926F}" srcId="{2B407BBF-E10D-49D4-ADC4-C4C936319F45}" destId="{7D66D1BA-3244-4E9B-8415-402F3E3D256D}" srcOrd="1" destOrd="0" parTransId="{125F3890-B46C-4E18-B024-9FAFB884C3B6}" sibTransId="{C1644C6B-4EB3-4693-ADC1-F06434C915B2}"/>
    <dgm:cxn modelId="{880FEA40-2E37-41B3-886A-5B3790EC623E}" type="presOf" srcId="{A7700BDF-CEC7-4298-A311-7492AFFD6590}" destId="{EB67A293-2F95-422D-9CAF-D41590D9E41A}" srcOrd="1" destOrd="0" presId="urn:microsoft.com/office/officeart/2005/8/layout/orgChart1"/>
    <dgm:cxn modelId="{892CBF44-B4E6-460C-BBEE-4F36C5E15612}" type="presOf" srcId="{86248B53-864C-49CE-9553-C8071A9EB2A0}" destId="{D3B5CCC0-61AD-4BDA-B0E1-A1D58BFA0768}" srcOrd="1" destOrd="0" presId="urn:microsoft.com/office/officeart/2005/8/layout/orgChart1"/>
    <dgm:cxn modelId="{0AAEC645-88E7-4BB2-A799-851854AE8E65}" type="presOf" srcId="{86248B53-864C-49CE-9553-C8071A9EB2A0}" destId="{8E9A9B7E-907F-4D29-AB54-4D70C869635F}" srcOrd="0" destOrd="0" presId="urn:microsoft.com/office/officeart/2005/8/layout/orgChart1"/>
    <dgm:cxn modelId="{BA3B2D69-DA2B-48CA-81CA-9E24D5270FAC}" type="presOf" srcId="{9194D665-D17F-46BF-9873-0877AFFA3813}" destId="{21B11E23-AB53-4F80-8C29-C4605835CEEB}" srcOrd="0" destOrd="0" presId="urn:microsoft.com/office/officeart/2005/8/layout/orgChart1"/>
    <dgm:cxn modelId="{13664449-EDE6-4FAD-B4B0-159FD78A33E1}" type="presOf" srcId="{921D9F10-6EA4-469D-A3D6-2FA8B9F421D4}" destId="{E4DC44BB-52EE-4F95-8B71-78BBDF92F603}" srcOrd="1" destOrd="0" presId="urn:microsoft.com/office/officeart/2005/8/layout/orgChart1"/>
    <dgm:cxn modelId="{E243E449-2210-4078-8358-18CA3B6C8108}" srcId="{921D9F10-6EA4-469D-A3D6-2FA8B9F421D4}" destId="{8D7BA605-43F7-4B34-B283-49A3E2B9C76D}" srcOrd="0" destOrd="0" parTransId="{FFFC4EF6-AF4B-4358-B906-D25BA0D07825}" sibTransId="{60240213-0DF5-4AA8-94C6-8476DE2FCB95}"/>
    <dgm:cxn modelId="{A2ABEE4A-C59A-4A5F-A738-435174D4BD5A}" type="presOf" srcId="{374B108A-D4A2-4A80-886C-14D2711D64D9}" destId="{7DC4373B-0F8F-4FDB-B285-C238BFAE51E2}" srcOrd="0" destOrd="0" presId="urn:microsoft.com/office/officeart/2005/8/layout/orgChart1"/>
    <dgm:cxn modelId="{EFDC144B-1CAA-4D6F-BE2F-250E2194A1C6}" type="presOf" srcId="{48BE8E7A-8514-4D0D-928D-3797ED1CB626}" destId="{97416CC7-9D51-46E8-BBB9-E790E67E6B07}" srcOrd="0" destOrd="0" presId="urn:microsoft.com/office/officeart/2005/8/layout/orgChart1"/>
    <dgm:cxn modelId="{59EE764D-A6BE-47DE-9E8D-A7FBC772F2A2}" type="presOf" srcId="{7D66D1BA-3244-4E9B-8415-402F3E3D256D}" destId="{D7CE84D8-5A9B-4243-BFAD-A10EC40DF307}" srcOrd="0" destOrd="0" presId="urn:microsoft.com/office/officeart/2005/8/layout/orgChart1"/>
    <dgm:cxn modelId="{51B55F51-BF4E-4E4E-82DE-DFA267E968F1}" type="presOf" srcId="{72F28A72-9B4E-465A-8D00-84284158A52B}" destId="{E380D099-B26B-473F-8A47-154E9D1E544A}" srcOrd="0" destOrd="0" presId="urn:microsoft.com/office/officeart/2005/8/layout/orgChart1"/>
    <dgm:cxn modelId="{517B6C73-CF31-4AAE-B45A-8F060F2101DB}" type="presOf" srcId="{EBD320BA-E1D8-43E1-9532-F5229FB103E4}" destId="{E00C2A3A-BF99-41B3-A61A-F31DF31E1D9B}" srcOrd="0" destOrd="0" presId="urn:microsoft.com/office/officeart/2005/8/layout/orgChart1"/>
    <dgm:cxn modelId="{143CCB53-51B9-4D50-8B33-56F6DE67316C}" type="presOf" srcId="{F56D1EA8-2E9F-4B5F-87F2-5003B94F967B}" destId="{88DBE16A-0ACA-4FF8-9463-FDF240942B51}" srcOrd="0" destOrd="0" presId="urn:microsoft.com/office/officeart/2005/8/layout/orgChart1"/>
    <dgm:cxn modelId="{66E1F674-B969-4BDA-8E80-EAC176E60F46}" type="presOf" srcId="{04511269-CD7F-4C88-B15E-A79D32687DD9}" destId="{415C4986-5043-4CE0-A7CD-07ADD733CBC6}" srcOrd="1" destOrd="0" presId="urn:microsoft.com/office/officeart/2005/8/layout/orgChart1"/>
    <dgm:cxn modelId="{F325C176-1B2C-4F47-BCAE-A4BCC6F0047E}" type="presOf" srcId="{EBD320BA-E1D8-43E1-9532-F5229FB103E4}" destId="{107A001A-3E5F-4DFE-BA02-5615BE999851}" srcOrd="1" destOrd="0" presId="urn:microsoft.com/office/officeart/2005/8/layout/orgChart1"/>
    <dgm:cxn modelId="{ABBB7A78-121C-4832-A757-AE8634123D21}" type="presOf" srcId="{9824F04F-DC62-42A1-BE42-9F44711318F5}" destId="{5AFBF90A-1D5A-47DC-ACB5-D45662A8B8FB}" srcOrd="0" destOrd="0" presId="urn:microsoft.com/office/officeart/2005/8/layout/orgChart1"/>
    <dgm:cxn modelId="{49CC8258-2907-43A9-B942-129EBC52D324}" type="presOf" srcId="{CBE2C7AB-6617-4EE5-B073-496CF250BAAD}" destId="{90B3EEEC-4BEA-4F2C-9390-7382EBF2E384}" srcOrd="0" destOrd="0" presId="urn:microsoft.com/office/officeart/2005/8/layout/orgChart1"/>
    <dgm:cxn modelId="{06ACAC79-A8B1-40B7-B87B-12927845AC3E}" type="presOf" srcId="{2B407BBF-E10D-49D4-ADC4-C4C936319F45}" destId="{7CCC9B79-2A2E-4E9B-8B25-FA4382B79E9C}" srcOrd="0" destOrd="0" presId="urn:microsoft.com/office/officeart/2005/8/layout/orgChart1"/>
    <dgm:cxn modelId="{5409117A-098E-4A3B-9FEF-2A6A824C1176}" type="presOf" srcId="{1F93248C-103D-435E-8598-B3FACE6E29A7}" destId="{67D61832-D05A-4CE4-82A9-437CD1356122}" srcOrd="0" destOrd="0" presId="urn:microsoft.com/office/officeart/2005/8/layout/orgChart1"/>
    <dgm:cxn modelId="{60FC387A-872B-4EDB-95BC-D0B1DFA724AD}" type="presOf" srcId="{8D7BA605-43F7-4B34-B283-49A3E2B9C76D}" destId="{563BBF97-88AD-43EB-A041-55D190C5C942}" srcOrd="0" destOrd="0" presId="urn:microsoft.com/office/officeart/2005/8/layout/orgChart1"/>
    <dgm:cxn modelId="{7540697E-D905-450B-BDD1-7DD55340DEED}" type="presOf" srcId="{A7700BDF-CEC7-4298-A311-7492AFFD6590}" destId="{0FF8AA66-E202-4B8D-A95E-F0B1EC4313B1}" srcOrd="0" destOrd="0" presId="urn:microsoft.com/office/officeart/2005/8/layout/orgChart1"/>
    <dgm:cxn modelId="{265AF77F-1B1B-41AE-8E4B-4CB0A6E2688E}" srcId="{7D66D1BA-3244-4E9B-8415-402F3E3D256D}" destId="{9D6F5524-641C-4880-A3D1-B66718A28B97}" srcOrd="1" destOrd="0" parTransId="{B6ABD7A9-BB03-4785-8DA3-1BBC4BBEBE4E}" sibTransId="{02CFAF66-9DAD-4150-A6FF-CE1138CB7F4B}"/>
    <dgm:cxn modelId="{72012280-A35D-4345-BDCA-C97609FBD93F}" type="presOf" srcId="{E42C0361-2AF4-403D-9556-EC28E8565404}" destId="{26549DFE-1534-4633-B2B1-49E5605A2548}" srcOrd="0" destOrd="0" presId="urn:microsoft.com/office/officeart/2005/8/layout/orgChart1"/>
    <dgm:cxn modelId="{0EE3C989-3716-4E88-B036-1A7A526EFB65}" srcId="{2B407BBF-E10D-49D4-ADC4-C4C936319F45}" destId="{921D9F10-6EA4-469D-A3D6-2FA8B9F421D4}" srcOrd="0" destOrd="0" parTransId="{374B108A-D4A2-4A80-886C-14D2711D64D9}" sibTransId="{9B57671D-B35E-4E5E-B75E-946B588954D4}"/>
    <dgm:cxn modelId="{851E3592-BA9D-4239-B677-AB78EF83FF8F}" type="presOf" srcId="{735B5C96-B3BC-43A1-926F-8385BF18FD02}" destId="{1533D59C-C7D9-441C-A6EB-8AAD259C4A7C}" srcOrd="0" destOrd="0" presId="urn:microsoft.com/office/officeart/2005/8/layout/orgChart1"/>
    <dgm:cxn modelId="{15463093-B5EB-47A4-855E-797B4ADD6715}" type="presOf" srcId="{F7A13298-94F1-4908-B399-232188B45540}" destId="{DA37A591-5192-46A3-8B18-0EE62A210F25}" srcOrd="1" destOrd="0" presId="urn:microsoft.com/office/officeart/2005/8/layout/orgChart1"/>
    <dgm:cxn modelId="{43EB3BA3-8E7E-47E6-886E-B9B7B676597E}" srcId="{E42C0361-2AF4-403D-9556-EC28E8565404}" destId="{2B407BBF-E10D-49D4-ADC4-C4C936319F45}" srcOrd="0" destOrd="0" parTransId="{74DDAC21-A09D-4644-BA90-93C87D93DCFD}" sibTransId="{87BD3336-8813-4C80-9F0B-2E8D3D01CD6A}"/>
    <dgm:cxn modelId="{924007A9-7733-42F8-9745-B983C28D22BF}" srcId="{4DEE920C-44DA-420A-BBA9-9A6DBF240AF6}" destId="{A7700BDF-CEC7-4298-A311-7492AFFD6590}" srcOrd="0" destOrd="0" parTransId="{1F93248C-103D-435E-8598-B3FACE6E29A7}" sibTransId="{BA16B77C-E754-4552-A83D-A3105B237A8A}"/>
    <dgm:cxn modelId="{4E0B74AD-361B-4CAA-B029-88881EF987EB}" srcId="{7D66D1BA-3244-4E9B-8415-402F3E3D256D}" destId="{CBE2C7AB-6617-4EE5-B073-496CF250BAAD}" srcOrd="0" destOrd="0" parTransId="{7C589D82-36DA-40B0-8344-FCAC680EA735}" sibTransId="{E106E858-32B4-4C36-BC3E-35C3DD85BA47}"/>
    <dgm:cxn modelId="{76EDBCAE-B877-4FD0-864D-3581D57DA321}" srcId="{E2740EFC-221D-41D6-8B2D-2EEBB2CC1DAB}" destId="{EBD320BA-E1D8-43E1-9532-F5229FB103E4}" srcOrd="0" destOrd="0" parTransId="{48BE8E7A-8514-4D0D-928D-3797ED1CB626}" sibTransId="{52A3E73C-E63B-4CED-9CA5-53FC1D99F0B7}"/>
    <dgm:cxn modelId="{BA0640B0-645A-4385-846E-1E8F04554410}" srcId="{8D7BA605-43F7-4B34-B283-49A3E2B9C76D}" destId="{5231BFD0-BC09-4EEB-9409-C1D6F460F8A1}" srcOrd="0" destOrd="0" parTransId="{735B5C96-B3BC-43A1-926F-8385BF18FD02}" sibTransId="{34D59059-1C0A-487B-9C3D-318BC70693E3}"/>
    <dgm:cxn modelId="{0B35FCB4-448C-4BD4-913C-77B4271CF3E5}" srcId="{CBE2C7AB-6617-4EE5-B073-496CF250BAAD}" destId="{86248B53-864C-49CE-9553-C8071A9EB2A0}" srcOrd="0" destOrd="0" parTransId="{48ACB221-425D-4209-AF83-3454838F433E}" sibTransId="{91FB92B2-2530-4882-A341-18892C90EF58}"/>
    <dgm:cxn modelId="{452920B7-B5C6-4A12-BF2E-038597FE1882}" srcId="{CBE2C7AB-6617-4EE5-B073-496CF250BAAD}" destId="{9824F04F-DC62-42A1-BE42-9F44711318F5}" srcOrd="1" destOrd="0" parTransId="{F56D1EA8-2E9F-4B5F-87F2-5003B94F967B}" sibTransId="{F3B95446-72E1-463D-95D3-D38A4F6D9932}"/>
    <dgm:cxn modelId="{43841DB8-F001-4390-853A-302C9ED19793}" type="presOf" srcId="{E2740EFC-221D-41D6-8B2D-2EEBB2CC1DAB}" destId="{EFA2B48D-0875-4D4B-A648-0AF8BFF1025E}" srcOrd="1" destOrd="0" presId="urn:microsoft.com/office/officeart/2005/8/layout/orgChart1"/>
    <dgm:cxn modelId="{F58B6FB9-8C90-4EC2-A54D-6595D9FB9DD0}" type="presOf" srcId="{2B407BBF-E10D-49D4-ADC4-C4C936319F45}" destId="{2FB19B05-6550-4F86-8D95-E37624305099}" srcOrd="1" destOrd="0" presId="urn:microsoft.com/office/officeart/2005/8/layout/orgChart1"/>
    <dgm:cxn modelId="{39E85CBB-C155-4460-B418-ACB6054E9C42}" srcId="{5231BFD0-BC09-4EEB-9409-C1D6F460F8A1}" destId="{E2740EFC-221D-41D6-8B2D-2EEBB2CC1DAB}" srcOrd="1" destOrd="0" parTransId="{E70623EA-78E3-4494-85B1-76A50DD2D521}" sibTransId="{A7998C02-45BE-4354-B0F3-B7BED92D3151}"/>
    <dgm:cxn modelId="{B41D2ABC-91C1-4A45-BE51-F84AD456008E}" type="presOf" srcId="{4DEE920C-44DA-420A-BBA9-9A6DBF240AF6}" destId="{2E815A99-6C5E-4835-B17D-7FF3C7546795}" srcOrd="0" destOrd="0" presId="urn:microsoft.com/office/officeart/2005/8/layout/orgChart1"/>
    <dgm:cxn modelId="{195E0CBD-B428-417F-8E5B-32140DD0667B}" type="presOf" srcId="{FFFC4EF6-AF4B-4358-B906-D25BA0D07825}" destId="{AE00DE9D-DF71-45A6-B704-E8788574280F}" srcOrd="0" destOrd="0" presId="urn:microsoft.com/office/officeart/2005/8/layout/orgChart1"/>
    <dgm:cxn modelId="{921728C4-06E3-4FEA-AA9B-71F517E0E7A2}" srcId="{04511269-CD7F-4C88-B15E-A79D32687DD9}" destId="{A195318E-6875-4E10-9D5D-9DD56D57DE8A}" srcOrd="0" destOrd="0" parTransId="{72F28A72-9B4E-465A-8D00-84284158A52B}" sibTransId="{DE7579CD-DDA5-4C9B-ABF0-9267CAAE1AEE}"/>
    <dgm:cxn modelId="{81F67BC4-FED9-402B-ABCE-5BCBE7BF64C5}" type="presOf" srcId="{A195318E-6875-4E10-9D5D-9DD56D57DE8A}" destId="{AB0401D6-D40F-476A-94B5-F1A0BD9D8ECD}" srcOrd="0" destOrd="0" presId="urn:microsoft.com/office/officeart/2005/8/layout/orgChart1"/>
    <dgm:cxn modelId="{B4E046CD-78C4-43FF-B4E2-FBB9E8A7FF9A}" type="presOf" srcId="{4DEE920C-44DA-420A-BBA9-9A6DBF240AF6}" destId="{B9E4C48A-6082-4742-A638-D84D267BC479}" srcOrd="1" destOrd="0" presId="urn:microsoft.com/office/officeart/2005/8/layout/orgChart1"/>
    <dgm:cxn modelId="{8082C8D1-1BEC-4358-8AF0-1F005A24DBEC}" type="presOf" srcId="{7C589D82-36DA-40B0-8344-FCAC680EA735}" destId="{F09046E2-F351-4C0E-9903-BB63930E82C8}" srcOrd="0" destOrd="0" presId="urn:microsoft.com/office/officeart/2005/8/layout/orgChart1"/>
    <dgm:cxn modelId="{28AE54D6-CB82-45FA-A3E1-BD572E6E3D73}" type="presOf" srcId="{7D66D1BA-3244-4E9B-8415-402F3E3D256D}" destId="{CD7C79BE-B9FB-49F6-BABE-D511A638DBF7}" srcOrd="1" destOrd="0" presId="urn:microsoft.com/office/officeart/2005/8/layout/orgChart1"/>
    <dgm:cxn modelId="{D0A3F0D8-83F8-44D1-832A-D4796F3465F5}" type="presOf" srcId="{A195318E-6875-4E10-9D5D-9DD56D57DE8A}" destId="{891C9DC7-0B89-48CE-A9DA-CED4387C7212}" srcOrd="1" destOrd="0" presId="urn:microsoft.com/office/officeart/2005/8/layout/orgChart1"/>
    <dgm:cxn modelId="{2E9C83EB-57D2-4DAF-8D85-2110C1F191BC}" type="presOf" srcId="{9D6F5524-641C-4880-A3D1-B66718A28B97}" destId="{78B41A26-2EB1-4E2B-884F-73A15160A423}" srcOrd="0" destOrd="0" presId="urn:microsoft.com/office/officeart/2005/8/layout/orgChart1"/>
    <dgm:cxn modelId="{5C5CBEEC-93FE-4D40-AEFC-F100F1D64905}" type="presOf" srcId="{9D6F5524-641C-4880-A3D1-B66718A28B97}" destId="{5EA00EE2-897F-43C1-909F-854EB98F8088}" srcOrd="1" destOrd="0" presId="urn:microsoft.com/office/officeart/2005/8/layout/orgChart1"/>
    <dgm:cxn modelId="{9CDE94EE-31F1-49AC-A150-C97A19D9BE36}" srcId="{E2740EFC-221D-41D6-8B2D-2EEBB2CC1DAB}" destId="{F7A13298-94F1-4908-B399-232188B45540}" srcOrd="1" destOrd="0" parTransId="{0291537D-0EC9-4B54-8636-A184DF21AD4A}" sibTransId="{E43C794D-D8AB-4FD8-B2AB-62DB4C5534BC}"/>
    <dgm:cxn modelId="{1AFA23F0-D761-4551-B218-9B2D8259BE7E}" srcId="{5231BFD0-BC09-4EEB-9409-C1D6F460F8A1}" destId="{04511269-CD7F-4C88-B15E-A79D32687DD9}" srcOrd="0" destOrd="0" parTransId="{9194D665-D17F-46BF-9873-0877AFFA3813}" sibTransId="{2F972072-4AAA-47CA-AD8C-EE5F34370E48}"/>
    <dgm:cxn modelId="{719F3FF6-FC92-4418-9DA7-314415ED9AB7}" type="presOf" srcId="{125F3890-B46C-4E18-B024-9FAFB884C3B6}" destId="{3AC20B5E-6098-4A47-9EF1-D51B0BA7F14A}" srcOrd="0" destOrd="0" presId="urn:microsoft.com/office/officeart/2005/8/layout/orgChart1"/>
    <dgm:cxn modelId="{3273F5F7-5E3F-49DF-9991-2B43790372E2}" type="presOf" srcId="{48ACB221-425D-4209-AF83-3454838F433E}" destId="{78382E3D-F7B7-41A6-AE23-F8106B8EA9B5}" srcOrd="0" destOrd="0" presId="urn:microsoft.com/office/officeart/2005/8/layout/orgChart1"/>
    <dgm:cxn modelId="{6EEA40FC-8E1D-4C68-BEA3-45FAB219DA2E}" srcId="{921D9F10-6EA4-469D-A3D6-2FA8B9F421D4}" destId="{4DEE920C-44DA-420A-BBA9-9A6DBF240AF6}" srcOrd="1" destOrd="0" parTransId="{1CEA8DD7-79DF-4A31-8BDD-7C359234C271}" sibTransId="{CE8659BE-969D-452A-A25E-58E4DE418D15}"/>
    <dgm:cxn modelId="{FC24323E-8B17-490D-AE8B-D10577C4C1D2}" type="presParOf" srcId="{26549DFE-1534-4633-B2B1-49E5605A2548}" destId="{F38C306E-80B9-4389-A53B-F4BACE4F9B88}" srcOrd="0" destOrd="0" presId="urn:microsoft.com/office/officeart/2005/8/layout/orgChart1"/>
    <dgm:cxn modelId="{248ED9AA-6719-4876-9367-1AFB656FE323}" type="presParOf" srcId="{F38C306E-80B9-4389-A53B-F4BACE4F9B88}" destId="{32342361-4138-47A3-B99E-B47EE0667514}" srcOrd="0" destOrd="0" presId="urn:microsoft.com/office/officeart/2005/8/layout/orgChart1"/>
    <dgm:cxn modelId="{6E51E323-82B3-44AC-B553-5CA515A2E762}" type="presParOf" srcId="{32342361-4138-47A3-B99E-B47EE0667514}" destId="{7CCC9B79-2A2E-4E9B-8B25-FA4382B79E9C}" srcOrd="0" destOrd="0" presId="urn:microsoft.com/office/officeart/2005/8/layout/orgChart1"/>
    <dgm:cxn modelId="{DFF929E3-AE63-49DF-BBFE-FC36F88E33E5}" type="presParOf" srcId="{32342361-4138-47A3-B99E-B47EE0667514}" destId="{2FB19B05-6550-4F86-8D95-E37624305099}" srcOrd="1" destOrd="0" presId="urn:microsoft.com/office/officeart/2005/8/layout/orgChart1"/>
    <dgm:cxn modelId="{EA68564B-FE1B-48D0-9FF5-351F3863F76F}" type="presParOf" srcId="{F38C306E-80B9-4389-A53B-F4BACE4F9B88}" destId="{97FC22E7-04EE-461B-8D57-99113EAC0E23}" srcOrd="1" destOrd="0" presId="urn:microsoft.com/office/officeart/2005/8/layout/orgChart1"/>
    <dgm:cxn modelId="{D05F8842-19ED-48F7-A493-3795C1520315}" type="presParOf" srcId="{97FC22E7-04EE-461B-8D57-99113EAC0E23}" destId="{7DC4373B-0F8F-4FDB-B285-C238BFAE51E2}" srcOrd="0" destOrd="0" presId="urn:microsoft.com/office/officeart/2005/8/layout/orgChart1"/>
    <dgm:cxn modelId="{A60B16C9-336E-4614-9C9C-6E6B403A2081}" type="presParOf" srcId="{97FC22E7-04EE-461B-8D57-99113EAC0E23}" destId="{D80E65C5-4A65-4A50-A036-DA008FC61B1A}" srcOrd="1" destOrd="0" presId="urn:microsoft.com/office/officeart/2005/8/layout/orgChart1"/>
    <dgm:cxn modelId="{1C9E0861-8D7E-4F28-BFC1-CDF715E0F93C}" type="presParOf" srcId="{D80E65C5-4A65-4A50-A036-DA008FC61B1A}" destId="{9007D6C1-5DF8-47E7-9014-3596A338CB58}" srcOrd="0" destOrd="0" presId="urn:microsoft.com/office/officeart/2005/8/layout/orgChart1"/>
    <dgm:cxn modelId="{CDA6D129-1DE2-47B9-ACA6-33EC10EB3660}" type="presParOf" srcId="{9007D6C1-5DF8-47E7-9014-3596A338CB58}" destId="{9C3C9FFC-6CE3-4516-BB48-0B379AF3246F}" srcOrd="0" destOrd="0" presId="urn:microsoft.com/office/officeart/2005/8/layout/orgChart1"/>
    <dgm:cxn modelId="{4CE3F15E-0A16-4A9A-A77E-3E7E4B08C246}" type="presParOf" srcId="{9007D6C1-5DF8-47E7-9014-3596A338CB58}" destId="{E4DC44BB-52EE-4F95-8B71-78BBDF92F603}" srcOrd="1" destOrd="0" presId="urn:microsoft.com/office/officeart/2005/8/layout/orgChart1"/>
    <dgm:cxn modelId="{F3D3651D-E42A-46E4-8F8B-ADADC8F2A11D}" type="presParOf" srcId="{D80E65C5-4A65-4A50-A036-DA008FC61B1A}" destId="{3A6F3DC8-075D-4FF7-B421-14773B0AAF78}" srcOrd="1" destOrd="0" presId="urn:microsoft.com/office/officeart/2005/8/layout/orgChart1"/>
    <dgm:cxn modelId="{CF61DC4D-B8FB-4BE0-9BE9-6DA168B3AC69}" type="presParOf" srcId="{3A6F3DC8-075D-4FF7-B421-14773B0AAF78}" destId="{AE00DE9D-DF71-45A6-B704-E8788574280F}" srcOrd="0" destOrd="0" presId="urn:microsoft.com/office/officeart/2005/8/layout/orgChart1"/>
    <dgm:cxn modelId="{92558DCE-236B-4B71-B794-BAC28DF27451}" type="presParOf" srcId="{3A6F3DC8-075D-4FF7-B421-14773B0AAF78}" destId="{5611CEAC-5E92-4E90-ADB3-35FDD05E0586}" srcOrd="1" destOrd="0" presId="urn:microsoft.com/office/officeart/2005/8/layout/orgChart1"/>
    <dgm:cxn modelId="{47C46894-B272-4F91-AD4F-D5196CC7094C}" type="presParOf" srcId="{5611CEAC-5E92-4E90-ADB3-35FDD05E0586}" destId="{C8112308-BE3A-4D87-ADAE-5BFA593AD577}" srcOrd="0" destOrd="0" presId="urn:microsoft.com/office/officeart/2005/8/layout/orgChart1"/>
    <dgm:cxn modelId="{C37FB202-515C-4FE6-AB2D-F46DFDBB3208}" type="presParOf" srcId="{C8112308-BE3A-4D87-ADAE-5BFA593AD577}" destId="{563BBF97-88AD-43EB-A041-55D190C5C942}" srcOrd="0" destOrd="0" presId="urn:microsoft.com/office/officeart/2005/8/layout/orgChart1"/>
    <dgm:cxn modelId="{01A21A0C-99AD-46E1-ACF5-CCF7608CD40D}" type="presParOf" srcId="{C8112308-BE3A-4D87-ADAE-5BFA593AD577}" destId="{D3055B64-53D6-4E65-9E75-1733614931B4}" srcOrd="1" destOrd="0" presId="urn:microsoft.com/office/officeart/2005/8/layout/orgChart1"/>
    <dgm:cxn modelId="{CC60FEF7-0DFB-44B8-BDFF-930E6BE5CA0B}" type="presParOf" srcId="{5611CEAC-5E92-4E90-ADB3-35FDD05E0586}" destId="{0EDD845F-0361-48B8-B3D3-9076DA29B511}" srcOrd="1" destOrd="0" presId="urn:microsoft.com/office/officeart/2005/8/layout/orgChart1"/>
    <dgm:cxn modelId="{7C77EAEC-8EAB-4C52-8B2A-34AE5B92A8E5}" type="presParOf" srcId="{0EDD845F-0361-48B8-B3D3-9076DA29B511}" destId="{1533D59C-C7D9-441C-A6EB-8AAD259C4A7C}" srcOrd="0" destOrd="0" presId="urn:microsoft.com/office/officeart/2005/8/layout/orgChart1"/>
    <dgm:cxn modelId="{B3EDCC24-7C23-4B88-9782-39C43D560B1C}" type="presParOf" srcId="{0EDD845F-0361-48B8-B3D3-9076DA29B511}" destId="{B083BE6F-9445-4FBA-BB41-93BD32F99CE3}" srcOrd="1" destOrd="0" presId="urn:microsoft.com/office/officeart/2005/8/layout/orgChart1"/>
    <dgm:cxn modelId="{EC8EF652-69A3-467F-BB9E-C531E458A036}" type="presParOf" srcId="{B083BE6F-9445-4FBA-BB41-93BD32F99CE3}" destId="{999F2054-59AB-49CF-8904-CF1A02182ACE}" srcOrd="0" destOrd="0" presId="urn:microsoft.com/office/officeart/2005/8/layout/orgChart1"/>
    <dgm:cxn modelId="{844CE2F3-FCBA-43D1-9958-42B8B40A5186}" type="presParOf" srcId="{999F2054-59AB-49CF-8904-CF1A02182ACE}" destId="{3F6F8835-3E01-4CBA-87F8-17629877A87D}" srcOrd="0" destOrd="0" presId="urn:microsoft.com/office/officeart/2005/8/layout/orgChart1"/>
    <dgm:cxn modelId="{75D88495-B50A-4337-878C-2EF498BB72C7}" type="presParOf" srcId="{999F2054-59AB-49CF-8904-CF1A02182ACE}" destId="{E40391C9-4216-4A1E-88DE-AB4DDA27E93D}" srcOrd="1" destOrd="0" presId="urn:microsoft.com/office/officeart/2005/8/layout/orgChart1"/>
    <dgm:cxn modelId="{DEDFBCC9-5F35-4615-A5D3-65D86F5A65D9}" type="presParOf" srcId="{B083BE6F-9445-4FBA-BB41-93BD32F99CE3}" destId="{8A9EDECE-2F0E-417B-AB14-A0A4B60150AA}" srcOrd="1" destOrd="0" presId="urn:microsoft.com/office/officeart/2005/8/layout/orgChart1"/>
    <dgm:cxn modelId="{9CD1F616-C7B2-46B2-9F67-A13058F2F2F2}" type="presParOf" srcId="{8A9EDECE-2F0E-417B-AB14-A0A4B60150AA}" destId="{21B11E23-AB53-4F80-8C29-C4605835CEEB}" srcOrd="0" destOrd="0" presId="urn:microsoft.com/office/officeart/2005/8/layout/orgChart1"/>
    <dgm:cxn modelId="{C82B5EBA-D1D1-430A-A1AC-88636DE54570}" type="presParOf" srcId="{8A9EDECE-2F0E-417B-AB14-A0A4B60150AA}" destId="{CCC03BA0-4B39-4312-878B-BF823AED693E}" srcOrd="1" destOrd="0" presId="urn:microsoft.com/office/officeart/2005/8/layout/orgChart1"/>
    <dgm:cxn modelId="{4AEC66D9-8F65-4A71-BCC1-5A42D635C10B}" type="presParOf" srcId="{CCC03BA0-4B39-4312-878B-BF823AED693E}" destId="{360A0688-14E8-4945-85E4-7630AFFC7D8E}" srcOrd="0" destOrd="0" presId="urn:microsoft.com/office/officeart/2005/8/layout/orgChart1"/>
    <dgm:cxn modelId="{8CB05F93-CEA7-45E2-893E-C10A1EFB4B55}" type="presParOf" srcId="{360A0688-14E8-4945-85E4-7630AFFC7D8E}" destId="{32FD44D1-15AC-45E4-8D6B-40465314CCA3}" srcOrd="0" destOrd="0" presId="urn:microsoft.com/office/officeart/2005/8/layout/orgChart1"/>
    <dgm:cxn modelId="{8EA68B94-4E11-47CF-A84A-9BA94B33D8FA}" type="presParOf" srcId="{360A0688-14E8-4945-85E4-7630AFFC7D8E}" destId="{415C4986-5043-4CE0-A7CD-07ADD733CBC6}" srcOrd="1" destOrd="0" presId="urn:microsoft.com/office/officeart/2005/8/layout/orgChart1"/>
    <dgm:cxn modelId="{BC661E5F-D007-4B3E-A2DD-3A548F95DBC4}" type="presParOf" srcId="{CCC03BA0-4B39-4312-878B-BF823AED693E}" destId="{674EE2B6-6A9A-4710-A41B-F4184C99278F}" srcOrd="1" destOrd="0" presId="urn:microsoft.com/office/officeart/2005/8/layout/orgChart1"/>
    <dgm:cxn modelId="{D6892253-D705-4381-8874-B0049B5AC081}" type="presParOf" srcId="{674EE2B6-6A9A-4710-A41B-F4184C99278F}" destId="{E380D099-B26B-473F-8A47-154E9D1E544A}" srcOrd="0" destOrd="0" presId="urn:microsoft.com/office/officeart/2005/8/layout/orgChart1"/>
    <dgm:cxn modelId="{7ED40B8A-758D-403D-92F5-3CBC7CBF6C1E}" type="presParOf" srcId="{674EE2B6-6A9A-4710-A41B-F4184C99278F}" destId="{B0CCEE0A-E6BF-40C3-B11A-15C576624463}" srcOrd="1" destOrd="0" presId="urn:microsoft.com/office/officeart/2005/8/layout/orgChart1"/>
    <dgm:cxn modelId="{600BE5F3-2F25-48F6-B1FA-1B00FD5F1919}" type="presParOf" srcId="{B0CCEE0A-E6BF-40C3-B11A-15C576624463}" destId="{15BE3576-4908-4153-8F99-C5522B3F2C6D}" srcOrd="0" destOrd="0" presId="urn:microsoft.com/office/officeart/2005/8/layout/orgChart1"/>
    <dgm:cxn modelId="{512EB995-D913-4EA6-AF0A-35157FB4EA25}" type="presParOf" srcId="{15BE3576-4908-4153-8F99-C5522B3F2C6D}" destId="{AB0401D6-D40F-476A-94B5-F1A0BD9D8ECD}" srcOrd="0" destOrd="0" presId="urn:microsoft.com/office/officeart/2005/8/layout/orgChart1"/>
    <dgm:cxn modelId="{333361D3-C5E4-4911-98B2-4F1A57A09484}" type="presParOf" srcId="{15BE3576-4908-4153-8F99-C5522B3F2C6D}" destId="{891C9DC7-0B89-48CE-A9DA-CED4387C7212}" srcOrd="1" destOrd="0" presId="urn:microsoft.com/office/officeart/2005/8/layout/orgChart1"/>
    <dgm:cxn modelId="{6F7666AF-4929-4679-BC49-EDDD8163C146}" type="presParOf" srcId="{B0CCEE0A-E6BF-40C3-B11A-15C576624463}" destId="{6F81F615-FC37-4717-87A5-0F7C150A6945}" srcOrd="1" destOrd="0" presId="urn:microsoft.com/office/officeart/2005/8/layout/orgChart1"/>
    <dgm:cxn modelId="{1F614E6F-0B2D-41DA-A3B9-9D8366279DF9}" type="presParOf" srcId="{B0CCEE0A-E6BF-40C3-B11A-15C576624463}" destId="{F5F19194-FE96-4C2C-BDA1-67014970F3AA}" srcOrd="2" destOrd="0" presId="urn:microsoft.com/office/officeart/2005/8/layout/orgChart1"/>
    <dgm:cxn modelId="{AFB052FF-63FE-499A-8FF1-23FED8C5C4C5}" type="presParOf" srcId="{CCC03BA0-4B39-4312-878B-BF823AED693E}" destId="{9178B038-B870-4607-AB97-F0DA531DEBF3}" srcOrd="2" destOrd="0" presId="urn:microsoft.com/office/officeart/2005/8/layout/orgChart1"/>
    <dgm:cxn modelId="{95CA39B6-5922-4324-8B59-F398DAC6389A}" type="presParOf" srcId="{8A9EDECE-2F0E-417B-AB14-A0A4B60150AA}" destId="{4D0D67AD-19DA-4ECA-A253-A7B25154619A}" srcOrd="2" destOrd="0" presId="urn:microsoft.com/office/officeart/2005/8/layout/orgChart1"/>
    <dgm:cxn modelId="{6DA8AD8B-DB20-4CF8-9C4C-E6A7D5DEE7B9}" type="presParOf" srcId="{8A9EDECE-2F0E-417B-AB14-A0A4B60150AA}" destId="{BCFA5F45-CC54-4685-B520-DBD7D18A775A}" srcOrd="3" destOrd="0" presId="urn:microsoft.com/office/officeart/2005/8/layout/orgChart1"/>
    <dgm:cxn modelId="{7E82259D-9EE3-4ABA-BE60-24157538C993}" type="presParOf" srcId="{BCFA5F45-CC54-4685-B520-DBD7D18A775A}" destId="{4E112E6D-8220-48DF-8426-656BCEC9E686}" srcOrd="0" destOrd="0" presId="urn:microsoft.com/office/officeart/2005/8/layout/orgChart1"/>
    <dgm:cxn modelId="{5B34372C-7DE5-4943-BD8C-48608B539D48}" type="presParOf" srcId="{4E112E6D-8220-48DF-8426-656BCEC9E686}" destId="{A80037A4-023F-4557-8F10-D3BD4D8F16AF}" srcOrd="0" destOrd="0" presId="urn:microsoft.com/office/officeart/2005/8/layout/orgChart1"/>
    <dgm:cxn modelId="{B6310882-BB11-41EF-8DFA-170ACF1828C7}" type="presParOf" srcId="{4E112E6D-8220-48DF-8426-656BCEC9E686}" destId="{EFA2B48D-0875-4D4B-A648-0AF8BFF1025E}" srcOrd="1" destOrd="0" presId="urn:microsoft.com/office/officeart/2005/8/layout/orgChart1"/>
    <dgm:cxn modelId="{6F7B9E2A-BDA2-455F-A616-05B379181BD2}" type="presParOf" srcId="{BCFA5F45-CC54-4685-B520-DBD7D18A775A}" destId="{C6F157B0-0DA4-42AB-940F-A165C7623492}" srcOrd="1" destOrd="0" presId="urn:microsoft.com/office/officeart/2005/8/layout/orgChart1"/>
    <dgm:cxn modelId="{1A6060D5-56E5-4509-9B78-D95B7F379B21}" type="presParOf" srcId="{C6F157B0-0DA4-42AB-940F-A165C7623492}" destId="{97416CC7-9D51-46E8-BBB9-E790E67E6B07}" srcOrd="0" destOrd="0" presId="urn:microsoft.com/office/officeart/2005/8/layout/orgChart1"/>
    <dgm:cxn modelId="{1DBB3D57-92A3-4579-8AF7-AFDA7E6A5034}" type="presParOf" srcId="{C6F157B0-0DA4-42AB-940F-A165C7623492}" destId="{0D4CA84F-1773-4842-A1A0-28CE236D5B56}" srcOrd="1" destOrd="0" presId="urn:microsoft.com/office/officeart/2005/8/layout/orgChart1"/>
    <dgm:cxn modelId="{023C6299-D1FA-4F15-AEAB-5996EA738B1D}" type="presParOf" srcId="{0D4CA84F-1773-4842-A1A0-28CE236D5B56}" destId="{D5A449D8-AF5C-4129-AA3F-65081722651B}" srcOrd="0" destOrd="0" presId="urn:microsoft.com/office/officeart/2005/8/layout/orgChart1"/>
    <dgm:cxn modelId="{1D1F1774-1496-4583-87BE-51F71D406783}" type="presParOf" srcId="{D5A449D8-AF5C-4129-AA3F-65081722651B}" destId="{E00C2A3A-BF99-41B3-A61A-F31DF31E1D9B}" srcOrd="0" destOrd="0" presId="urn:microsoft.com/office/officeart/2005/8/layout/orgChart1"/>
    <dgm:cxn modelId="{3B01A175-D89B-4D48-886B-5045EB19E3EF}" type="presParOf" srcId="{D5A449D8-AF5C-4129-AA3F-65081722651B}" destId="{107A001A-3E5F-4DFE-BA02-5615BE999851}" srcOrd="1" destOrd="0" presId="urn:microsoft.com/office/officeart/2005/8/layout/orgChart1"/>
    <dgm:cxn modelId="{9EA126F8-29A6-4CC0-B7EB-8602E45BF089}" type="presParOf" srcId="{0D4CA84F-1773-4842-A1A0-28CE236D5B56}" destId="{9E479120-F469-4F0D-AB54-765AD00A286F}" srcOrd="1" destOrd="0" presId="urn:microsoft.com/office/officeart/2005/8/layout/orgChart1"/>
    <dgm:cxn modelId="{9F3271D8-B5D7-4B65-B626-4C62CD39D1F8}" type="presParOf" srcId="{0D4CA84F-1773-4842-A1A0-28CE236D5B56}" destId="{14DC5007-8563-4E9A-8057-20AF6755C4FA}" srcOrd="2" destOrd="0" presId="urn:microsoft.com/office/officeart/2005/8/layout/orgChart1"/>
    <dgm:cxn modelId="{2D9D64E7-6784-421D-804A-74F7C7275A68}" type="presParOf" srcId="{C6F157B0-0DA4-42AB-940F-A165C7623492}" destId="{80D8E449-04C7-46A5-B564-7BBC4AA6A838}" srcOrd="2" destOrd="0" presId="urn:microsoft.com/office/officeart/2005/8/layout/orgChart1"/>
    <dgm:cxn modelId="{27B1A603-878F-4A63-A1A8-4BA1A8948762}" type="presParOf" srcId="{C6F157B0-0DA4-42AB-940F-A165C7623492}" destId="{3008CE70-D4A0-4673-9FEB-B18695CD7285}" srcOrd="3" destOrd="0" presId="urn:microsoft.com/office/officeart/2005/8/layout/orgChart1"/>
    <dgm:cxn modelId="{7DECC36E-EAB3-449D-A3E6-7F5DD298B64E}" type="presParOf" srcId="{3008CE70-D4A0-4673-9FEB-B18695CD7285}" destId="{28313C2F-A88B-4BFA-A5B3-D07BB2F60F1B}" srcOrd="0" destOrd="0" presId="urn:microsoft.com/office/officeart/2005/8/layout/orgChart1"/>
    <dgm:cxn modelId="{511BCBC8-3352-4D28-84EC-BDD4C8D52037}" type="presParOf" srcId="{28313C2F-A88B-4BFA-A5B3-D07BB2F60F1B}" destId="{CEC98FEA-A9C8-46BF-9ECC-D8B2A1E09D1B}" srcOrd="0" destOrd="0" presId="urn:microsoft.com/office/officeart/2005/8/layout/orgChart1"/>
    <dgm:cxn modelId="{1E53CF8D-6A00-4ADF-A3CD-C2CA20061FB9}" type="presParOf" srcId="{28313C2F-A88B-4BFA-A5B3-D07BB2F60F1B}" destId="{DA37A591-5192-46A3-8B18-0EE62A210F25}" srcOrd="1" destOrd="0" presId="urn:microsoft.com/office/officeart/2005/8/layout/orgChart1"/>
    <dgm:cxn modelId="{E5926936-CD38-4F13-90EC-4218EFB9B680}" type="presParOf" srcId="{3008CE70-D4A0-4673-9FEB-B18695CD7285}" destId="{AFBC67CA-8B9C-42B8-AC4D-4B56D1AEAA5A}" srcOrd="1" destOrd="0" presId="urn:microsoft.com/office/officeart/2005/8/layout/orgChart1"/>
    <dgm:cxn modelId="{7EBC9F24-1612-4FD7-AC0D-3428CCEFC477}" type="presParOf" srcId="{3008CE70-D4A0-4673-9FEB-B18695CD7285}" destId="{65684F97-FA09-44C3-B213-37D0A77E1BE3}" srcOrd="2" destOrd="0" presId="urn:microsoft.com/office/officeart/2005/8/layout/orgChart1"/>
    <dgm:cxn modelId="{7508658D-7744-41F9-BDFB-FBDE02358E9D}" type="presParOf" srcId="{BCFA5F45-CC54-4685-B520-DBD7D18A775A}" destId="{90C6DCB9-E905-46E7-B022-F8779B1F80BC}" srcOrd="2" destOrd="0" presId="urn:microsoft.com/office/officeart/2005/8/layout/orgChart1"/>
    <dgm:cxn modelId="{607B647E-90AA-402B-B6EE-E13505211BAA}" type="presParOf" srcId="{B083BE6F-9445-4FBA-BB41-93BD32F99CE3}" destId="{B00EC84C-BDA8-42F4-819E-37DD9D6CED4B}" srcOrd="2" destOrd="0" presId="urn:microsoft.com/office/officeart/2005/8/layout/orgChart1"/>
    <dgm:cxn modelId="{E8EFA9A1-34D9-4ABF-8218-14425A106F09}" type="presParOf" srcId="{5611CEAC-5E92-4E90-ADB3-35FDD05E0586}" destId="{3ECB7C24-E518-485C-A203-816D25B87E59}" srcOrd="2" destOrd="0" presId="urn:microsoft.com/office/officeart/2005/8/layout/orgChart1"/>
    <dgm:cxn modelId="{A73BEE1C-2995-4988-B7BD-B85D333DB9B6}" type="presParOf" srcId="{3A6F3DC8-075D-4FF7-B421-14773B0AAF78}" destId="{09603B20-48F1-4E86-A3E1-394B1CC12AE5}" srcOrd="2" destOrd="0" presId="urn:microsoft.com/office/officeart/2005/8/layout/orgChart1"/>
    <dgm:cxn modelId="{940FEA24-CD31-4548-A845-EA4CE4A222BD}" type="presParOf" srcId="{3A6F3DC8-075D-4FF7-B421-14773B0AAF78}" destId="{6AB68293-EAB8-4A3E-9D9E-09BFC5A9DCEC}" srcOrd="3" destOrd="0" presId="urn:microsoft.com/office/officeart/2005/8/layout/orgChart1"/>
    <dgm:cxn modelId="{70792A41-8DA4-49FF-B3AF-6AB9C1D5A9E5}" type="presParOf" srcId="{6AB68293-EAB8-4A3E-9D9E-09BFC5A9DCEC}" destId="{311F6300-1F1B-4341-BEE8-8AB439936AC0}" srcOrd="0" destOrd="0" presId="urn:microsoft.com/office/officeart/2005/8/layout/orgChart1"/>
    <dgm:cxn modelId="{A78C09E1-9A81-461A-B783-F19DB1F363F4}" type="presParOf" srcId="{311F6300-1F1B-4341-BEE8-8AB439936AC0}" destId="{2E815A99-6C5E-4835-B17D-7FF3C7546795}" srcOrd="0" destOrd="0" presId="urn:microsoft.com/office/officeart/2005/8/layout/orgChart1"/>
    <dgm:cxn modelId="{569FE30A-2F84-47BD-9C44-2A5A5BCA77EA}" type="presParOf" srcId="{311F6300-1F1B-4341-BEE8-8AB439936AC0}" destId="{B9E4C48A-6082-4742-A638-D84D267BC479}" srcOrd="1" destOrd="0" presId="urn:microsoft.com/office/officeart/2005/8/layout/orgChart1"/>
    <dgm:cxn modelId="{23676C13-F763-4020-B2E1-12C03F832435}" type="presParOf" srcId="{6AB68293-EAB8-4A3E-9D9E-09BFC5A9DCEC}" destId="{50A1C775-C650-4F90-8944-9924909A2946}" srcOrd="1" destOrd="0" presId="urn:microsoft.com/office/officeart/2005/8/layout/orgChart1"/>
    <dgm:cxn modelId="{41338CFB-F8B3-437E-9A20-66929E35A160}" type="presParOf" srcId="{50A1C775-C650-4F90-8944-9924909A2946}" destId="{67D61832-D05A-4CE4-82A9-437CD1356122}" srcOrd="0" destOrd="0" presId="urn:microsoft.com/office/officeart/2005/8/layout/orgChart1"/>
    <dgm:cxn modelId="{0867FBDE-C521-40E1-8C9E-114DAC50F7F6}" type="presParOf" srcId="{50A1C775-C650-4F90-8944-9924909A2946}" destId="{93CB55F9-2E67-423C-909B-16AA02418F30}" srcOrd="1" destOrd="0" presId="urn:microsoft.com/office/officeart/2005/8/layout/orgChart1"/>
    <dgm:cxn modelId="{6AD5BF72-39D8-4F64-842B-727587B40858}" type="presParOf" srcId="{93CB55F9-2E67-423C-909B-16AA02418F30}" destId="{4277DC01-71BD-4641-A621-808E37C2EC18}" srcOrd="0" destOrd="0" presId="urn:microsoft.com/office/officeart/2005/8/layout/orgChart1"/>
    <dgm:cxn modelId="{1BE8911A-CE80-44DA-A0F9-A96DA484978E}" type="presParOf" srcId="{4277DC01-71BD-4641-A621-808E37C2EC18}" destId="{0FF8AA66-E202-4B8D-A95E-F0B1EC4313B1}" srcOrd="0" destOrd="0" presId="urn:microsoft.com/office/officeart/2005/8/layout/orgChart1"/>
    <dgm:cxn modelId="{21084502-A2F7-4374-9856-74DCDDE4864B}" type="presParOf" srcId="{4277DC01-71BD-4641-A621-808E37C2EC18}" destId="{EB67A293-2F95-422D-9CAF-D41590D9E41A}" srcOrd="1" destOrd="0" presId="urn:microsoft.com/office/officeart/2005/8/layout/orgChart1"/>
    <dgm:cxn modelId="{219A00B2-EF73-4630-9268-0209CE925E89}" type="presParOf" srcId="{93CB55F9-2E67-423C-909B-16AA02418F30}" destId="{8091098F-5083-469A-9BB7-CE7C06CA0DA3}" srcOrd="1" destOrd="0" presId="urn:microsoft.com/office/officeart/2005/8/layout/orgChart1"/>
    <dgm:cxn modelId="{D3E169D5-1762-41CE-A1B8-E05046D24ADB}" type="presParOf" srcId="{93CB55F9-2E67-423C-909B-16AA02418F30}" destId="{A0334206-2AC9-4603-B04A-279D6CE0F3C1}" srcOrd="2" destOrd="0" presId="urn:microsoft.com/office/officeart/2005/8/layout/orgChart1"/>
    <dgm:cxn modelId="{E68B5EC1-3967-4570-A8D1-7060B077B2C8}" type="presParOf" srcId="{6AB68293-EAB8-4A3E-9D9E-09BFC5A9DCEC}" destId="{0822457C-032F-4F1E-8F62-7EE494804F11}" srcOrd="2" destOrd="0" presId="urn:microsoft.com/office/officeart/2005/8/layout/orgChart1"/>
    <dgm:cxn modelId="{F10EB1F8-5579-41F5-B028-CE3538C82A74}" type="presParOf" srcId="{D80E65C5-4A65-4A50-A036-DA008FC61B1A}" destId="{C5254BF7-106D-435B-8786-962FFD9ADB33}" srcOrd="2" destOrd="0" presId="urn:microsoft.com/office/officeart/2005/8/layout/orgChart1"/>
    <dgm:cxn modelId="{6DCD3F9E-B5BC-4993-9260-391479F39086}" type="presParOf" srcId="{97FC22E7-04EE-461B-8D57-99113EAC0E23}" destId="{3AC20B5E-6098-4A47-9EF1-D51B0BA7F14A}" srcOrd="2" destOrd="0" presId="urn:microsoft.com/office/officeart/2005/8/layout/orgChart1"/>
    <dgm:cxn modelId="{B290F5DA-85CF-4ED3-84D4-75033AA272E7}" type="presParOf" srcId="{97FC22E7-04EE-461B-8D57-99113EAC0E23}" destId="{C33C7935-7273-4F7B-BE0C-3AF9BA94BE25}" srcOrd="3" destOrd="0" presId="urn:microsoft.com/office/officeart/2005/8/layout/orgChart1"/>
    <dgm:cxn modelId="{954B8B07-65C4-408E-A8C8-9F1F0015A19F}" type="presParOf" srcId="{C33C7935-7273-4F7B-BE0C-3AF9BA94BE25}" destId="{CDE1020B-9BE0-463D-B36C-8F44FA1C50C0}" srcOrd="0" destOrd="0" presId="urn:microsoft.com/office/officeart/2005/8/layout/orgChart1"/>
    <dgm:cxn modelId="{52CBC1CC-8458-4657-8DFC-46843CF996A6}" type="presParOf" srcId="{CDE1020B-9BE0-463D-B36C-8F44FA1C50C0}" destId="{D7CE84D8-5A9B-4243-BFAD-A10EC40DF307}" srcOrd="0" destOrd="0" presId="urn:microsoft.com/office/officeart/2005/8/layout/orgChart1"/>
    <dgm:cxn modelId="{B707E5FC-0DEC-4912-B28E-1243DAC50C36}" type="presParOf" srcId="{CDE1020B-9BE0-463D-B36C-8F44FA1C50C0}" destId="{CD7C79BE-B9FB-49F6-BABE-D511A638DBF7}" srcOrd="1" destOrd="0" presId="urn:microsoft.com/office/officeart/2005/8/layout/orgChart1"/>
    <dgm:cxn modelId="{78EBDD10-BF20-4C79-A94B-D518D73C476E}" type="presParOf" srcId="{C33C7935-7273-4F7B-BE0C-3AF9BA94BE25}" destId="{D2208961-EE10-474B-9741-D45FF2212D3F}" srcOrd="1" destOrd="0" presId="urn:microsoft.com/office/officeart/2005/8/layout/orgChart1"/>
    <dgm:cxn modelId="{E1908C33-B6D1-490D-B471-7D62E0C57CEF}" type="presParOf" srcId="{D2208961-EE10-474B-9741-D45FF2212D3F}" destId="{F09046E2-F351-4C0E-9903-BB63930E82C8}" srcOrd="0" destOrd="0" presId="urn:microsoft.com/office/officeart/2005/8/layout/orgChart1"/>
    <dgm:cxn modelId="{7325E678-0766-4B7A-BC0C-28860D08AFE3}" type="presParOf" srcId="{D2208961-EE10-474B-9741-D45FF2212D3F}" destId="{08CD7F7B-216B-4586-B91D-0874BBDE3D00}" srcOrd="1" destOrd="0" presId="urn:microsoft.com/office/officeart/2005/8/layout/orgChart1"/>
    <dgm:cxn modelId="{244A0D35-375F-479D-9653-02EB1469C730}" type="presParOf" srcId="{08CD7F7B-216B-4586-B91D-0874BBDE3D00}" destId="{D1447F47-51ED-4AC6-AFC5-957AB908B56A}" srcOrd="0" destOrd="0" presId="urn:microsoft.com/office/officeart/2005/8/layout/orgChart1"/>
    <dgm:cxn modelId="{F0EC9A82-A0C9-437D-A924-3F6B03E5E7CE}" type="presParOf" srcId="{D1447F47-51ED-4AC6-AFC5-957AB908B56A}" destId="{90B3EEEC-4BEA-4F2C-9390-7382EBF2E384}" srcOrd="0" destOrd="0" presId="urn:microsoft.com/office/officeart/2005/8/layout/orgChart1"/>
    <dgm:cxn modelId="{477A50C5-0E0A-4EEB-BA83-387194A9398F}" type="presParOf" srcId="{D1447F47-51ED-4AC6-AFC5-957AB908B56A}" destId="{9B6AE352-E2BB-4763-9C80-9275AADE2B4F}" srcOrd="1" destOrd="0" presId="urn:microsoft.com/office/officeart/2005/8/layout/orgChart1"/>
    <dgm:cxn modelId="{F7F31E0F-0C57-49A5-8D55-679ACEF814C2}" type="presParOf" srcId="{08CD7F7B-216B-4586-B91D-0874BBDE3D00}" destId="{28B79522-40EA-48DB-92E1-33DE2D734146}" srcOrd="1" destOrd="0" presId="urn:microsoft.com/office/officeart/2005/8/layout/orgChart1"/>
    <dgm:cxn modelId="{B2A412A8-52A0-4E93-9535-BFBCAEE52C0F}" type="presParOf" srcId="{28B79522-40EA-48DB-92E1-33DE2D734146}" destId="{78382E3D-F7B7-41A6-AE23-F8106B8EA9B5}" srcOrd="0" destOrd="0" presId="urn:microsoft.com/office/officeart/2005/8/layout/orgChart1"/>
    <dgm:cxn modelId="{38CEF12A-8745-43C4-9200-DD2D14D4C4FB}" type="presParOf" srcId="{28B79522-40EA-48DB-92E1-33DE2D734146}" destId="{2DA4D414-AEEA-49BA-9652-CDB5986A94D4}" srcOrd="1" destOrd="0" presId="urn:microsoft.com/office/officeart/2005/8/layout/orgChart1"/>
    <dgm:cxn modelId="{4D891B85-BCE8-4505-AB9F-B7A964E6C434}" type="presParOf" srcId="{2DA4D414-AEEA-49BA-9652-CDB5986A94D4}" destId="{C4C210AA-5A34-4BA3-88F9-AB0B0D4B6CC3}" srcOrd="0" destOrd="0" presId="urn:microsoft.com/office/officeart/2005/8/layout/orgChart1"/>
    <dgm:cxn modelId="{96BF6265-6294-4343-9BE3-019584ED7A0A}" type="presParOf" srcId="{C4C210AA-5A34-4BA3-88F9-AB0B0D4B6CC3}" destId="{8E9A9B7E-907F-4D29-AB54-4D70C869635F}" srcOrd="0" destOrd="0" presId="urn:microsoft.com/office/officeart/2005/8/layout/orgChart1"/>
    <dgm:cxn modelId="{984F6652-2FB1-4201-AFE3-018BBCE280CE}" type="presParOf" srcId="{C4C210AA-5A34-4BA3-88F9-AB0B0D4B6CC3}" destId="{D3B5CCC0-61AD-4BDA-B0E1-A1D58BFA0768}" srcOrd="1" destOrd="0" presId="urn:microsoft.com/office/officeart/2005/8/layout/orgChart1"/>
    <dgm:cxn modelId="{38A47F70-0A99-4454-969F-DBA8FA4E660A}" type="presParOf" srcId="{2DA4D414-AEEA-49BA-9652-CDB5986A94D4}" destId="{E0765B0E-DE63-4B4D-99BD-3DC42B5DF482}" srcOrd="1" destOrd="0" presId="urn:microsoft.com/office/officeart/2005/8/layout/orgChart1"/>
    <dgm:cxn modelId="{DD7B1C2D-A933-4F0C-AC2B-A502E7FD2670}" type="presParOf" srcId="{2DA4D414-AEEA-49BA-9652-CDB5986A94D4}" destId="{CAEAD495-8156-4CEE-9168-3BDD3043483E}" srcOrd="2" destOrd="0" presId="urn:microsoft.com/office/officeart/2005/8/layout/orgChart1"/>
    <dgm:cxn modelId="{E9CF7DAA-7FF8-4BB4-952F-267F315D35CD}" type="presParOf" srcId="{28B79522-40EA-48DB-92E1-33DE2D734146}" destId="{88DBE16A-0ACA-4FF8-9463-FDF240942B51}" srcOrd="2" destOrd="0" presId="urn:microsoft.com/office/officeart/2005/8/layout/orgChart1"/>
    <dgm:cxn modelId="{4DBC482B-5CD8-4DB9-98C6-68B619005BD5}" type="presParOf" srcId="{28B79522-40EA-48DB-92E1-33DE2D734146}" destId="{0C7C02DC-40A4-4E72-B1B1-A4278FD32FE2}" srcOrd="3" destOrd="0" presId="urn:microsoft.com/office/officeart/2005/8/layout/orgChart1"/>
    <dgm:cxn modelId="{E99FAAD1-CA26-446B-AC77-C322F6272E4D}" type="presParOf" srcId="{0C7C02DC-40A4-4E72-B1B1-A4278FD32FE2}" destId="{E8B803DA-55D5-4A5E-B99F-509B4C007DA1}" srcOrd="0" destOrd="0" presId="urn:microsoft.com/office/officeart/2005/8/layout/orgChart1"/>
    <dgm:cxn modelId="{5DDC982C-BAB9-49F5-BE07-3ADA4EBC1654}" type="presParOf" srcId="{E8B803DA-55D5-4A5E-B99F-509B4C007DA1}" destId="{5AFBF90A-1D5A-47DC-ACB5-D45662A8B8FB}" srcOrd="0" destOrd="0" presId="urn:microsoft.com/office/officeart/2005/8/layout/orgChart1"/>
    <dgm:cxn modelId="{55EBA7F1-9C0D-4E1C-AB56-89855B0CD92F}" type="presParOf" srcId="{E8B803DA-55D5-4A5E-B99F-509B4C007DA1}" destId="{68A42D7E-F3AA-416F-BC95-B2762E0EEBD0}" srcOrd="1" destOrd="0" presId="urn:microsoft.com/office/officeart/2005/8/layout/orgChart1"/>
    <dgm:cxn modelId="{AECF880A-59B7-4562-8769-16794065B31F}" type="presParOf" srcId="{0C7C02DC-40A4-4E72-B1B1-A4278FD32FE2}" destId="{1C4D1B2F-F45C-43A1-92B6-78C4E155986F}" srcOrd="1" destOrd="0" presId="urn:microsoft.com/office/officeart/2005/8/layout/orgChart1"/>
    <dgm:cxn modelId="{177AFC03-3421-4F9D-9DA5-59337F64FB55}" type="presParOf" srcId="{0C7C02DC-40A4-4E72-B1B1-A4278FD32FE2}" destId="{73A8A17D-7001-4EED-878E-2840DA034276}" srcOrd="2" destOrd="0" presId="urn:microsoft.com/office/officeart/2005/8/layout/orgChart1"/>
    <dgm:cxn modelId="{E314F006-2A8B-478B-B514-15218995A8CE}" type="presParOf" srcId="{08CD7F7B-216B-4586-B91D-0874BBDE3D00}" destId="{2794F0D2-5018-4442-80B1-53876772A39B}" srcOrd="2" destOrd="0" presId="urn:microsoft.com/office/officeart/2005/8/layout/orgChart1"/>
    <dgm:cxn modelId="{4E47FD8A-1641-404D-8670-FACA2341257C}" type="presParOf" srcId="{D2208961-EE10-474B-9741-D45FF2212D3F}" destId="{BDD18F89-A724-4748-8AE6-AAFD1C5AE2A5}" srcOrd="2" destOrd="0" presId="urn:microsoft.com/office/officeart/2005/8/layout/orgChart1"/>
    <dgm:cxn modelId="{12FE4511-007B-41B1-AE5A-B6A1F1FE8368}" type="presParOf" srcId="{D2208961-EE10-474B-9741-D45FF2212D3F}" destId="{9D70C5FD-35F0-463A-A07A-BE42D1C6AC49}" srcOrd="3" destOrd="0" presId="urn:microsoft.com/office/officeart/2005/8/layout/orgChart1"/>
    <dgm:cxn modelId="{3BC0F6D1-51D4-4DA1-9AF1-870EB92075CC}" type="presParOf" srcId="{9D70C5FD-35F0-463A-A07A-BE42D1C6AC49}" destId="{09743E14-78AC-4BF6-9E33-0AE477E85904}" srcOrd="0" destOrd="0" presId="urn:microsoft.com/office/officeart/2005/8/layout/orgChart1"/>
    <dgm:cxn modelId="{C93E9507-9961-4357-B905-02D88C8711B0}" type="presParOf" srcId="{09743E14-78AC-4BF6-9E33-0AE477E85904}" destId="{78B41A26-2EB1-4E2B-884F-73A15160A423}" srcOrd="0" destOrd="0" presId="urn:microsoft.com/office/officeart/2005/8/layout/orgChart1"/>
    <dgm:cxn modelId="{311B2079-50A4-41DA-A1F5-861FCF09944F}" type="presParOf" srcId="{09743E14-78AC-4BF6-9E33-0AE477E85904}" destId="{5EA00EE2-897F-43C1-909F-854EB98F8088}" srcOrd="1" destOrd="0" presId="urn:microsoft.com/office/officeart/2005/8/layout/orgChart1"/>
    <dgm:cxn modelId="{B07A8F7B-33F7-4906-AA25-566FD4F9F91C}" type="presParOf" srcId="{9D70C5FD-35F0-463A-A07A-BE42D1C6AC49}" destId="{BD60064C-0B0E-4164-BA57-32932A09ACCD}" srcOrd="1" destOrd="0" presId="urn:microsoft.com/office/officeart/2005/8/layout/orgChart1"/>
    <dgm:cxn modelId="{4FE2540D-49D5-4A33-B4C2-3D785F72168D}" type="presParOf" srcId="{9D70C5FD-35F0-463A-A07A-BE42D1C6AC49}" destId="{A0CB5F8B-AA95-417A-B1F1-703059BA631B}" srcOrd="2" destOrd="0" presId="urn:microsoft.com/office/officeart/2005/8/layout/orgChart1"/>
    <dgm:cxn modelId="{2355F02C-D1A3-416F-9774-EC60F040CB89}" type="presParOf" srcId="{C33C7935-7273-4F7B-BE0C-3AF9BA94BE25}" destId="{DE08AF67-5004-4798-BAED-A4ABA979442B}" srcOrd="2" destOrd="0" presId="urn:microsoft.com/office/officeart/2005/8/layout/orgChart1"/>
    <dgm:cxn modelId="{6F068F55-9258-4BBC-975A-56B365924C1B}" type="presParOf" srcId="{F38C306E-80B9-4389-A53B-F4BACE4F9B88}" destId="{ABF11072-C779-4BA1-857D-852D30B701F9}"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5382090-D389-4E46-AA83-EE7C9A0AF2FB}" type="doc">
      <dgm:prSet loTypeId="urn:microsoft.com/office/officeart/2016/7/layout/RoundedRectangleTimeline" loCatId="timeline" qsTypeId="urn:microsoft.com/office/officeart/2005/8/quickstyle/simple1" qsCatId="simple" csTypeId="urn:microsoft.com/office/officeart/2005/8/colors/accent2_2" csCatId="accent2" phldr="1"/>
      <dgm:spPr/>
      <dgm:t>
        <a:bodyPr/>
        <a:lstStyle/>
        <a:p>
          <a:endParaRPr lang="en-US"/>
        </a:p>
      </dgm:t>
    </dgm:pt>
    <dgm:pt modelId="{6CAF2D26-65A5-4A39-A5AA-F1A1B24729A5}">
      <dgm:prSet phldrT="[Text]" phldr="0"/>
      <dgm:spPr/>
      <dgm:t>
        <a:bodyPr/>
        <a:lstStyle/>
        <a:p>
          <a:pPr rtl="0"/>
          <a:r>
            <a:rPr lang="en-US" b="1">
              <a:latin typeface="Trebuchet MS"/>
            </a:rPr>
            <a:t> Phase 1</a:t>
          </a:r>
          <a:endParaRPr lang="en-US" b="1"/>
        </a:p>
      </dgm:t>
    </dgm:pt>
    <dgm:pt modelId="{77EF17C5-C60C-47F0-A1F6-862A3422C0E6}" type="parTrans" cxnId="{72CCA59E-E059-40B8-9711-8167E4D1DAD1}">
      <dgm:prSet/>
      <dgm:spPr/>
      <dgm:t>
        <a:bodyPr/>
        <a:lstStyle/>
        <a:p>
          <a:endParaRPr lang="en-US"/>
        </a:p>
      </dgm:t>
    </dgm:pt>
    <dgm:pt modelId="{2F6BE94D-31C4-4553-8818-924A39FD9A82}" type="sibTrans" cxnId="{72CCA59E-E059-40B8-9711-8167E4D1DAD1}">
      <dgm:prSet/>
      <dgm:spPr/>
      <dgm:t>
        <a:bodyPr/>
        <a:lstStyle/>
        <a:p>
          <a:endParaRPr lang="en-US"/>
        </a:p>
      </dgm:t>
    </dgm:pt>
    <dgm:pt modelId="{681A2FAC-A0BC-448C-B2D6-82E51BA3EC78}">
      <dgm:prSet phldrT="[Text]" phldr="0"/>
      <dgm:spPr/>
      <dgm:t>
        <a:bodyPr/>
        <a:lstStyle/>
        <a:p>
          <a:pPr rtl="0"/>
          <a:r>
            <a:rPr lang="en-US" b="1">
              <a:solidFill>
                <a:srgbClr val="002060"/>
              </a:solidFill>
              <a:latin typeface="Trebuchet MS"/>
            </a:rPr>
            <a:t> </a:t>
          </a:r>
          <a:r>
            <a:rPr lang="en-US" b="1" err="1">
              <a:solidFill>
                <a:srgbClr val="002060"/>
              </a:solidFill>
              <a:latin typeface="Trebuchet MS"/>
            </a:rPr>
            <a:t>Optimise</a:t>
          </a:r>
          <a:r>
            <a:rPr lang="en-US" b="1">
              <a:solidFill>
                <a:srgbClr val="002060"/>
              </a:solidFill>
              <a:latin typeface="Trebuchet MS"/>
            </a:rPr>
            <a:t> Model</a:t>
          </a:r>
        </a:p>
      </dgm:t>
    </dgm:pt>
    <dgm:pt modelId="{A628D00B-98BC-4BC9-8FB5-12529E1DF6EF}" type="parTrans" cxnId="{326C6E83-979E-47CC-9F30-DDA4C229AF09}">
      <dgm:prSet/>
      <dgm:spPr/>
      <dgm:t>
        <a:bodyPr/>
        <a:lstStyle/>
        <a:p>
          <a:endParaRPr lang="en-US"/>
        </a:p>
      </dgm:t>
    </dgm:pt>
    <dgm:pt modelId="{9772FE4E-6691-41DF-BFEB-C7C7B9C6EFFC}" type="sibTrans" cxnId="{326C6E83-979E-47CC-9F30-DDA4C229AF09}">
      <dgm:prSet/>
      <dgm:spPr/>
      <dgm:t>
        <a:bodyPr/>
        <a:lstStyle/>
        <a:p>
          <a:endParaRPr lang="en-US"/>
        </a:p>
      </dgm:t>
    </dgm:pt>
    <dgm:pt modelId="{1A30F06B-2B91-4CB4-921D-32CFC7FE044F}">
      <dgm:prSet phldrT="[Text]" phldr="0"/>
      <dgm:spPr/>
      <dgm:t>
        <a:bodyPr/>
        <a:lstStyle/>
        <a:p>
          <a:pPr rtl="0"/>
          <a:r>
            <a:rPr lang="en-US" b="1">
              <a:solidFill>
                <a:srgbClr val="002060"/>
              </a:solidFill>
              <a:latin typeface="Trebuchet MS"/>
            </a:rPr>
            <a:t> </a:t>
          </a:r>
        </a:p>
      </dgm:t>
    </dgm:pt>
    <dgm:pt modelId="{D0CD4D41-D39D-497D-911E-8069DF13BF8C}" type="parTrans" cxnId="{E077E7D8-E2E1-4B94-877D-00897E4253D5}">
      <dgm:prSet/>
      <dgm:spPr/>
      <dgm:t>
        <a:bodyPr/>
        <a:lstStyle/>
        <a:p>
          <a:endParaRPr lang="en-US"/>
        </a:p>
      </dgm:t>
    </dgm:pt>
    <dgm:pt modelId="{7A7B68A2-5510-40A2-AEFF-075889BE7D4E}" type="sibTrans" cxnId="{E077E7D8-E2E1-4B94-877D-00897E4253D5}">
      <dgm:prSet/>
      <dgm:spPr/>
      <dgm:t>
        <a:bodyPr/>
        <a:lstStyle/>
        <a:p>
          <a:endParaRPr lang="en-US"/>
        </a:p>
      </dgm:t>
    </dgm:pt>
    <dgm:pt modelId="{060F5E40-7D03-4817-B71C-FFE833FB866F}">
      <dgm:prSet phldrT="[Text]" phldr="0"/>
      <dgm:spPr/>
      <dgm:t>
        <a:bodyPr/>
        <a:lstStyle/>
        <a:p>
          <a:pPr rtl="0"/>
          <a:r>
            <a:rPr lang="en-US" b="1">
              <a:latin typeface="Trebuchet MS"/>
            </a:rPr>
            <a:t> Phase 4</a:t>
          </a:r>
        </a:p>
      </dgm:t>
    </dgm:pt>
    <dgm:pt modelId="{4288AC75-7D76-4534-B942-6110B555D53B}" type="parTrans" cxnId="{8BEC2400-1C48-4FC5-8472-5D1F81CF4E64}">
      <dgm:prSet/>
      <dgm:spPr/>
      <dgm:t>
        <a:bodyPr/>
        <a:lstStyle/>
        <a:p>
          <a:endParaRPr lang="en-US"/>
        </a:p>
      </dgm:t>
    </dgm:pt>
    <dgm:pt modelId="{27127E36-E8BB-4FA3-B0BD-F9121DBC19D3}" type="sibTrans" cxnId="{8BEC2400-1C48-4FC5-8472-5D1F81CF4E64}">
      <dgm:prSet/>
      <dgm:spPr/>
      <dgm:t>
        <a:bodyPr/>
        <a:lstStyle/>
        <a:p>
          <a:endParaRPr lang="en-US"/>
        </a:p>
      </dgm:t>
    </dgm:pt>
    <dgm:pt modelId="{F331963B-CB43-4A18-966E-CE937B0C213C}">
      <dgm:prSet phldr="0"/>
      <dgm:spPr/>
      <dgm:t>
        <a:bodyPr/>
        <a:lstStyle/>
        <a:p>
          <a:pPr rtl="0"/>
          <a:r>
            <a:rPr lang="en-US" b="1">
              <a:solidFill>
                <a:srgbClr val="002060"/>
              </a:solidFill>
              <a:latin typeface="Trebuchet MS"/>
            </a:rPr>
            <a:t> </a:t>
          </a:r>
        </a:p>
      </dgm:t>
    </dgm:pt>
    <dgm:pt modelId="{4E7B60A9-431E-4E85-BDD5-BFD57329424C}" type="parTrans" cxnId="{0D393D20-419D-4C68-B108-C0804D3EEBA1}">
      <dgm:prSet/>
      <dgm:spPr/>
    </dgm:pt>
    <dgm:pt modelId="{74EC167D-0E74-4DEB-91EE-F14A9D5B99E0}" type="sibTrans" cxnId="{0D393D20-419D-4C68-B108-C0804D3EEBA1}">
      <dgm:prSet/>
      <dgm:spPr/>
    </dgm:pt>
    <dgm:pt modelId="{93EB4D4D-7041-46AF-BE9D-AA98A090F910}">
      <dgm:prSet phldr="0"/>
      <dgm:spPr/>
      <dgm:t>
        <a:bodyPr/>
        <a:lstStyle/>
        <a:p>
          <a:pPr rtl="0"/>
          <a:r>
            <a:rPr lang="en-US" b="1">
              <a:latin typeface="Trebuchet MS"/>
            </a:rPr>
            <a:t> Phase 3</a:t>
          </a:r>
        </a:p>
      </dgm:t>
    </dgm:pt>
    <dgm:pt modelId="{22CDD264-543C-4828-8E37-934D1D485100}" type="parTrans" cxnId="{8014FE13-2CB8-4675-9919-CA57F2FB51FA}">
      <dgm:prSet/>
      <dgm:spPr/>
    </dgm:pt>
    <dgm:pt modelId="{84643A88-91BA-48FF-9867-56210E59F180}" type="sibTrans" cxnId="{8014FE13-2CB8-4675-9919-CA57F2FB51FA}">
      <dgm:prSet/>
      <dgm:spPr/>
    </dgm:pt>
    <dgm:pt modelId="{B6DA5852-C50B-4453-BAA4-DB044A1E2C70}">
      <dgm:prSet phldr="0"/>
      <dgm:spPr/>
      <dgm:t>
        <a:bodyPr/>
        <a:lstStyle/>
        <a:p>
          <a:pPr rtl="0"/>
          <a:r>
            <a:rPr lang="en-US" b="1">
              <a:solidFill>
                <a:srgbClr val="002060"/>
              </a:solidFill>
              <a:latin typeface="Trebuchet MS"/>
            </a:rPr>
            <a:t> User Testing </a:t>
          </a:r>
        </a:p>
      </dgm:t>
    </dgm:pt>
    <dgm:pt modelId="{556FBDBA-79DA-49FF-9C12-3F64EBC8858F}" type="parTrans" cxnId="{90873505-74A8-4F4F-B5B2-C4E3EB6F3772}">
      <dgm:prSet/>
      <dgm:spPr/>
    </dgm:pt>
    <dgm:pt modelId="{85E3D758-5D2D-4C2A-9286-10E65AC691DA}" type="sibTrans" cxnId="{90873505-74A8-4F4F-B5B2-C4E3EB6F3772}">
      <dgm:prSet/>
      <dgm:spPr/>
    </dgm:pt>
    <dgm:pt modelId="{3CCC7BA8-F830-4282-8995-60282ED2AF84}">
      <dgm:prSet phldr="0"/>
      <dgm:spPr/>
      <dgm:t>
        <a:bodyPr/>
        <a:lstStyle/>
        <a:p>
          <a:r>
            <a:rPr lang="en-US" b="1">
              <a:latin typeface="Trebuchet MS"/>
            </a:rPr>
            <a:t> Phase 2</a:t>
          </a:r>
          <a:endParaRPr lang="en-US" b="1"/>
        </a:p>
      </dgm:t>
    </dgm:pt>
    <dgm:pt modelId="{D0F60D02-3B3F-483D-8BFE-F6B4FB9DD9B7}" type="parTrans" cxnId="{27E79371-0793-4C45-9D5A-004375496921}">
      <dgm:prSet/>
      <dgm:spPr/>
    </dgm:pt>
    <dgm:pt modelId="{B70366BE-52AC-4478-9006-5DAED037748E}" type="sibTrans" cxnId="{27E79371-0793-4C45-9D5A-004375496921}">
      <dgm:prSet/>
      <dgm:spPr/>
    </dgm:pt>
    <dgm:pt modelId="{E1437169-0413-4A39-A1BD-A2F8EBCF2471}">
      <dgm:prSet phldr="0"/>
      <dgm:spPr/>
      <dgm:t>
        <a:bodyPr/>
        <a:lstStyle/>
        <a:p>
          <a:r>
            <a:rPr lang="en-US" b="1">
              <a:solidFill>
                <a:srgbClr val="002060"/>
              </a:solidFill>
              <a:latin typeface="Trebuchet MS"/>
            </a:rPr>
            <a:t>Soft Launch</a:t>
          </a:r>
          <a:endParaRPr lang="en-US"/>
        </a:p>
      </dgm:t>
    </dgm:pt>
    <dgm:pt modelId="{FAF04500-CD33-4162-909B-567AF6C20552}" type="parTrans" cxnId="{83D5F926-237D-4FC4-97FB-D207A0D876E1}">
      <dgm:prSet/>
      <dgm:spPr/>
    </dgm:pt>
    <dgm:pt modelId="{5913FF5D-5F91-42FC-B6E7-389B5EC41193}" type="sibTrans" cxnId="{83D5F926-237D-4FC4-97FB-D207A0D876E1}">
      <dgm:prSet/>
      <dgm:spPr/>
    </dgm:pt>
    <dgm:pt modelId="{2936717F-79E2-4C4F-AE36-084D640CDA2C}">
      <dgm:prSet phldr="0"/>
      <dgm:spPr/>
      <dgm:t>
        <a:bodyPr/>
        <a:lstStyle/>
        <a:p>
          <a:pPr rtl="0"/>
          <a:endParaRPr lang="en-US" b="1">
            <a:latin typeface="Trebuchet MS"/>
          </a:endParaRPr>
        </a:p>
      </dgm:t>
    </dgm:pt>
    <dgm:pt modelId="{E59B387E-C2FB-4D8E-8BA4-76F7642EC196}" type="parTrans" cxnId="{5C048C4E-FEA3-42B1-B09B-C8E6075CB72A}">
      <dgm:prSet/>
      <dgm:spPr/>
    </dgm:pt>
    <dgm:pt modelId="{BD1378E1-30CC-453B-AA88-710273B63947}" type="sibTrans" cxnId="{5C048C4E-FEA3-42B1-B09B-C8E6075CB72A}">
      <dgm:prSet/>
      <dgm:spPr/>
    </dgm:pt>
    <dgm:pt modelId="{7802494C-8E12-4848-A73A-1C64BFB67CFD}">
      <dgm:prSet phldr="0"/>
      <dgm:spPr/>
      <dgm:t>
        <a:bodyPr/>
        <a:lstStyle/>
        <a:p>
          <a:endParaRPr lang="en-US" b="1">
            <a:latin typeface="Trebuchet MS"/>
          </a:endParaRPr>
        </a:p>
      </dgm:t>
    </dgm:pt>
    <dgm:pt modelId="{AD52B22B-3624-4CA9-B36F-462FCC31A5F5}" type="parTrans" cxnId="{88B41EEE-DB6E-4861-A77B-D6E0B9DF01DE}">
      <dgm:prSet/>
      <dgm:spPr/>
    </dgm:pt>
    <dgm:pt modelId="{3AC6DDBE-B2A0-45CB-8AA8-6F5DB7037668}" type="sibTrans" cxnId="{88B41EEE-DB6E-4861-A77B-D6E0B9DF01DE}">
      <dgm:prSet/>
      <dgm:spPr/>
    </dgm:pt>
    <dgm:pt modelId="{9484F170-A5CF-4170-AC86-D2454059C3F9}">
      <dgm:prSet phldr="0"/>
      <dgm:spPr/>
      <dgm:t>
        <a:bodyPr/>
        <a:lstStyle/>
        <a:p>
          <a:r>
            <a:rPr lang="en-US" b="1">
              <a:solidFill>
                <a:srgbClr val="002060"/>
              </a:solidFill>
              <a:latin typeface="Trebuchet MS"/>
            </a:rPr>
            <a:t>Build Prototype </a:t>
          </a:r>
          <a:endParaRPr lang="en-US"/>
        </a:p>
      </dgm:t>
    </dgm:pt>
    <dgm:pt modelId="{FCD2C8E2-B313-44EA-A2A5-91D46C530549}" type="parTrans" cxnId="{F0727C0B-ABE2-44F8-8511-3A054DCB2B48}">
      <dgm:prSet/>
      <dgm:spPr/>
    </dgm:pt>
    <dgm:pt modelId="{82E86EB0-6C52-4416-A0A2-6A5A9D45544B}" type="sibTrans" cxnId="{F0727C0B-ABE2-44F8-8511-3A054DCB2B48}">
      <dgm:prSet/>
      <dgm:spPr/>
    </dgm:pt>
    <dgm:pt modelId="{61CB4F07-D820-4684-A2E2-58493A83A1AB}" type="pres">
      <dgm:prSet presAssocID="{B5382090-D389-4E46-AA83-EE7C9A0AF2FB}" presName="Name0" presStyleCnt="0">
        <dgm:presLayoutVars>
          <dgm:chMax/>
          <dgm:chPref/>
          <dgm:animLvl val="lvl"/>
        </dgm:presLayoutVars>
      </dgm:prSet>
      <dgm:spPr/>
    </dgm:pt>
    <dgm:pt modelId="{9924B38D-E40F-48F3-BCDA-174D2F327F02}" type="pres">
      <dgm:prSet presAssocID="{6CAF2D26-65A5-4A39-A5AA-F1A1B24729A5}" presName="composite1" presStyleCnt="0"/>
      <dgm:spPr/>
    </dgm:pt>
    <dgm:pt modelId="{36279CEF-236B-43ED-907C-B557697BEC8D}" type="pres">
      <dgm:prSet presAssocID="{6CAF2D26-65A5-4A39-A5AA-F1A1B24729A5}" presName="parent1" presStyleLbl="alignNode1" presStyleIdx="0" presStyleCnt="4">
        <dgm:presLayoutVars>
          <dgm:chMax val="1"/>
          <dgm:chPref val="1"/>
          <dgm:bulletEnabled val="1"/>
        </dgm:presLayoutVars>
      </dgm:prSet>
      <dgm:spPr/>
    </dgm:pt>
    <dgm:pt modelId="{EDD5675C-83C4-4769-8648-4EF5BC6B613D}" type="pres">
      <dgm:prSet presAssocID="{6CAF2D26-65A5-4A39-A5AA-F1A1B24729A5}" presName="Childtext1" presStyleLbl="revTx" presStyleIdx="0" presStyleCnt="4">
        <dgm:presLayoutVars>
          <dgm:bulletEnabled val="1"/>
        </dgm:presLayoutVars>
      </dgm:prSet>
      <dgm:spPr/>
    </dgm:pt>
    <dgm:pt modelId="{61269B63-A20B-41B1-8A64-C7F49377B384}" type="pres">
      <dgm:prSet presAssocID="{6CAF2D26-65A5-4A39-A5AA-F1A1B24729A5}" presName="ConnectLine1" presStyleLbl="sibTrans1D1" presStyleIdx="0" presStyleCnt="4"/>
      <dgm:spPr>
        <a:noFill/>
        <a:ln w="9525" cap="flat" cmpd="sng" algn="ctr">
          <a:solidFill>
            <a:schemeClr val="accent2">
              <a:hueOff val="0"/>
              <a:satOff val="0"/>
              <a:lumOff val="0"/>
              <a:alphaOff val="0"/>
            </a:schemeClr>
          </a:solidFill>
          <a:prstDash val="dash"/>
        </a:ln>
        <a:effectLst/>
      </dgm:spPr>
    </dgm:pt>
    <dgm:pt modelId="{46FA7420-7536-4337-AFA6-1BBBB7AE3A4E}" type="pres">
      <dgm:prSet presAssocID="{6CAF2D26-65A5-4A39-A5AA-F1A1B24729A5}" presName="ConnectLineEnd1" presStyleLbl="lnNode1" presStyleIdx="0" presStyleCnt="4"/>
      <dgm:spPr/>
    </dgm:pt>
    <dgm:pt modelId="{6689BA8C-D7B8-458C-86A2-7D59BC92E2FF}" type="pres">
      <dgm:prSet presAssocID="{6CAF2D26-65A5-4A39-A5AA-F1A1B24729A5}" presName="EmptyPane1" presStyleCnt="0"/>
      <dgm:spPr/>
    </dgm:pt>
    <dgm:pt modelId="{E956CBB4-ECC1-4BE7-9ADF-863FE97529E6}" type="pres">
      <dgm:prSet presAssocID="{2F6BE94D-31C4-4553-8818-924A39FD9A82}" presName="spaceBetweenRectangles1" presStyleCnt="0"/>
      <dgm:spPr/>
    </dgm:pt>
    <dgm:pt modelId="{5156FF32-0822-43BC-A010-6F0EE06888EA}" type="pres">
      <dgm:prSet presAssocID="{3CCC7BA8-F830-4282-8995-60282ED2AF84}" presName="composite1" presStyleCnt="0"/>
      <dgm:spPr/>
    </dgm:pt>
    <dgm:pt modelId="{D0523C11-87BF-4677-B69F-65F76242AA47}" type="pres">
      <dgm:prSet presAssocID="{3CCC7BA8-F830-4282-8995-60282ED2AF84}" presName="parent1" presStyleLbl="alignNode1" presStyleIdx="1" presStyleCnt="4">
        <dgm:presLayoutVars>
          <dgm:chMax val="1"/>
          <dgm:chPref val="1"/>
          <dgm:bulletEnabled val="1"/>
        </dgm:presLayoutVars>
      </dgm:prSet>
      <dgm:spPr/>
    </dgm:pt>
    <dgm:pt modelId="{B7F91847-0032-447D-8816-FC686C440B19}" type="pres">
      <dgm:prSet presAssocID="{3CCC7BA8-F830-4282-8995-60282ED2AF84}" presName="Childtext1" presStyleLbl="revTx" presStyleIdx="1" presStyleCnt="4">
        <dgm:presLayoutVars>
          <dgm:bulletEnabled val="1"/>
        </dgm:presLayoutVars>
      </dgm:prSet>
      <dgm:spPr/>
    </dgm:pt>
    <dgm:pt modelId="{6E49F180-E2B2-4820-A02B-E6CBCD4B03C9}" type="pres">
      <dgm:prSet presAssocID="{3CCC7BA8-F830-4282-8995-60282ED2AF84}" presName="ConnectLine1" presStyleLbl="sibTrans1D1" presStyleIdx="1" presStyleCnt="4"/>
      <dgm:spPr>
        <a:noFill/>
        <a:ln w="9525" cap="flat" cmpd="sng" algn="ctr">
          <a:solidFill>
            <a:schemeClr val="accent2">
              <a:hueOff val="0"/>
              <a:satOff val="0"/>
              <a:lumOff val="0"/>
              <a:alphaOff val="0"/>
            </a:schemeClr>
          </a:solidFill>
          <a:prstDash val="dash"/>
        </a:ln>
        <a:effectLst/>
      </dgm:spPr>
    </dgm:pt>
    <dgm:pt modelId="{C716EC80-6C9F-442F-AC00-4867FF001B7F}" type="pres">
      <dgm:prSet presAssocID="{3CCC7BA8-F830-4282-8995-60282ED2AF84}" presName="ConnectLineEnd1" presStyleLbl="lnNode1" presStyleIdx="1" presStyleCnt="4"/>
      <dgm:spPr/>
    </dgm:pt>
    <dgm:pt modelId="{2A3CBE89-E359-471B-8BF5-884D79AA0CBB}" type="pres">
      <dgm:prSet presAssocID="{3CCC7BA8-F830-4282-8995-60282ED2AF84}" presName="EmptyPane1" presStyleCnt="0"/>
      <dgm:spPr/>
    </dgm:pt>
    <dgm:pt modelId="{B9DF08E9-0A04-4E56-90D5-7576554DE34A}" type="pres">
      <dgm:prSet presAssocID="{B70366BE-52AC-4478-9006-5DAED037748E}" presName="spaceBetweenRectangles1" presStyleCnt="0"/>
      <dgm:spPr/>
    </dgm:pt>
    <dgm:pt modelId="{633EF82F-023A-4D47-BE04-2B9B131CC340}" type="pres">
      <dgm:prSet presAssocID="{93EB4D4D-7041-46AF-BE9D-AA98A090F910}" presName="composite1" presStyleCnt="0"/>
      <dgm:spPr/>
    </dgm:pt>
    <dgm:pt modelId="{348918C2-BB52-40BD-A734-17B37F1C393A}" type="pres">
      <dgm:prSet presAssocID="{93EB4D4D-7041-46AF-BE9D-AA98A090F910}" presName="parent1" presStyleLbl="alignNode1" presStyleIdx="2" presStyleCnt="4">
        <dgm:presLayoutVars>
          <dgm:chMax val="1"/>
          <dgm:chPref val="1"/>
          <dgm:bulletEnabled val="1"/>
        </dgm:presLayoutVars>
      </dgm:prSet>
      <dgm:spPr/>
    </dgm:pt>
    <dgm:pt modelId="{E2E51C52-4030-4BEA-9AB5-ACD8C111DBF2}" type="pres">
      <dgm:prSet presAssocID="{93EB4D4D-7041-46AF-BE9D-AA98A090F910}" presName="Childtext1" presStyleLbl="revTx" presStyleIdx="2" presStyleCnt="4">
        <dgm:presLayoutVars>
          <dgm:bulletEnabled val="1"/>
        </dgm:presLayoutVars>
      </dgm:prSet>
      <dgm:spPr/>
    </dgm:pt>
    <dgm:pt modelId="{049B9701-D383-4FF8-B0F8-7AF825779BE5}" type="pres">
      <dgm:prSet presAssocID="{93EB4D4D-7041-46AF-BE9D-AA98A090F910}" presName="ConnectLine1" presStyleLbl="sibTrans1D1" presStyleIdx="2" presStyleCnt="4"/>
      <dgm:spPr>
        <a:noFill/>
        <a:ln w="9525" cap="flat" cmpd="sng" algn="ctr">
          <a:solidFill>
            <a:schemeClr val="accent2">
              <a:hueOff val="0"/>
              <a:satOff val="0"/>
              <a:lumOff val="0"/>
              <a:alphaOff val="0"/>
            </a:schemeClr>
          </a:solidFill>
          <a:prstDash val="dash"/>
        </a:ln>
        <a:effectLst/>
      </dgm:spPr>
    </dgm:pt>
    <dgm:pt modelId="{6A52CAC0-17AA-4870-BDAB-09AA7F96891F}" type="pres">
      <dgm:prSet presAssocID="{93EB4D4D-7041-46AF-BE9D-AA98A090F910}" presName="ConnectLineEnd1" presStyleLbl="lnNode1" presStyleIdx="2" presStyleCnt="4"/>
      <dgm:spPr/>
    </dgm:pt>
    <dgm:pt modelId="{7F5AB221-F6E4-45F1-9CBA-C03B34A248D2}" type="pres">
      <dgm:prSet presAssocID="{93EB4D4D-7041-46AF-BE9D-AA98A090F910}" presName="EmptyPane1" presStyleCnt="0"/>
      <dgm:spPr/>
    </dgm:pt>
    <dgm:pt modelId="{D963124F-F32E-4555-9E3D-0673E6E466AB}" type="pres">
      <dgm:prSet presAssocID="{84643A88-91BA-48FF-9867-56210E59F180}" presName="spaceBetweenRectangles1" presStyleCnt="0"/>
      <dgm:spPr/>
    </dgm:pt>
    <dgm:pt modelId="{4B8EEDB4-D5E2-4C7E-95DF-B260B601FB25}" type="pres">
      <dgm:prSet presAssocID="{060F5E40-7D03-4817-B71C-FFE833FB866F}" presName="composite1" presStyleCnt="0"/>
      <dgm:spPr/>
    </dgm:pt>
    <dgm:pt modelId="{9D99924B-5D39-4239-A7F6-F5D8A5F6457F}" type="pres">
      <dgm:prSet presAssocID="{060F5E40-7D03-4817-B71C-FFE833FB866F}" presName="parent1" presStyleLbl="alignNode1" presStyleIdx="3" presStyleCnt="4">
        <dgm:presLayoutVars>
          <dgm:chMax val="1"/>
          <dgm:chPref val="1"/>
          <dgm:bulletEnabled val="1"/>
        </dgm:presLayoutVars>
      </dgm:prSet>
      <dgm:spPr/>
    </dgm:pt>
    <dgm:pt modelId="{74FC39F0-273F-4F12-A0BF-9D5588A311CD}" type="pres">
      <dgm:prSet presAssocID="{060F5E40-7D03-4817-B71C-FFE833FB866F}" presName="Childtext1" presStyleLbl="revTx" presStyleIdx="3" presStyleCnt="4">
        <dgm:presLayoutVars>
          <dgm:bulletEnabled val="1"/>
        </dgm:presLayoutVars>
      </dgm:prSet>
      <dgm:spPr/>
    </dgm:pt>
    <dgm:pt modelId="{705F2AA3-A4D0-4881-945F-53836ECC800C}" type="pres">
      <dgm:prSet presAssocID="{060F5E40-7D03-4817-B71C-FFE833FB866F}" presName="ConnectLine1" presStyleLbl="sibTrans1D1" presStyleIdx="3" presStyleCnt="4"/>
      <dgm:spPr>
        <a:noFill/>
        <a:ln w="9525" cap="flat" cmpd="sng" algn="ctr">
          <a:solidFill>
            <a:schemeClr val="accent2">
              <a:hueOff val="0"/>
              <a:satOff val="0"/>
              <a:lumOff val="0"/>
              <a:alphaOff val="0"/>
            </a:schemeClr>
          </a:solidFill>
          <a:prstDash val="dash"/>
        </a:ln>
        <a:effectLst/>
      </dgm:spPr>
    </dgm:pt>
    <dgm:pt modelId="{0655CDBD-B15C-4A31-9867-C51888509025}" type="pres">
      <dgm:prSet presAssocID="{060F5E40-7D03-4817-B71C-FFE833FB866F}" presName="ConnectLineEnd1" presStyleLbl="lnNode1" presStyleIdx="3" presStyleCnt="4"/>
      <dgm:spPr/>
    </dgm:pt>
    <dgm:pt modelId="{339183E8-BCAA-4D5C-9AD4-2D229A96AB76}" type="pres">
      <dgm:prSet presAssocID="{060F5E40-7D03-4817-B71C-FFE833FB866F}" presName="EmptyPane1" presStyleCnt="0"/>
      <dgm:spPr/>
    </dgm:pt>
  </dgm:ptLst>
  <dgm:cxnLst>
    <dgm:cxn modelId="{8BEC2400-1C48-4FC5-8472-5D1F81CF4E64}" srcId="{B5382090-D389-4E46-AA83-EE7C9A0AF2FB}" destId="{060F5E40-7D03-4817-B71C-FFE833FB866F}" srcOrd="3" destOrd="0" parTransId="{4288AC75-7D76-4534-B942-6110B555D53B}" sibTransId="{27127E36-E8BB-4FA3-B0BD-F9121DBC19D3}"/>
    <dgm:cxn modelId="{90873505-74A8-4F4F-B5B2-C4E3EB6F3772}" srcId="{93EB4D4D-7041-46AF-BE9D-AA98A090F910}" destId="{B6DA5852-C50B-4453-BAA4-DB044A1E2C70}" srcOrd="0" destOrd="0" parTransId="{556FBDBA-79DA-49FF-9C12-3F64EBC8858F}" sibTransId="{85E3D758-5D2D-4C2A-9286-10E65AC691DA}"/>
    <dgm:cxn modelId="{F0727C0B-ABE2-44F8-8511-3A054DCB2B48}" srcId="{3CCC7BA8-F830-4282-8995-60282ED2AF84}" destId="{9484F170-A5CF-4170-AC86-D2454059C3F9}" srcOrd="2" destOrd="0" parTransId="{FCD2C8E2-B313-44EA-A2A5-91D46C530549}" sibTransId="{82E86EB0-6C52-4416-A0A2-6A5A9D45544B}"/>
    <dgm:cxn modelId="{8014FE13-2CB8-4675-9919-CA57F2FB51FA}" srcId="{B5382090-D389-4E46-AA83-EE7C9A0AF2FB}" destId="{93EB4D4D-7041-46AF-BE9D-AA98A090F910}" srcOrd="2" destOrd="0" parTransId="{22CDD264-543C-4828-8E37-934D1D485100}" sibTransId="{84643A88-91BA-48FF-9867-56210E59F180}"/>
    <dgm:cxn modelId="{0D393D20-419D-4C68-B108-C0804D3EEBA1}" srcId="{060F5E40-7D03-4817-B71C-FFE833FB866F}" destId="{F331963B-CB43-4A18-966E-CE937B0C213C}" srcOrd="0" destOrd="0" parTransId="{4E7B60A9-431E-4E85-BDD5-BFD57329424C}" sibTransId="{74EC167D-0E74-4DEB-91EE-F14A9D5B99E0}"/>
    <dgm:cxn modelId="{83D5F926-237D-4FC4-97FB-D207A0D876E1}" srcId="{060F5E40-7D03-4817-B71C-FFE833FB866F}" destId="{E1437169-0413-4A39-A1BD-A2F8EBCF2471}" srcOrd="2" destOrd="0" parTransId="{FAF04500-CD33-4162-909B-567AF6C20552}" sibTransId="{5913FF5D-5F91-42FC-B6E7-389B5EC41193}"/>
    <dgm:cxn modelId="{590DBB32-89D6-4831-9AF0-A9EDF1695718}" type="presOf" srcId="{060F5E40-7D03-4817-B71C-FFE833FB866F}" destId="{9D99924B-5D39-4239-A7F6-F5D8A5F6457F}" srcOrd="0" destOrd="0" presId="urn:microsoft.com/office/officeart/2016/7/layout/RoundedRectangleTimeline"/>
    <dgm:cxn modelId="{73117967-0058-4205-8E0C-6BDB5E37FEC9}" type="presOf" srcId="{681A2FAC-A0BC-448C-B2D6-82E51BA3EC78}" destId="{EDD5675C-83C4-4769-8648-4EF5BC6B613D}" srcOrd="0" destOrd="0" presId="urn:microsoft.com/office/officeart/2016/7/layout/RoundedRectangleTimeline"/>
    <dgm:cxn modelId="{D5E2544E-821B-4D34-997E-9BC48C99E18D}" type="presOf" srcId="{93EB4D4D-7041-46AF-BE9D-AA98A090F910}" destId="{348918C2-BB52-40BD-A734-17B37F1C393A}" srcOrd="0" destOrd="0" presId="urn:microsoft.com/office/officeart/2016/7/layout/RoundedRectangleTimeline"/>
    <dgm:cxn modelId="{5C048C4E-FEA3-42B1-B09B-C8E6075CB72A}" srcId="{060F5E40-7D03-4817-B71C-FFE833FB866F}" destId="{2936717F-79E2-4C4F-AE36-084D640CDA2C}" srcOrd="1" destOrd="0" parTransId="{E59B387E-C2FB-4D8E-8BA4-76F7642EC196}" sibTransId="{BD1378E1-30CC-453B-AA88-710273B63947}"/>
    <dgm:cxn modelId="{27E79371-0793-4C45-9D5A-004375496921}" srcId="{B5382090-D389-4E46-AA83-EE7C9A0AF2FB}" destId="{3CCC7BA8-F830-4282-8995-60282ED2AF84}" srcOrd="1" destOrd="0" parTransId="{D0F60D02-3B3F-483D-8BFE-F6B4FB9DD9B7}" sibTransId="{B70366BE-52AC-4478-9006-5DAED037748E}"/>
    <dgm:cxn modelId="{C161BD51-4F54-4BB7-8012-FED0ACAFE935}" type="presOf" srcId="{1A30F06B-2B91-4CB4-921D-32CFC7FE044F}" destId="{B7F91847-0032-447D-8816-FC686C440B19}" srcOrd="0" destOrd="0" presId="urn:microsoft.com/office/officeart/2016/7/layout/RoundedRectangleTimeline"/>
    <dgm:cxn modelId="{56CAF471-32BC-499E-91F1-897106397D72}" type="presOf" srcId="{3CCC7BA8-F830-4282-8995-60282ED2AF84}" destId="{D0523C11-87BF-4677-B69F-65F76242AA47}" srcOrd="0" destOrd="0" presId="urn:microsoft.com/office/officeart/2016/7/layout/RoundedRectangleTimeline"/>
    <dgm:cxn modelId="{7E510E52-0FAB-4EC9-8DA0-8179FAD0A889}" type="presOf" srcId="{E1437169-0413-4A39-A1BD-A2F8EBCF2471}" destId="{74FC39F0-273F-4F12-A0BF-9D5588A311CD}" srcOrd="0" destOrd="2" presId="urn:microsoft.com/office/officeart/2016/7/layout/RoundedRectangleTimeline"/>
    <dgm:cxn modelId="{DFC52C72-E154-47E8-8DF6-35B5D9D22BDA}" type="presOf" srcId="{2936717F-79E2-4C4F-AE36-084D640CDA2C}" destId="{74FC39F0-273F-4F12-A0BF-9D5588A311CD}" srcOrd="0" destOrd="1" presId="urn:microsoft.com/office/officeart/2016/7/layout/RoundedRectangleTimeline"/>
    <dgm:cxn modelId="{326C6E83-979E-47CC-9F30-DDA4C229AF09}" srcId="{6CAF2D26-65A5-4A39-A5AA-F1A1B24729A5}" destId="{681A2FAC-A0BC-448C-B2D6-82E51BA3EC78}" srcOrd="0" destOrd="0" parTransId="{A628D00B-98BC-4BC9-8FB5-12529E1DF6EF}" sibTransId="{9772FE4E-6691-41DF-BFEB-C7C7B9C6EFFC}"/>
    <dgm:cxn modelId="{5189489D-37BB-4733-8238-72D671FEDBA0}" type="presOf" srcId="{6CAF2D26-65A5-4A39-A5AA-F1A1B24729A5}" destId="{36279CEF-236B-43ED-907C-B557697BEC8D}" srcOrd="0" destOrd="0" presId="urn:microsoft.com/office/officeart/2016/7/layout/RoundedRectangleTimeline"/>
    <dgm:cxn modelId="{72CCA59E-E059-40B8-9711-8167E4D1DAD1}" srcId="{B5382090-D389-4E46-AA83-EE7C9A0AF2FB}" destId="{6CAF2D26-65A5-4A39-A5AA-F1A1B24729A5}" srcOrd="0" destOrd="0" parTransId="{77EF17C5-C60C-47F0-A1F6-862A3422C0E6}" sibTransId="{2F6BE94D-31C4-4553-8818-924A39FD9A82}"/>
    <dgm:cxn modelId="{AC590DAB-3037-4D66-A538-F586D40DE9C1}" type="presOf" srcId="{7802494C-8E12-4848-A73A-1C64BFB67CFD}" destId="{B7F91847-0032-447D-8816-FC686C440B19}" srcOrd="0" destOrd="1" presId="urn:microsoft.com/office/officeart/2016/7/layout/RoundedRectangleTimeline"/>
    <dgm:cxn modelId="{017348AB-4739-453C-8AA4-59B8078C85A7}" type="presOf" srcId="{B6DA5852-C50B-4453-BAA4-DB044A1E2C70}" destId="{E2E51C52-4030-4BEA-9AB5-ACD8C111DBF2}" srcOrd="0" destOrd="0" presId="urn:microsoft.com/office/officeart/2016/7/layout/RoundedRectangleTimeline"/>
    <dgm:cxn modelId="{36507DB8-BD02-48DB-9FF7-900D4F0E8D27}" type="presOf" srcId="{9484F170-A5CF-4170-AC86-D2454059C3F9}" destId="{B7F91847-0032-447D-8816-FC686C440B19}" srcOrd="0" destOrd="2" presId="urn:microsoft.com/office/officeart/2016/7/layout/RoundedRectangleTimeline"/>
    <dgm:cxn modelId="{E077E7D8-E2E1-4B94-877D-00897E4253D5}" srcId="{3CCC7BA8-F830-4282-8995-60282ED2AF84}" destId="{1A30F06B-2B91-4CB4-921D-32CFC7FE044F}" srcOrd="0" destOrd="0" parTransId="{D0CD4D41-D39D-497D-911E-8069DF13BF8C}" sibTransId="{7A7B68A2-5510-40A2-AEFF-075889BE7D4E}"/>
    <dgm:cxn modelId="{88B41EEE-DB6E-4861-A77B-D6E0B9DF01DE}" srcId="{3CCC7BA8-F830-4282-8995-60282ED2AF84}" destId="{7802494C-8E12-4848-A73A-1C64BFB67CFD}" srcOrd="1" destOrd="0" parTransId="{AD52B22B-3624-4CA9-B36F-462FCC31A5F5}" sibTransId="{3AC6DDBE-B2A0-45CB-8AA8-6F5DB7037668}"/>
    <dgm:cxn modelId="{ACF4ECFC-41E6-4043-AE31-907AF5811A4B}" type="presOf" srcId="{F331963B-CB43-4A18-966E-CE937B0C213C}" destId="{74FC39F0-273F-4F12-A0BF-9D5588A311CD}" srcOrd="0" destOrd="0" presId="urn:microsoft.com/office/officeart/2016/7/layout/RoundedRectangleTimeline"/>
    <dgm:cxn modelId="{DF0FE6FE-E918-4DCB-9907-94E2EB33EDBE}" type="presOf" srcId="{B5382090-D389-4E46-AA83-EE7C9A0AF2FB}" destId="{61CB4F07-D820-4684-A2E2-58493A83A1AB}" srcOrd="0" destOrd="0" presId="urn:microsoft.com/office/officeart/2016/7/layout/RoundedRectangleTimeline"/>
    <dgm:cxn modelId="{B4BBBA13-6830-49E3-8CA1-A9BD4452BCF6}" type="presParOf" srcId="{61CB4F07-D820-4684-A2E2-58493A83A1AB}" destId="{9924B38D-E40F-48F3-BCDA-174D2F327F02}" srcOrd="0" destOrd="0" presId="urn:microsoft.com/office/officeart/2016/7/layout/RoundedRectangleTimeline"/>
    <dgm:cxn modelId="{FBA46E5D-451B-4F6B-993C-801D8F3D8411}" type="presParOf" srcId="{9924B38D-E40F-48F3-BCDA-174D2F327F02}" destId="{36279CEF-236B-43ED-907C-B557697BEC8D}" srcOrd="0" destOrd="0" presId="urn:microsoft.com/office/officeart/2016/7/layout/RoundedRectangleTimeline"/>
    <dgm:cxn modelId="{1A514B7D-6090-4A32-B441-244D3CCD1ED2}" type="presParOf" srcId="{9924B38D-E40F-48F3-BCDA-174D2F327F02}" destId="{EDD5675C-83C4-4769-8648-4EF5BC6B613D}" srcOrd="1" destOrd="0" presId="urn:microsoft.com/office/officeart/2016/7/layout/RoundedRectangleTimeline"/>
    <dgm:cxn modelId="{7EF17C94-347F-4725-A03F-AF82364FE9B7}" type="presParOf" srcId="{9924B38D-E40F-48F3-BCDA-174D2F327F02}" destId="{61269B63-A20B-41B1-8A64-C7F49377B384}" srcOrd="2" destOrd="0" presId="urn:microsoft.com/office/officeart/2016/7/layout/RoundedRectangleTimeline"/>
    <dgm:cxn modelId="{F60092FD-2240-46C0-9EBA-7F1201BE755E}" type="presParOf" srcId="{9924B38D-E40F-48F3-BCDA-174D2F327F02}" destId="{46FA7420-7536-4337-AFA6-1BBBB7AE3A4E}" srcOrd="3" destOrd="0" presId="urn:microsoft.com/office/officeart/2016/7/layout/RoundedRectangleTimeline"/>
    <dgm:cxn modelId="{2794BF5F-1E9F-4C8C-BACB-9ECF61B68A2B}" type="presParOf" srcId="{9924B38D-E40F-48F3-BCDA-174D2F327F02}" destId="{6689BA8C-D7B8-458C-86A2-7D59BC92E2FF}" srcOrd="4" destOrd="0" presId="urn:microsoft.com/office/officeart/2016/7/layout/RoundedRectangleTimeline"/>
    <dgm:cxn modelId="{CD9BC18F-B624-4976-9C77-1C90CB5BD428}" type="presParOf" srcId="{61CB4F07-D820-4684-A2E2-58493A83A1AB}" destId="{E956CBB4-ECC1-4BE7-9ADF-863FE97529E6}" srcOrd="1" destOrd="0" presId="urn:microsoft.com/office/officeart/2016/7/layout/RoundedRectangleTimeline"/>
    <dgm:cxn modelId="{31B0268E-7E29-438D-9A09-D8A32C46C7C7}" type="presParOf" srcId="{61CB4F07-D820-4684-A2E2-58493A83A1AB}" destId="{5156FF32-0822-43BC-A010-6F0EE06888EA}" srcOrd="2" destOrd="0" presId="urn:microsoft.com/office/officeart/2016/7/layout/RoundedRectangleTimeline"/>
    <dgm:cxn modelId="{C1B68EBC-91CE-4E67-B9F6-47CAC341D073}" type="presParOf" srcId="{5156FF32-0822-43BC-A010-6F0EE06888EA}" destId="{D0523C11-87BF-4677-B69F-65F76242AA47}" srcOrd="0" destOrd="0" presId="urn:microsoft.com/office/officeart/2016/7/layout/RoundedRectangleTimeline"/>
    <dgm:cxn modelId="{B33E1EEE-9262-4195-852C-1F7EB8798546}" type="presParOf" srcId="{5156FF32-0822-43BC-A010-6F0EE06888EA}" destId="{B7F91847-0032-447D-8816-FC686C440B19}" srcOrd="1" destOrd="0" presId="urn:microsoft.com/office/officeart/2016/7/layout/RoundedRectangleTimeline"/>
    <dgm:cxn modelId="{B30ACD14-E6D5-4689-B1B1-0A4EA6D240D3}" type="presParOf" srcId="{5156FF32-0822-43BC-A010-6F0EE06888EA}" destId="{6E49F180-E2B2-4820-A02B-E6CBCD4B03C9}" srcOrd="2" destOrd="0" presId="urn:microsoft.com/office/officeart/2016/7/layout/RoundedRectangleTimeline"/>
    <dgm:cxn modelId="{0DE77204-A97A-468D-A8E8-4E973EA806F9}" type="presParOf" srcId="{5156FF32-0822-43BC-A010-6F0EE06888EA}" destId="{C716EC80-6C9F-442F-AC00-4867FF001B7F}" srcOrd="3" destOrd="0" presId="urn:microsoft.com/office/officeart/2016/7/layout/RoundedRectangleTimeline"/>
    <dgm:cxn modelId="{43577553-DEF1-4A74-A00B-3B44638146A2}" type="presParOf" srcId="{5156FF32-0822-43BC-A010-6F0EE06888EA}" destId="{2A3CBE89-E359-471B-8BF5-884D79AA0CBB}" srcOrd="4" destOrd="0" presId="urn:microsoft.com/office/officeart/2016/7/layout/RoundedRectangleTimeline"/>
    <dgm:cxn modelId="{8925C975-393A-4338-A359-3562DED86FE0}" type="presParOf" srcId="{61CB4F07-D820-4684-A2E2-58493A83A1AB}" destId="{B9DF08E9-0A04-4E56-90D5-7576554DE34A}" srcOrd="3" destOrd="0" presId="urn:microsoft.com/office/officeart/2016/7/layout/RoundedRectangleTimeline"/>
    <dgm:cxn modelId="{DD7F21FA-B697-4202-89C6-38FC015D9165}" type="presParOf" srcId="{61CB4F07-D820-4684-A2E2-58493A83A1AB}" destId="{633EF82F-023A-4D47-BE04-2B9B131CC340}" srcOrd="4" destOrd="0" presId="urn:microsoft.com/office/officeart/2016/7/layout/RoundedRectangleTimeline"/>
    <dgm:cxn modelId="{3711813F-F95B-4345-998A-3CD4EE6157B7}" type="presParOf" srcId="{633EF82F-023A-4D47-BE04-2B9B131CC340}" destId="{348918C2-BB52-40BD-A734-17B37F1C393A}" srcOrd="0" destOrd="0" presId="urn:microsoft.com/office/officeart/2016/7/layout/RoundedRectangleTimeline"/>
    <dgm:cxn modelId="{14E535D0-D938-4BA5-A49D-B6AFF4ED4F98}" type="presParOf" srcId="{633EF82F-023A-4D47-BE04-2B9B131CC340}" destId="{E2E51C52-4030-4BEA-9AB5-ACD8C111DBF2}" srcOrd="1" destOrd="0" presId="urn:microsoft.com/office/officeart/2016/7/layout/RoundedRectangleTimeline"/>
    <dgm:cxn modelId="{62B50B84-3291-48C5-AFEF-6ADFB0F2D3AE}" type="presParOf" srcId="{633EF82F-023A-4D47-BE04-2B9B131CC340}" destId="{049B9701-D383-4FF8-B0F8-7AF825779BE5}" srcOrd="2" destOrd="0" presId="urn:microsoft.com/office/officeart/2016/7/layout/RoundedRectangleTimeline"/>
    <dgm:cxn modelId="{46942AD7-FE71-440B-BADF-0B9D76E4E56F}" type="presParOf" srcId="{633EF82F-023A-4D47-BE04-2B9B131CC340}" destId="{6A52CAC0-17AA-4870-BDAB-09AA7F96891F}" srcOrd="3" destOrd="0" presId="urn:microsoft.com/office/officeart/2016/7/layout/RoundedRectangleTimeline"/>
    <dgm:cxn modelId="{C352753C-B23D-4ED1-A067-353F45A7EAFD}" type="presParOf" srcId="{633EF82F-023A-4D47-BE04-2B9B131CC340}" destId="{7F5AB221-F6E4-45F1-9CBA-C03B34A248D2}" srcOrd="4" destOrd="0" presId="urn:microsoft.com/office/officeart/2016/7/layout/RoundedRectangleTimeline"/>
    <dgm:cxn modelId="{9335C17E-F73A-4276-BB78-5E515DA93E55}" type="presParOf" srcId="{61CB4F07-D820-4684-A2E2-58493A83A1AB}" destId="{D963124F-F32E-4555-9E3D-0673E6E466AB}" srcOrd="5" destOrd="0" presId="urn:microsoft.com/office/officeart/2016/7/layout/RoundedRectangleTimeline"/>
    <dgm:cxn modelId="{06DA7642-EB8E-4B8D-90E8-9590BB397B02}" type="presParOf" srcId="{61CB4F07-D820-4684-A2E2-58493A83A1AB}" destId="{4B8EEDB4-D5E2-4C7E-95DF-B260B601FB25}" srcOrd="6" destOrd="0" presId="urn:microsoft.com/office/officeart/2016/7/layout/RoundedRectangleTimeline"/>
    <dgm:cxn modelId="{C6F32EF5-B464-4DA8-AAD5-17536077DBFE}" type="presParOf" srcId="{4B8EEDB4-D5E2-4C7E-95DF-B260B601FB25}" destId="{9D99924B-5D39-4239-A7F6-F5D8A5F6457F}" srcOrd="0" destOrd="0" presId="urn:microsoft.com/office/officeart/2016/7/layout/RoundedRectangleTimeline"/>
    <dgm:cxn modelId="{583C64C2-909A-4120-BF1D-4F9B9AC0B065}" type="presParOf" srcId="{4B8EEDB4-D5E2-4C7E-95DF-B260B601FB25}" destId="{74FC39F0-273F-4F12-A0BF-9D5588A311CD}" srcOrd="1" destOrd="0" presId="urn:microsoft.com/office/officeart/2016/7/layout/RoundedRectangleTimeline"/>
    <dgm:cxn modelId="{4D16F0EE-BC4D-4A60-8A39-F179148518A8}" type="presParOf" srcId="{4B8EEDB4-D5E2-4C7E-95DF-B260B601FB25}" destId="{705F2AA3-A4D0-4881-945F-53836ECC800C}" srcOrd="2" destOrd="0" presId="urn:microsoft.com/office/officeart/2016/7/layout/RoundedRectangleTimeline"/>
    <dgm:cxn modelId="{30E11D06-1254-45B8-873D-AE44779EF22E}" type="presParOf" srcId="{4B8EEDB4-D5E2-4C7E-95DF-B260B601FB25}" destId="{0655CDBD-B15C-4A31-9867-C51888509025}" srcOrd="3" destOrd="0" presId="urn:microsoft.com/office/officeart/2016/7/layout/RoundedRectangleTimeline"/>
    <dgm:cxn modelId="{748F3363-CBFE-414E-9299-25D590ADDE1E}" type="presParOf" srcId="{4B8EEDB4-D5E2-4C7E-95DF-B260B601FB25}" destId="{339183E8-BCAA-4D5C-9AD4-2D229A96AB76}"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D18F89-A724-4748-8AE6-AAFD1C5AE2A5}">
      <dsp:nvSpPr>
        <dsp:cNvPr id="0" name=""/>
        <dsp:cNvSpPr/>
      </dsp:nvSpPr>
      <dsp:spPr>
        <a:xfrm>
          <a:off x="7190846" y="1548186"/>
          <a:ext cx="772854" cy="268263"/>
        </a:xfrm>
        <a:custGeom>
          <a:avLst/>
          <a:gdLst/>
          <a:ahLst/>
          <a:cxnLst/>
          <a:rect l="0" t="0" r="0" b="0"/>
          <a:pathLst>
            <a:path>
              <a:moveTo>
                <a:pt x="0" y="0"/>
              </a:moveTo>
              <a:lnTo>
                <a:pt x="0" y="134131"/>
              </a:lnTo>
              <a:lnTo>
                <a:pt x="772854" y="134131"/>
              </a:lnTo>
              <a:lnTo>
                <a:pt x="772854" y="268263"/>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8DBE16A-0ACA-4FF8-9463-FDF240942B51}">
      <dsp:nvSpPr>
        <dsp:cNvPr id="0" name=""/>
        <dsp:cNvSpPr/>
      </dsp:nvSpPr>
      <dsp:spPr>
        <a:xfrm>
          <a:off x="5907013" y="2455173"/>
          <a:ext cx="191616" cy="1494611"/>
        </a:xfrm>
        <a:custGeom>
          <a:avLst/>
          <a:gdLst/>
          <a:ahLst/>
          <a:cxnLst/>
          <a:rect l="0" t="0" r="0" b="0"/>
          <a:pathLst>
            <a:path>
              <a:moveTo>
                <a:pt x="0" y="0"/>
              </a:moveTo>
              <a:lnTo>
                <a:pt x="0" y="1494611"/>
              </a:lnTo>
              <a:lnTo>
                <a:pt x="191616" y="1494611"/>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8382E3D-F7B7-41A6-AE23-F8106B8EA9B5}">
      <dsp:nvSpPr>
        <dsp:cNvPr id="0" name=""/>
        <dsp:cNvSpPr/>
      </dsp:nvSpPr>
      <dsp:spPr>
        <a:xfrm>
          <a:off x="5907013" y="2455173"/>
          <a:ext cx="191616" cy="587624"/>
        </a:xfrm>
        <a:custGeom>
          <a:avLst/>
          <a:gdLst/>
          <a:ahLst/>
          <a:cxnLst/>
          <a:rect l="0" t="0" r="0" b="0"/>
          <a:pathLst>
            <a:path>
              <a:moveTo>
                <a:pt x="0" y="0"/>
              </a:moveTo>
              <a:lnTo>
                <a:pt x="0" y="587624"/>
              </a:lnTo>
              <a:lnTo>
                <a:pt x="191616" y="587624"/>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9046E2-F351-4C0E-9903-BB63930E82C8}">
      <dsp:nvSpPr>
        <dsp:cNvPr id="0" name=""/>
        <dsp:cNvSpPr/>
      </dsp:nvSpPr>
      <dsp:spPr>
        <a:xfrm>
          <a:off x="6417991" y="1548186"/>
          <a:ext cx="772854" cy="268263"/>
        </a:xfrm>
        <a:custGeom>
          <a:avLst/>
          <a:gdLst/>
          <a:ahLst/>
          <a:cxnLst/>
          <a:rect l="0" t="0" r="0" b="0"/>
          <a:pathLst>
            <a:path>
              <a:moveTo>
                <a:pt x="772854" y="0"/>
              </a:moveTo>
              <a:lnTo>
                <a:pt x="772854" y="134131"/>
              </a:lnTo>
              <a:lnTo>
                <a:pt x="0" y="134131"/>
              </a:lnTo>
              <a:lnTo>
                <a:pt x="0" y="268263"/>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C20B5E-6098-4A47-9EF1-D51B0BA7F14A}">
      <dsp:nvSpPr>
        <dsp:cNvPr id="0" name=""/>
        <dsp:cNvSpPr/>
      </dsp:nvSpPr>
      <dsp:spPr>
        <a:xfrm>
          <a:off x="5645137" y="641200"/>
          <a:ext cx="1545708" cy="268263"/>
        </a:xfrm>
        <a:custGeom>
          <a:avLst/>
          <a:gdLst/>
          <a:ahLst/>
          <a:cxnLst/>
          <a:rect l="0" t="0" r="0" b="0"/>
          <a:pathLst>
            <a:path>
              <a:moveTo>
                <a:pt x="0" y="0"/>
              </a:moveTo>
              <a:lnTo>
                <a:pt x="0" y="134131"/>
              </a:lnTo>
              <a:lnTo>
                <a:pt x="1545708" y="134131"/>
              </a:lnTo>
              <a:lnTo>
                <a:pt x="1545708" y="268263"/>
              </a:lnTo>
            </a:path>
          </a:pathLst>
        </a:custGeom>
        <a:noFill/>
        <a:ln w="10795"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7D61832-D05A-4CE4-82A9-437CD1356122}">
      <dsp:nvSpPr>
        <dsp:cNvPr id="0" name=""/>
        <dsp:cNvSpPr/>
      </dsp:nvSpPr>
      <dsp:spPr>
        <a:xfrm>
          <a:off x="4361304" y="2455173"/>
          <a:ext cx="191616" cy="587624"/>
        </a:xfrm>
        <a:custGeom>
          <a:avLst/>
          <a:gdLst/>
          <a:ahLst/>
          <a:cxnLst/>
          <a:rect l="0" t="0" r="0" b="0"/>
          <a:pathLst>
            <a:path>
              <a:moveTo>
                <a:pt x="0" y="0"/>
              </a:moveTo>
              <a:lnTo>
                <a:pt x="0" y="587624"/>
              </a:lnTo>
              <a:lnTo>
                <a:pt x="191616" y="587624"/>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9603B20-48F1-4E86-A3E1-394B1CC12AE5}">
      <dsp:nvSpPr>
        <dsp:cNvPr id="0" name=""/>
        <dsp:cNvSpPr/>
      </dsp:nvSpPr>
      <dsp:spPr>
        <a:xfrm>
          <a:off x="4099428" y="1548186"/>
          <a:ext cx="772854" cy="268263"/>
        </a:xfrm>
        <a:custGeom>
          <a:avLst/>
          <a:gdLst/>
          <a:ahLst/>
          <a:cxnLst/>
          <a:rect l="0" t="0" r="0" b="0"/>
          <a:pathLst>
            <a:path>
              <a:moveTo>
                <a:pt x="0" y="0"/>
              </a:moveTo>
              <a:lnTo>
                <a:pt x="0" y="134131"/>
              </a:lnTo>
              <a:lnTo>
                <a:pt x="772854" y="134131"/>
              </a:lnTo>
              <a:lnTo>
                <a:pt x="772854" y="268263"/>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0D8E449-04C7-46A5-B564-7BBC4AA6A838}">
      <dsp:nvSpPr>
        <dsp:cNvPr id="0" name=""/>
        <dsp:cNvSpPr/>
      </dsp:nvSpPr>
      <dsp:spPr>
        <a:xfrm>
          <a:off x="3588450" y="4269145"/>
          <a:ext cx="191616" cy="1494611"/>
        </a:xfrm>
        <a:custGeom>
          <a:avLst/>
          <a:gdLst/>
          <a:ahLst/>
          <a:cxnLst/>
          <a:rect l="0" t="0" r="0" b="0"/>
          <a:pathLst>
            <a:path>
              <a:moveTo>
                <a:pt x="0" y="0"/>
              </a:moveTo>
              <a:lnTo>
                <a:pt x="0" y="1494611"/>
              </a:lnTo>
              <a:lnTo>
                <a:pt x="191616" y="1494611"/>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416CC7-9D51-46E8-BBB9-E790E67E6B07}">
      <dsp:nvSpPr>
        <dsp:cNvPr id="0" name=""/>
        <dsp:cNvSpPr/>
      </dsp:nvSpPr>
      <dsp:spPr>
        <a:xfrm>
          <a:off x="3588450" y="4269145"/>
          <a:ext cx="191616" cy="587624"/>
        </a:xfrm>
        <a:custGeom>
          <a:avLst/>
          <a:gdLst/>
          <a:ahLst/>
          <a:cxnLst/>
          <a:rect l="0" t="0" r="0" b="0"/>
          <a:pathLst>
            <a:path>
              <a:moveTo>
                <a:pt x="0" y="0"/>
              </a:moveTo>
              <a:lnTo>
                <a:pt x="0" y="587624"/>
              </a:lnTo>
              <a:lnTo>
                <a:pt x="191616" y="587624"/>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D0D67AD-19DA-4ECA-A253-A7B25154619A}">
      <dsp:nvSpPr>
        <dsp:cNvPr id="0" name=""/>
        <dsp:cNvSpPr/>
      </dsp:nvSpPr>
      <dsp:spPr>
        <a:xfrm>
          <a:off x="3326573" y="3362159"/>
          <a:ext cx="772854" cy="268263"/>
        </a:xfrm>
        <a:custGeom>
          <a:avLst/>
          <a:gdLst/>
          <a:ahLst/>
          <a:cxnLst/>
          <a:rect l="0" t="0" r="0" b="0"/>
          <a:pathLst>
            <a:path>
              <a:moveTo>
                <a:pt x="0" y="0"/>
              </a:moveTo>
              <a:lnTo>
                <a:pt x="0" y="134131"/>
              </a:lnTo>
              <a:lnTo>
                <a:pt x="772854" y="134131"/>
              </a:lnTo>
              <a:lnTo>
                <a:pt x="772854" y="268263"/>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80D099-B26B-473F-8A47-154E9D1E544A}">
      <dsp:nvSpPr>
        <dsp:cNvPr id="0" name=""/>
        <dsp:cNvSpPr/>
      </dsp:nvSpPr>
      <dsp:spPr>
        <a:xfrm>
          <a:off x="2042741" y="4269145"/>
          <a:ext cx="191616" cy="587624"/>
        </a:xfrm>
        <a:custGeom>
          <a:avLst/>
          <a:gdLst/>
          <a:ahLst/>
          <a:cxnLst/>
          <a:rect l="0" t="0" r="0" b="0"/>
          <a:pathLst>
            <a:path>
              <a:moveTo>
                <a:pt x="0" y="0"/>
              </a:moveTo>
              <a:lnTo>
                <a:pt x="0" y="587624"/>
              </a:lnTo>
              <a:lnTo>
                <a:pt x="191616" y="587624"/>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B11E23-AB53-4F80-8C29-C4605835CEEB}">
      <dsp:nvSpPr>
        <dsp:cNvPr id="0" name=""/>
        <dsp:cNvSpPr/>
      </dsp:nvSpPr>
      <dsp:spPr>
        <a:xfrm>
          <a:off x="2553719" y="3362159"/>
          <a:ext cx="772854" cy="268263"/>
        </a:xfrm>
        <a:custGeom>
          <a:avLst/>
          <a:gdLst/>
          <a:ahLst/>
          <a:cxnLst/>
          <a:rect l="0" t="0" r="0" b="0"/>
          <a:pathLst>
            <a:path>
              <a:moveTo>
                <a:pt x="772854" y="0"/>
              </a:moveTo>
              <a:lnTo>
                <a:pt x="772854" y="134131"/>
              </a:lnTo>
              <a:lnTo>
                <a:pt x="0" y="134131"/>
              </a:lnTo>
              <a:lnTo>
                <a:pt x="0" y="268263"/>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533D59C-C7D9-441C-A6EB-8AAD259C4A7C}">
      <dsp:nvSpPr>
        <dsp:cNvPr id="0" name=""/>
        <dsp:cNvSpPr/>
      </dsp:nvSpPr>
      <dsp:spPr>
        <a:xfrm>
          <a:off x="3280853" y="2455173"/>
          <a:ext cx="91440" cy="268263"/>
        </a:xfrm>
        <a:custGeom>
          <a:avLst/>
          <a:gdLst/>
          <a:ahLst/>
          <a:cxnLst/>
          <a:rect l="0" t="0" r="0" b="0"/>
          <a:pathLst>
            <a:path>
              <a:moveTo>
                <a:pt x="45720" y="0"/>
              </a:moveTo>
              <a:lnTo>
                <a:pt x="45720" y="268263"/>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00DE9D-DF71-45A6-B704-E8788574280F}">
      <dsp:nvSpPr>
        <dsp:cNvPr id="0" name=""/>
        <dsp:cNvSpPr/>
      </dsp:nvSpPr>
      <dsp:spPr>
        <a:xfrm>
          <a:off x="3326573" y="1548186"/>
          <a:ext cx="772854" cy="268263"/>
        </a:xfrm>
        <a:custGeom>
          <a:avLst/>
          <a:gdLst/>
          <a:ahLst/>
          <a:cxnLst/>
          <a:rect l="0" t="0" r="0" b="0"/>
          <a:pathLst>
            <a:path>
              <a:moveTo>
                <a:pt x="772854" y="0"/>
              </a:moveTo>
              <a:lnTo>
                <a:pt x="772854" y="134131"/>
              </a:lnTo>
              <a:lnTo>
                <a:pt x="0" y="134131"/>
              </a:lnTo>
              <a:lnTo>
                <a:pt x="0" y="268263"/>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C4373B-0F8F-4FDB-B285-C238BFAE51E2}">
      <dsp:nvSpPr>
        <dsp:cNvPr id="0" name=""/>
        <dsp:cNvSpPr/>
      </dsp:nvSpPr>
      <dsp:spPr>
        <a:xfrm>
          <a:off x="4099428" y="641200"/>
          <a:ext cx="1545708" cy="268263"/>
        </a:xfrm>
        <a:custGeom>
          <a:avLst/>
          <a:gdLst/>
          <a:ahLst/>
          <a:cxnLst/>
          <a:rect l="0" t="0" r="0" b="0"/>
          <a:pathLst>
            <a:path>
              <a:moveTo>
                <a:pt x="1545708" y="0"/>
              </a:moveTo>
              <a:lnTo>
                <a:pt x="1545708" y="134131"/>
              </a:lnTo>
              <a:lnTo>
                <a:pt x="0" y="134131"/>
              </a:lnTo>
              <a:lnTo>
                <a:pt x="0" y="268263"/>
              </a:lnTo>
            </a:path>
          </a:pathLst>
        </a:custGeom>
        <a:noFill/>
        <a:ln w="10795"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CCC9B79-2A2E-4E9B-8B25-FA4382B79E9C}">
      <dsp:nvSpPr>
        <dsp:cNvPr id="0" name=""/>
        <dsp:cNvSpPr/>
      </dsp:nvSpPr>
      <dsp:spPr>
        <a:xfrm>
          <a:off x="5006414" y="2477"/>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Features </a:t>
          </a:r>
          <a:endParaRPr lang="en-US" sz="1100" kern="1200"/>
        </a:p>
      </dsp:txBody>
      <dsp:txXfrm>
        <a:off x="5006414" y="2477"/>
        <a:ext cx="1277445" cy="638722"/>
      </dsp:txXfrm>
    </dsp:sp>
    <dsp:sp modelId="{9C3C9FFC-6CE3-4516-BB48-0B379AF3246F}">
      <dsp:nvSpPr>
        <dsp:cNvPr id="0" name=""/>
        <dsp:cNvSpPr/>
      </dsp:nvSpPr>
      <dsp:spPr>
        <a:xfrm>
          <a:off x="3460705" y="909464"/>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Internal Data (Provided by Sentosa) </a:t>
          </a:r>
        </a:p>
      </dsp:txBody>
      <dsp:txXfrm>
        <a:off x="3460705" y="909464"/>
        <a:ext cx="1277445" cy="638722"/>
      </dsp:txXfrm>
    </dsp:sp>
    <dsp:sp modelId="{563BBF97-88AD-43EB-A041-55D190C5C942}">
      <dsp:nvSpPr>
        <dsp:cNvPr id="0" name=""/>
        <dsp:cNvSpPr/>
      </dsp:nvSpPr>
      <dsp:spPr>
        <a:xfrm>
          <a:off x="2687851" y="1816450"/>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Ridership Data</a:t>
          </a:r>
        </a:p>
      </dsp:txBody>
      <dsp:txXfrm>
        <a:off x="2687851" y="1816450"/>
        <a:ext cx="1277445" cy="638722"/>
      </dsp:txXfrm>
    </dsp:sp>
    <dsp:sp modelId="{3F6F8835-3E01-4CBA-87F8-17629877A87D}">
      <dsp:nvSpPr>
        <dsp:cNvPr id="0" name=""/>
        <dsp:cNvSpPr/>
      </dsp:nvSpPr>
      <dsp:spPr>
        <a:xfrm>
          <a:off x="2687851" y="2723436"/>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Day of Week Flag</a:t>
          </a:r>
        </a:p>
      </dsp:txBody>
      <dsp:txXfrm>
        <a:off x="2687851" y="2723436"/>
        <a:ext cx="1277445" cy="638722"/>
      </dsp:txXfrm>
    </dsp:sp>
    <dsp:sp modelId="{32FD44D1-15AC-45E4-8D6B-40465314CCA3}">
      <dsp:nvSpPr>
        <dsp:cNvPr id="0" name=""/>
        <dsp:cNvSpPr/>
      </dsp:nvSpPr>
      <dsp:spPr>
        <a:xfrm>
          <a:off x="1914996" y="3630422"/>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Weekday Flag</a:t>
          </a:r>
        </a:p>
      </dsp:txBody>
      <dsp:txXfrm>
        <a:off x="1914996" y="3630422"/>
        <a:ext cx="1277445" cy="638722"/>
      </dsp:txXfrm>
    </dsp:sp>
    <dsp:sp modelId="{AB0401D6-D40F-476A-94B5-F1A0BD9D8ECD}">
      <dsp:nvSpPr>
        <dsp:cNvPr id="0" name=""/>
        <dsp:cNvSpPr/>
      </dsp:nvSpPr>
      <dsp:spPr>
        <a:xfrm>
          <a:off x="2234357" y="4537409"/>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a:latin typeface="Trebuchet MS"/>
            </a:rPr>
            <a:t>Mid-week Flag</a:t>
          </a:r>
          <a:endParaRPr lang="en-US" sz="1100" kern="1200"/>
        </a:p>
      </dsp:txBody>
      <dsp:txXfrm>
        <a:off x="2234357" y="4537409"/>
        <a:ext cx="1277445" cy="638722"/>
      </dsp:txXfrm>
    </dsp:sp>
    <dsp:sp modelId="{A80037A4-023F-4557-8F10-D3BD4D8F16AF}">
      <dsp:nvSpPr>
        <dsp:cNvPr id="0" name=""/>
        <dsp:cNvSpPr/>
      </dsp:nvSpPr>
      <dsp:spPr>
        <a:xfrm>
          <a:off x="3460705" y="3630422"/>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Weekend Flag</a:t>
          </a:r>
        </a:p>
      </dsp:txBody>
      <dsp:txXfrm>
        <a:off x="3460705" y="3630422"/>
        <a:ext cx="1277445" cy="638722"/>
      </dsp:txXfrm>
    </dsp:sp>
    <dsp:sp modelId="{E00C2A3A-BF99-41B3-A61A-F31DF31E1D9B}">
      <dsp:nvSpPr>
        <dsp:cNvPr id="0" name=""/>
        <dsp:cNvSpPr/>
      </dsp:nvSpPr>
      <dsp:spPr>
        <a:xfrm>
          <a:off x="3780066" y="4537409"/>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Saturday Flag</a:t>
          </a:r>
        </a:p>
      </dsp:txBody>
      <dsp:txXfrm>
        <a:off x="3780066" y="4537409"/>
        <a:ext cx="1277445" cy="638722"/>
      </dsp:txXfrm>
    </dsp:sp>
    <dsp:sp modelId="{CEC98FEA-A9C8-46BF-9ECC-D8B2A1E09D1B}">
      <dsp:nvSpPr>
        <dsp:cNvPr id="0" name=""/>
        <dsp:cNvSpPr/>
      </dsp:nvSpPr>
      <dsp:spPr>
        <a:xfrm>
          <a:off x="3780066" y="5444395"/>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a:latin typeface="Trebuchet MS"/>
            </a:rPr>
            <a:t>Sunday Flag</a:t>
          </a:r>
          <a:endParaRPr lang="en-US" sz="1100" kern="1200"/>
        </a:p>
      </dsp:txBody>
      <dsp:txXfrm>
        <a:off x="3780066" y="5444395"/>
        <a:ext cx="1277445" cy="638722"/>
      </dsp:txXfrm>
    </dsp:sp>
    <dsp:sp modelId="{2E815A99-6C5E-4835-B17D-7FF3C7546795}">
      <dsp:nvSpPr>
        <dsp:cNvPr id="0" name=""/>
        <dsp:cNvSpPr/>
      </dsp:nvSpPr>
      <dsp:spPr>
        <a:xfrm>
          <a:off x="4233560" y="1816450"/>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Weather Data </a:t>
          </a:r>
        </a:p>
      </dsp:txBody>
      <dsp:txXfrm>
        <a:off x="4233560" y="1816450"/>
        <a:ext cx="1277445" cy="638722"/>
      </dsp:txXfrm>
    </dsp:sp>
    <dsp:sp modelId="{0FF8AA66-E202-4B8D-A95E-F0B1EC4313B1}">
      <dsp:nvSpPr>
        <dsp:cNvPr id="0" name=""/>
        <dsp:cNvSpPr/>
      </dsp:nvSpPr>
      <dsp:spPr>
        <a:xfrm>
          <a:off x="4552921" y="2723436"/>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a:latin typeface="Trebuchet MS"/>
            </a:rPr>
            <a:t>Rain Flag</a:t>
          </a:r>
          <a:endParaRPr lang="en-US" sz="1100" kern="1200"/>
        </a:p>
      </dsp:txBody>
      <dsp:txXfrm>
        <a:off x="4552921" y="2723436"/>
        <a:ext cx="1277445" cy="638722"/>
      </dsp:txXfrm>
    </dsp:sp>
    <dsp:sp modelId="{D7CE84D8-5A9B-4243-BFAD-A10EC40DF307}">
      <dsp:nvSpPr>
        <dsp:cNvPr id="0" name=""/>
        <dsp:cNvSpPr/>
      </dsp:nvSpPr>
      <dsp:spPr>
        <a:xfrm>
          <a:off x="6552123" y="909464"/>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 External Data</a:t>
          </a:r>
        </a:p>
      </dsp:txBody>
      <dsp:txXfrm>
        <a:off x="6552123" y="909464"/>
        <a:ext cx="1277445" cy="638722"/>
      </dsp:txXfrm>
    </dsp:sp>
    <dsp:sp modelId="{90B3EEEC-4BEA-4F2C-9390-7382EBF2E384}">
      <dsp:nvSpPr>
        <dsp:cNvPr id="0" name=""/>
        <dsp:cNvSpPr/>
      </dsp:nvSpPr>
      <dsp:spPr>
        <a:xfrm>
          <a:off x="5779269" y="1816450"/>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 Holiday Flag (Govt Public Holidays, School Holidays)</a:t>
          </a:r>
        </a:p>
      </dsp:txBody>
      <dsp:txXfrm>
        <a:off x="5779269" y="1816450"/>
        <a:ext cx="1277445" cy="638722"/>
      </dsp:txXfrm>
    </dsp:sp>
    <dsp:sp modelId="{8E9A9B7E-907F-4D29-AB54-4D70C869635F}">
      <dsp:nvSpPr>
        <dsp:cNvPr id="0" name=""/>
        <dsp:cNvSpPr/>
      </dsp:nvSpPr>
      <dsp:spPr>
        <a:xfrm>
          <a:off x="6098630" y="2723436"/>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Weekday Holiday Flag</a:t>
          </a:r>
        </a:p>
      </dsp:txBody>
      <dsp:txXfrm>
        <a:off x="6098630" y="2723436"/>
        <a:ext cx="1277445" cy="638722"/>
      </dsp:txXfrm>
    </dsp:sp>
    <dsp:sp modelId="{5AFBF90A-1D5A-47DC-ACB5-D45662A8B8FB}">
      <dsp:nvSpPr>
        <dsp:cNvPr id="0" name=""/>
        <dsp:cNvSpPr/>
      </dsp:nvSpPr>
      <dsp:spPr>
        <a:xfrm>
          <a:off x="6098630" y="3630422"/>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Weekend Holiday Flag</a:t>
          </a:r>
        </a:p>
      </dsp:txBody>
      <dsp:txXfrm>
        <a:off x="6098630" y="3630422"/>
        <a:ext cx="1277445" cy="638722"/>
      </dsp:txXfrm>
    </dsp:sp>
    <dsp:sp modelId="{78B41A26-2EB1-4E2B-884F-73A15160A423}">
      <dsp:nvSpPr>
        <dsp:cNvPr id="0" name=""/>
        <dsp:cNvSpPr/>
      </dsp:nvSpPr>
      <dsp:spPr>
        <a:xfrm>
          <a:off x="7324977" y="1816450"/>
          <a:ext cx="1277445" cy="63872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rtl="0">
            <a:lnSpc>
              <a:spcPct val="90000"/>
            </a:lnSpc>
            <a:spcBef>
              <a:spcPct val="0"/>
            </a:spcBef>
            <a:spcAft>
              <a:spcPct val="35000"/>
            </a:spcAft>
            <a:buNone/>
          </a:pPr>
          <a:r>
            <a:rPr lang="en-US" sz="1100" kern="1200">
              <a:latin typeface="Trebuchet MS"/>
            </a:rPr>
            <a:t> Live Weather Data (weather.gov.sg) </a:t>
          </a:r>
        </a:p>
      </dsp:txBody>
      <dsp:txXfrm>
        <a:off x="7324977" y="1816450"/>
        <a:ext cx="1277445" cy="6387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279CEF-236B-43ED-907C-B557697BEC8D}">
      <dsp:nvSpPr>
        <dsp:cNvPr id="0" name=""/>
        <dsp:cNvSpPr/>
      </dsp:nvSpPr>
      <dsp:spPr>
        <a:xfrm rot="16200000">
          <a:off x="1318549" y="1076146"/>
          <a:ext cx="396975" cy="1817461"/>
        </a:xfrm>
        <a:prstGeom prst="round2Same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US" sz="1200" b="1" kern="1200">
              <a:latin typeface="Trebuchet MS"/>
            </a:rPr>
            <a:t> Phase 1</a:t>
          </a:r>
          <a:endParaRPr lang="en-US" sz="1200" b="1" kern="1200"/>
        </a:p>
      </dsp:txBody>
      <dsp:txXfrm rot="5400000">
        <a:off x="627686" y="1805768"/>
        <a:ext cx="1798082" cy="358217"/>
      </dsp:txXfrm>
    </dsp:sp>
    <dsp:sp modelId="{EDD5675C-83C4-4769-8648-4EF5BC6B613D}">
      <dsp:nvSpPr>
        <dsp:cNvPr id="0" name=""/>
        <dsp:cNvSpPr/>
      </dsp:nvSpPr>
      <dsp:spPr>
        <a:xfrm>
          <a:off x="2486" y="0"/>
          <a:ext cx="3029102" cy="138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en-US" sz="1200" b="1" kern="1200">
              <a:solidFill>
                <a:srgbClr val="002060"/>
              </a:solidFill>
              <a:latin typeface="Trebuchet MS"/>
            </a:rPr>
            <a:t> </a:t>
          </a:r>
          <a:r>
            <a:rPr lang="en-US" sz="1200" b="1" kern="1200" err="1">
              <a:solidFill>
                <a:srgbClr val="002060"/>
              </a:solidFill>
              <a:latin typeface="Trebuchet MS"/>
            </a:rPr>
            <a:t>Optimise</a:t>
          </a:r>
          <a:r>
            <a:rPr lang="en-US" sz="1200" b="1" kern="1200">
              <a:solidFill>
                <a:srgbClr val="002060"/>
              </a:solidFill>
              <a:latin typeface="Trebuchet MS"/>
            </a:rPr>
            <a:t> Model</a:t>
          </a:r>
        </a:p>
      </dsp:txBody>
      <dsp:txXfrm>
        <a:off x="2486" y="0"/>
        <a:ext cx="3029102" cy="1389413"/>
      </dsp:txXfrm>
    </dsp:sp>
    <dsp:sp modelId="{61269B63-A20B-41B1-8A64-C7F49377B384}">
      <dsp:nvSpPr>
        <dsp:cNvPr id="0" name=""/>
        <dsp:cNvSpPr/>
      </dsp:nvSpPr>
      <dsp:spPr>
        <a:xfrm>
          <a:off x="1517037" y="1468808"/>
          <a:ext cx="0" cy="317580"/>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46FA7420-7536-4337-AFA6-1BBBB7AE3A4E}">
      <dsp:nvSpPr>
        <dsp:cNvPr id="0" name=""/>
        <dsp:cNvSpPr/>
      </dsp:nvSpPr>
      <dsp:spPr>
        <a:xfrm>
          <a:off x="1477340" y="1389413"/>
          <a:ext cx="79395" cy="7939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523C11-87BF-4677-B69F-65F76242AA47}">
      <dsp:nvSpPr>
        <dsp:cNvPr id="0" name=""/>
        <dsp:cNvSpPr/>
      </dsp:nvSpPr>
      <dsp:spPr>
        <a:xfrm>
          <a:off x="2425768" y="1786389"/>
          <a:ext cx="1817461" cy="396975"/>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b="1" kern="1200">
              <a:latin typeface="Trebuchet MS"/>
            </a:rPr>
            <a:t> Phase 2</a:t>
          </a:r>
          <a:endParaRPr lang="en-US" sz="1200" b="1" kern="1200"/>
        </a:p>
      </dsp:txBody>
      <dsp:txXfrm>
        <a:off x="2425768" y="1786389"/>
        <a:ext cx="1817461" cy="396975"/>
      </dsp:txXfrm>
    </dsp:sp>
    <dsp:sp modelId="{B7F91847-0032-447D-8816-FC686C440B19}">
      <dsp:nvSpPr>
        <dsp:cNvPr id="0" name=""/>
        <dsp:cNvSpPr/>
      </dsp:nvSpPr>
      <dsp:spPr>
        <a:xfrm>
          <a:off x="1819947" y="2580340"/>
          <a:ext cx="3029102" cy="138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rtl="0">
            <a:lnSpc>
              <a:spcPct val="90000"/>
            </a:lnSpc>
            <a:spcBef>
              <a:spcPct val="0"/>
            </a:spcBef>
            <a:spcAft>
              <a:spcPct val="35000"/>
            </a:spcAft>
            <a:buNone/>
          </a:pPr>
          <a:r>
            <a:rPr lang="en-US" sz="1200" b="1" kern="1200">
              <a:solidFill>
                <a:srgbClr val="002060"/>
              </a:solidFill>
              <a:latin typeface="Trebuchet MS"/>
            </a:rPr>
            <a:t> </a:t>
          </a:r>
        </a:p>
        <a:p>
          <a:pPr marL="0" lvl="0" indent="0" algn="ctr" defTabSz="533400">
            <a:lnSpc>
              <a:spcPct val="90000"/>
            </a:lnSpc>
            <a:spcBef>
              <a:spcPct val="0"/>
            </a:spcBef>
            <a:spcAft>
              <a:spcPct val="35000"/>
            </a:spcAft>
            <a:buNone/>
          </a:pPr>
          <a:endParaRPr lang="en-US" sz="1200" b="1" kern="1200">
            <a:latin typeface="Trebuchet MS"/>
          </a:endParaRPr>
        </a:p>
        <a:p>
          <a:pPr marL="0" lvl="0" indent="0" algn="ctr" defTabSz="533400">
            <a:lnSpc>
              <a:spcPct val="90000"/>
            </a:lnSpc>
            <a:spcBef>
              <a:spcPct val="0"/>
            </a:spcBef>
            <a:spcAft>
              <a:spcPct val="35000"/>
            </a:spcAft>
            <a:buNone/>
          </a:pPr>
          <a:r>
            <a:rPr lang="en-US" sz="1200" b="1" kern="1200">
              <a:solidFill>
                <a:srgbClr val="002060"/>
              </a:solidFill>
              <a:latin typeface="Trebuchet MS"/>
            </a:rPr>
            <a:t>Build Prototype </a:t>
          </a:r>
          <a:endParaRPr lang="en-US" sz="1200" kern="1200"/>
        </a:p>
      </dsp:txBody>
      <dsp:txXfrm>
        <a:off x="1819947" y="2580340"/>
        <a:ext cx="3029102" cy="1389413"/>
      </dsp:txXfrm>
    </dsp:sp>
    <dsp:sp modelId="{6E49F180-E2B2-4820-A02B-E6CBCD4B03C9}">
      <dsp:nvSpPr>
        <dsp:cNvPr id="0" name=""/>
        <dsp:cNvSpPr/>
      </dsp:nvSpPr>
      <dsp:spPr>
        <a:xfrm>
          <a:off x="3334499" y="2183364"/>
          <a:ext cx="0" cy="317580"/>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716EC80-6C9F-442F-AC00-4867FF001B7F}">
      <dsp:nvSpPr>
        <dsp:cNvPr id="0" name=""/>
        <dsp:cNvSpPr/>
      </dsp:nvSpPr>
      <dsp:spPr>
        <a:xfrm>
          <a:off x="3294801" y="2500945"/>
          <a:ext cx="79395" cy="7939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48918C2-BB52-40BD-A734-17B37F1C393A}">
      <dsp:nvSpPr>
        <dsp:cNvPr id="0" name=""/>
        <dsp:cNvSpPr/>
      </dsp:nvSpPr>
      <dsp:spPr>
        <a:xfrm>
          <a:off x="4243230" y="1786389"/>
          <a:ext cx="1817461" cy="396975"/>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US" sz="1200" b="1" kern="1200">
              <a:latin typeface="Trebuchet MS"/>
            </a:rPr>
            <a:t> Phase 3</a:t>
          </a:r>
        </a:p>
      </dsp:txBody>
      <dsp:txXfrm>
        <a:off x="4243230" y="1786389"/>
        <a:ext cx="1817461" cy="396975"/>
      </dsp:txXfrm>
    </dsp:sp>
    <dsp:sp modelId="{E2E51C52-4030-4BEA-9AB5-ACD8C111DBF2}">
      <dsp:nvSpPr>
        <dsp:cNvPr id="0" name=""/>
        <dsp:cNvSpPr/>
      </dsp:nvSpPr>
      <dsp:spPr>
        <a:xfrm>
          <a:off x="3637409" y="0"/>
          <a:ext cx="3029102" cy="138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en-US" sz="1200" b="1" kern="1200">
              <a:solidFill>
                <a:srgbClr val="002060"/>
              </a:solidFill>
              <a:latin typeface="Trebuchet MS"/>
            </a:rPr>
            <a:t> User Testing </a:t>
          </a:r>
        </a:p>
      </dsp:txBody>
      <dsp:txXfrm>
        <a:off x="3637409" y="0"/>
        <a:ext cx="3029102" cy="1389413"/>
      </dsp:txXfrm>
    </dsp:sp>
    <dsp:sp modelId="{049B9701-D383-4FF8-B0F8-7AF825779BE5}">
      <dsp:nvSpPr>
        <dsp:cNvPr id="0" name=""/>
        <dsp:cNvSpPr/>
      </dsp:nvSpPr>
      <dsp:spPr>
        <a:xfrm>
          <a:off x="5151960" y="1468808"/>
          <a:ext cx="0" cy="317580"/>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6A52CAC0-17AA-4870-BDAB-09AA7F96891F}">
      <dsp:nvSpPr>
        <dsp:cNvPr id="0" name=""/>
        <dsp:cNvSpPr/>
      </dsp:nvSpPr>
      <dsp:spPr>
        <a:xfrm>
          <a:off x="5112263" y="1389413"/>
          <a:ext cx="79395" cy="7939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99924B-5D39-4239-A7F6-F5D8A5F6457F}">
      <dsp:nvSpPr>
        <dsp:cNvPr id="0" name=""/>
        <dsp:cNvSpPr/>
      </dsp:nvSpPr>
      <dsp:spPr>
        <a:xfrm rot="5400000">
          <a:off x="6770934" y="1076146"/>
          <a:ext cx="396975" cy="1817461"/>
        </a:xfrm>
        <a:prstGeom prst="round2Same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US" sz="1200" b="1" kern="1200">
              <a:latin typeface="Trebuchet MS"/>
            </a:rPr>
            <a:t> Phase 4</a:t>
          </a:r>
        </a:p>
      </dsp:txBody>
      <dsp:txXfrm rot="-5400000">
        <a:off x="6060692" y="1805768"/>
        <a:ext cx="1798082" cy="358217"/>
      </dsp:txXfrm>
    </dsp:sp>
    <dsp:sp modelId="{74FC39F0-273F-4F12-A0BF-9D5588A311CD}">
      <dsp:nvSpPr>
        <dsp:cNvPr id="0" name=""/>
        <dsp:cNvSpPr/>
      </dsp:nvSpPr>
      <dsp:spPr>
        <a:xfrm>
          <a:off x="5454871" y="2580340"/>
          <a:ext cx="3029102" cy="138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rtl="0">
            <a:lnSpc>
              <a:spcPct val="90000"/>
            </a:lnSpc>
            <a:spcBef>
              <a:spcPct val="0"/>
            </a:spcBef>
            <a:spcAft>
              <a:spcPct val="35000"/>
            </a:spcAft>
            <a:buNone/>
          </a:pPr>
          <a:r>
            <a:rPr lang="en-US" sz="1200" b="1" kern="1200">
              <a:solidFill>
                <a:srgbClr val="002060"/>
              </a:solidFill>
              <a:latin typeface="Trebuchet MS"/>
            </a:rPr>
            <a:t> </a:t>
          </a:r>
        </a:p>
        <a:p>
          <a:pPr marL="0" lvl="0" indent="0" algn="ctr" defTabSz="533400" rtl="0">
            <a:lnSpc>
              <a:spcPct val="90000"/>
            </a:lnSpc>
            <a:spcBef>
              <a:spcPct val="0"/>
            </a:spcBef>
            <a:spcAft>
              <a:spcPct val="35000"/>
            </a:spcAft>
            <a:buNone/>
          </a:pPr>
          <a:endParaRPr lang="en-US" sz="1200" b="1" kern="1200">
            <a:latin typeface="Trebuchet MS"/>
          </a:endParaRPr>
        </a:p>
        <a:p>
          <a:pPr marL="0" lvl="0" indent="0" algn="ctr" defTabSz="533400">
            <a:lnSpc>
              <a:spcPct val="90000"/>
            </a:lnSpc>
            <a:spcBef>
              <a:spcPct val="0"/>
            </a:spcBef>
            <a:spcAft>
              <a:spcPct val="35000"/>
            </a:spcAft>
            <a:buNone/>
          </a:pPr>
          <a:r>
            <a:rPr lang="en-US" sz="1200" b="1" kern="1200">
              <a:solidFill>
                <a:srgbClr val="002060"/>
              </a:solidFill>
              <a:latin typeface="Trebuchet MS"/>
            </a:rPr>
            <a:t>Soft Launch</a:t>
          </a:r>
          <a:endParaRPr lang="en-US" sz="1200" kern="1200"/>
        </a:p>
      </dsp:txBody>
      <dsp:txXfrm>
        <a:off x="5454871" y="2580340"/>
        <a:ext cx="3029102" cy="1389413"/>
      </dsp:txXfrm>
    </dsp:sp>
    <dsp:sp modelId="{705F2AA3-A4D0-4881-945F-53836ECC800C}">
      <dsp:nvSpPr>
        <dsp:cNvPr id="0" name=""/>
        <dsp:cNvSpPr/>
      </dsp:nvSpPr>
      <dsp:spPr>
        <a:xfrm>
          <a:off x="6969422" y="2183364"/>
          <a:ext cx="0" cy="317580"/>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0655CDBD-B15C-4A31-9867-C51888509025}">
      <dsp:nvSpPr>
        <dsp:cNvPr id="0" name=""/>
        <dsp:cNvSpPr/>
      </dsp:nvSpPr>
      <dsp:spPr>
        <a:xfrm>
          <a:off x="6929724" y="2500945"/>
          <a:ext cx="79395" cy="7939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09-Jan-22</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09-Jan-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gartner.com/en/newsroom/press-releases/2020-04-03-gartner-cfo-surey-reveals-74-percent-of-organizations-to-shift-some-employees-to-remote-work-permanently2" TargetMode="External"/><Relationship Id="rId2" Type="http://schemas.openxmlformats.org/officeDocument/2006/relationships/slide" Target="../slides/slide54.xml"/><Relationship Id="rId1" Type="http://schemas.openxmlformats.org/officeDocument/2006/relationships/notesMaster" Target="../notesMasters/notesMaster1.xml"/><Relationship Id="rId6" Type="http://schemas.openxmlformats.org/officeDocument/2006/relationships/hyperlink" Target="https://www.techrepublic.com/article/consumer-tech-spending-to-top-2-trillion-by-2023-thanks-to-smart-home-devices-and-on-demand-services/" TargetMode="External"/><Relationship Id="rId5" Type="http://schemas.openxmlformats.org/officeDocument/2006/relationships/hyperlink" Target="https://www.channelasia.tech/article/672259/hardware-software-services-how-covid-19-impacting-asian-tech-spend/" TargetMode="External"/><Relationship Id="rId4" Type="http://schemas.openxmlformats.org/officeDocument/2006/relationships/hyperlink" Target="http://www3.weforum.org/docs/WEF_Future_of_Jobs_2020.pdf"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12164333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r>
              <a:rPr lang="en-SG"/>
              <a:t>For the purposes of training the model with exogenous variables, we created the following features:</a:t>
            </a:r>
          </a:p>
          <a:p>
            <a:pPr>
              <a:spcAft>
                <a:spcPts val="0"/>
              </a:spcAft>
              <a:buNone/>
            </a:pPr>
            <a:endParaRPr lang="en-SG"/>
          </a:p>
          <a:p>
            <a:pPr>
              <a:spcAft>
                <a:spcPts val="0"/>
              </a:spcAft>
              <a:buNone/>
            </a:pPr>
            <a:endParaRPr lang="en-SG"/>
          </a:p>
          <a:p>
            <a:pPr>
              <a:spcAft>
                <a:spcPts val="0"/>
              </a:spcAft>
              <a:buNone/>
            </a:pPr>
            <a:r>
              <a:rPr lang="en-SG"/>
              <a:t>Creating more features gives the model more detailed information which helps the model to give a more accurate prediction</a:t>
            </a:r>
          </a:p>
          <a:p>
            <a:pPr>
              <a:spcAft>
                <a:spcPts val="0"/>
              </a:spcAft>
              <a:buNone/>
            </a:pPr>
            <a:endParaRPr lang="en-SG"/>
          </a:p>
          <a:p>
            <a:pPr>
              <a:spcAft>
                <a:spcPts val="0"/>
              </a:spcAft>
              <a:buNone/>
            </a:pPr>
            <a:endParaRPr lang="en-SG"/>
          </a:p>
          <a:p>
            <a:pPr>
              <a:spcAft>
                <a:spcPts val="0"/>
              </a:spcAft>
              <a:buNone/>
            </a:pPr>
            <a:r>
              <a:rPr lang="en-SG"/>
              <a:t>Things to talk about in this slide:</a:t>
            </a:r>
          </a:p>
          <a:p>
            <a:pPr marL="228600" indent="-228600">
              <a:spcAft>
                <a:spcPts val="0"/>
              </a:spcAft>
              <a:buAutoNum type="arabicPeriod"/>
            </a:pPr>
            <a:r>
              <a:rPr lang="en-SG"/>
              <a:t>Features created</a:t>
            </a:r>
            <a:endParaRPr lang="en-US"/>
          </a:p>
          <a:p>
            <a:pPr marL="228600" indent="-228600">
              <a:spcAft>
                <a:spcPts val="0"/>
              </a:spcAft>
              <a:buAutoNum type="arabicPeriod"/>
            </a:pPr>
            <a:r>
              <a:rPr lang="en-SG"/>
              <a:t>Features selected</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3401952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r>
              <a:rPr lang="en-SG"/>
              <a:t>How did we come up with the model?</a:t>
            </a:r>
            <a:endParaRPr lang="en-US"/>
          </a:p>
          <a:p>
            <a:pPr>
              <a:spcAft>
                <a:spcPts val="0"/>
              </a:spcAft>
              <a:buNone/>
            </a:pPr>
            <a:r>
              <a:rPr lang="en-SG"/>
              <a:t>1. Grouped riders by the operating hours of each day across the 3 months</a:t>
            </a:r>
            <a:endParaRPr lang="en-US"/>
          </a:p>
          <a:p>
            <a:pPr>
              <a:spcAft>
                <a:spcPts val="0"/>
              </a:spcAft>
              <a:buNone/>
            </a:pPr>
            <a:r>
              <a:rPr lang="en-SG"/>
              <a:t>2. Tested for stationarity </a:t>
            </a:r>
            <a:endParaRPr lang="en-US"/>
          </a:p>
          <a:p>
            <a:pPr>
              <a:spcAft>
                <a:spcPts val="0"/>
              </a:spcAft>
              <a:buNone/>
            </a:pPr>
            <a:r>
              <a:rPr lang="en-SG"/>
              <a:t>3. Performed data transformations – Log of dataset to scale, increased all values by 2 to shift dataset by a small number and remove zeroes</a:t>
            </a:r>
            <a:endParaRPr lang="en-US"/>
          </a:p>
          <a:p>
            <a:pPr>
              <a:spcAft>
                <a:spcPts val="0"/>
              </a:spcAft>
              <a:buNone/>
            </a:pPr>
            <a:r>
              <a:rPr lang="en-SG"/>
              <a:t>4. Split data into train/test (0.85 split)</a:t>
            </a:r>
            <a:endParaRPr lang="en-US"/>
          </a:p>
          <a:p>
            <a:pPr>
              <a:spcAft>
                <a:spcPts val="0"/>
              </a:spcAft>
              <a:buNone/>
            </a:pPr>
            <a:r>
              <a:rPr lang="en-SG"/>
              <a:t>5. Exogenous dataset (Weekend Flag, Holiday Flag, Rain Flag)</a:t>
            </a:r>
            <a:endParaRPr lang="en-US"/>
          </a:p>
          <a:p>
            <a:pPr>
              <a:spcAft>
                <a:spcPts val="0"/>
              </a:spcAft>
              <a:buNone/>
            </a:pPr>
            <a:r>
              <a:rPr lang="en-SG"/>
              <a:t>6. Run auto-</a:t>
            </a:r>
            <a:r>
              <a:rPr lang="en-SG" err="1"/>
              <a:t>arima</a:t>
            </a:r>
            <a:r>
              <a:rPr lang="en-SG"/>
              <a:t> to get best order and seasonal order</a:t>
            </a:r>
            <a:endParaRPr lang="en-US"/>
          </a:p>
          <a:p>
            <a:pPr>
              <a:spcAft>
                <a:spcPts val="0"/>
              </a:spcAft>
              <a:buNone/>
            </a:pPr>
            <a:r>
              <a:rPr lang="en-SG"/>
              <a:t>7. Run SARIMAX to train model</a:t>
            </a:r>
          </a:p>
          <a:p>
            <a:pPr>
              <a:spcAft>
                <a:spcPts val="0"/>
              </a:spcAft>
              <a:buNone/>
            </a:pPr>
            <a:endParaRPr lang="en-SG"/>
          </a:p>
          <a:p>
            <a:pPr>
              <a:spcAft>
                <a:spcPts val="0"/>
              </a:spcAft>
              <a:buNone/>
            </a:pPr>
            <a:r>
              <a:rPr lang="en-SG"/>
              <a:t>Given the chronological nature of our dataset and required prediction, we decided to go with a Time Series Model to predict future ridership. Specifically, we used SARIMAX to account for seasonal trends and exogenous factors such as rain, holidays and weekends. To get the best accuracy, we utilized auto-</a:t>
            </a:r>
            <a:r>
              <a:rPr lang="en-SG" err="1"/>
              <a:t>arima</a:t>
            </a:r>
            <a:r>
              <a:rPr lang="en-SG"/>
              <a:t> functions and looping to optimize the time series components and seasonal order. We then took the best result, which produced an R2 score of 0.8 and MAPE of 16.25%. We took these values to mean that our model was making accurate predictions, where the standard of R2 greater than 0.7 and MAPE value of less than 20%  indicate a good result.</a:t>
            </a:r>
          </a:p>
          <a:p>
            <a:pPr>
              <a:spcAft>
                <a:spcPts val="0"/>
              </a:spcAft>
              <a:buNone/>
            </a:pPr>
            <a:endParaRPr lang="en-SG"/>
          </a:p>
          <a:p>
            <a:pPr>
              <a:spcAft>
                <a:spcPts val="0"/>
              </a:spcAft>
              <a:buNone/>
            </a:pPr>
            <a:r>
              <a:rPr lang="en-SG"/>
              <a:t>Things to talk about in this slide:</a:t>
            </a:r>
          </a:p>
          <a:p>
            <a:pPr marL="228600" indent="-228600">
              <a:spcAft>
                <a:spcPts val="0"/>
              </a:spcAft>
              <a:buAutoNum type="arabicPeriod"/>
            </a:pPr>
            <a:r>
              <a:rPr lang="en-SG"/>
              <a:t>Which model we used and why</a:t>
            </a:r>
          </a:p>
          <a:p>
            <a:pPr marL="228600" indent="-228600">
              <a:spcAft>
                <a:spcPts val="0"/>
              </a:spcAft>
              <a:buAutoNum type="arabicPeriod"/>
            </a:pPr>
            <a:r>
              <a:rPr lang="en-SG"/>
              <a:t>Results of our model, how and why we chose it</a:t>
            </a:r>
          </a:p>
          <a:p>
            <a:pPr>
              <a:spcAft>
                <a:spcPts val="0"/>
              </a:spcAft>
              <a:buNone/>
            </a:pPr>
            <a:endParaRPr lang="en-SG"/>
          </a:p>
          <a:p>
            <a:pPr>
              <a:spcAft>
                <a:spcPts val="0"/>
              </a:spcAft>
              <a:buNone/>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1290035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latin typeface="Calibri"/>
                <a:cs typeface="Calibri"/>
              </a:rPr>
              <a:t>Following the creation of our model, we set out to predict ridership for the first 7 days of April, to cover the variations across the week which were featured in our model.  To provide a buffer for error in our prediction we also provided a </a:t>
            </a:r>
            <a:r>
              <a:rPr lang="en-US" err="1">
                <a:latin typeface="Calibri"/>
                <a:cs typeface="Calibri"/>
              </a:rPr>
              <a:t>mape</a:t>
            </a:r>
            <a:r>
              <a:rPr lang="en-US">
                <a:latin typeface="Calibri"/>
                <a:cs typeface="Calibri"/>
              </a:rPr>
              <a:t>-adjusted prediction denoted by the light blue error band and orange points on the graph. </a:t>
            </a:r>
            <a:endParaRPr lang="en-US"/>
          </a:p>
          <a:p>
            <a:pPr>
              <a:buNone/>
            </a:pPr>
            <a:endParaRPr lang="en-US">
              <a:latin typeface="Calibri"/>
              <a:cs typeface="Calibri"/>
            </a:endParaRPr>
          </a:p>
          <a:p>
            <a:pPr>
              <a:buNone/>
            </a:pPr>
            <a:r>
              <a:rPr lang="en-US">
                <a:latin typeface="Calibri"/>
                <a:cs typeface="Calibri"/>
              </a:rPr>
              <a:t>As seen in our prediction, similar trends and patterns are observed across the week, with high ridership starting on April 1st, a Thursday. Higher than average ridership continues to be predicted for April 2nd, which is a public holiday (Good Friday), and April 3rd which is a Saturday. This trend only begins to taper off on Sunday April 4th. </a:t>
            </a:r>
            <a:endParaRPr lang="en-US"/>
          </a:p>
          <a:p>
            <a:pPr>
              <a:buNone/>
            </a:pPr>
            <a:endParaRPr lang="en-US">
              <a:latin typeface="Calibri"/>
              <a:cs typeface="Calibri"/>
            </a:endParaRPr>
          </a:p>
          <a:p>
            <a:pPr>
              <a:buNone/>
            </a:pPr>
            <a:r>
              <a:rPr lang="en-US">
                <a:latin typeface="Calibri"/>
                <a:cs typeface="Calibri"/>
              </a:rPr>
              <a:t>Zooming in to observe the hourly prediction by day, we see the same mid-day peaks that occur in the afternoon between the hours of two to six PM, with the most ridership of all hours being a prediction of 161 (after MAPE adjustment). This amount of demand would require a bus frequency of 4 buses to support, assuming a bus capacity of 50 persons. We will expand more on bus frequency in the next slide.</a:t>
            </a:r>
          </a:p>
          <a:p>
            <a:pPr>
              <a:buNone/>
            </a:pPr>
            <a:endParaRPr lang="en-US">
              <a:latin typeface="Calibri"/>
              <a:cs typeface="Calibri"/>
            </a:endParaRPr>
          </a:p>
          <a:p>
            <a:pPr>
              <a:spcAft>
                <a:spcPts val="0"/>
              </a:spcAft>
              <a:buNone/>
            </a:pPr>
            <a:r>
              <a:rPr lang="en-SG"/>
              <a:t>Things to talk about in this slide:</a:t>
            </a:r>
            <a:endParaRPr lang="en-US"/>
          </a:p>
          <a:p>
            <a:pPr marL="228600" indent="-228600">
              <a:spcAft>
                <a:spcPts val="0"/>
              </a:spcAft>
              <a:buAutoNum type="arabicPeriod"/>
            </a:pPr>
            <a:r>
              <a:rPr lang="en-SG"/>
              <a:t>Explaining the components in the graphs in this slide (Prediction &amp; </a:t>
            </a:r>
            <a:r>
              <a:rPr lang="en-SG" err="1"/>
              <a:t>Prediction+MAPE</a:t>
            </a:r>
            <a:r>
              <a:rPr lang="en-SG"/>
              <a:t>)</a:t>
            </a:r>
            <a:endParaRPr lang="en-US"/>
          </a:p>
          <a:p>
            <a:pPr marL="228600" indent="-228600">
              <a:spcAft>
                <a:spcPts val="0"/>
              </a:spcAft>
              <a:buAutoNum type="arabicPeriod"/>
            </a:pPr>
            <a:r>
              <a:rPr lang="en-SG" err="1"/>
              <a:t>Analyzing</a:t>
            </a:r>
            <a:r>
              <a:rPr lang="en-SG"/>
              <a:t> the prediction and how it compares with the actual data</a:t>
            </a:r>
          </a:p>
          <a:p>
            <a:pPr marL="228600" indent="-228600">
              <a:spcAft>
                <a:spcPts val="0"/>
              </a:spcAft>
              <a:buAutoNum type="arabicPeriod"/>
            </a:pPr>
            <a:r>
              <a:rPr lang="en-SG"/>
              <a:t>Zooming in on the hourly prediction and how it compares with actual data</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11502843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r>
              <a:rPr lang="en-SG" dirty="0"/>
              <a:t>Building upon our ridership prediction of 1st April and using the 16.25% MAPE value as an additional buffer, we calculated the bus frequency based on the maximum bus capacity of 50pax. </a:t>
            </a:r>
            <a:endParaRPr lang="en-US" dirty="0"/>
          </a:p>
          <a:p>
            <a:pPr>
              <a:spcAft>
                <a:spcPts val="0"/>
              </a:spcAft>
              <a:buNone/>
            </a:pPr>
            <a:r>
              <a:rPr lang="en-SG" dirty="0"/>
              <a:t>We were then able to get the minimum required bus frequency as seen in the red line in the chart. We see a surge in demand at 2pm and 6pm where approximately 4 and 3 buses would be needed that hour respectively.</a:t>
            </a:r>
            <a:endParaRPr lang="en-US" dirty="0"/>
          </a:p>
          <a:p>
            <a:pPr>
              <a:spcAft>
                <a:spcPts val="0"/>
              </a:spcAft>
              <a:buNone/>
            </a:pPr>
            <a:endParaRPr lang="en-SG" dirty="0"/>
          </a:p>
          <a:p>
            <a:pPr>
              <a:spcAft>
                <a:spcPts val="0"/>
              </a:spcAft>
              <a:buNone/>
            </a:pPr>
            <a:r>
              <a:rPr lang="en-SG" dirty="0"/>
              <a:t>Comparing then our prediction of bus frequency with the actual bus frequency derived from our EDA, we see that the actual bus frequency would not be able to support the peaks in demand during certain hours of the day where ridership surges. This would lead to overcrowding and longer waiting times for the customers.</a:t>
            </a:r>
          </a:p>
          <a:p>
            <a:pPr>
              <a:spcAft>
                <a:spcPts val="0"/>
              </a:spcAft>
              <a:buNone/>
            </a:pPr>
            <a:endParaRPr lang="en-US" dirty="0"/>
          </a:p>
          <a:p>
            <a:pPr>
              <a:spcAft>
                <a:spcPts val="0"/>
              </a:spcAft>
              <a:buNone/>
            </a:pPr>
            <a:r>
              <a:rPr lang="en-US" dirty="0"/>
              <a:t>To </a:t>
            </a:r>
            <a:r>
              <a:rPr lang="en-US"/>
              <a:t>that end, </a:t>
            </a:r>
            <a:r>
              <a:rPr lang="en-US" dirty="0"/>
              <a:t>we propose that the usage of our prediction model would allow for a better allocation of buses to meet ridership demand in a dynamic manner as opposed to sending buses on a fixed frequency basis.</a:t>
            </a:r>
          </a:p>
          <a:p>
            <a:pPr>
              <a:spcAft>
                <a:spcPts val="0"/>
              </a:spcAft>
              <a:buNone/>
            </a:pPr>
            <a:r>
              <a:rPr lang="en-US" dirty="0"/>
              <a:t>Additionally, we recognize that this only the first iteration of our model. With a structured data pipeline and extended training data over longer time periods, similar predictions can be made for other bus stops with higher model fidelity to further improve bus frequency.</a:t>
            </a:r>
          </a:p>
          <a:p>
            <a:pPr>
              <a:spcAft>
                <a:spcPts val="0"/>
              </a:spcAft>
              <a:buNone/>
            </a:pPr>
            <a:endParaRPr lang="en-SG" dirty="0"/>
          </a:p>
          <a:p>
            <a:pPr>
              <a:buNone/>
            </a:pPr>
            <a:endParaRPr lang="en-SG" dirty="0"/>
          </a:p>
          <a:p>
            <a:pPr>
              <a:spcAft>
                <a:spcPts val="0"/>
              </a:spcAft>
              <a:buNone/>
            </a:pPr>
            <a:r>
              <a:rPr lang="en-SG" dirty="0"/>
              <a:t>Things to talk about in this slide:</a:t>
            </a:r>
            <a:endParaRPr lang="en-US" dirty="0"/>
          </a:p>
          <a:p>
            <a:pPr marL="228600" indent="-228600">
              <a:spcAft>
                <a:spcPts val="0"/>
              </a:spcAft>
              <a:buAutoNum type="arabicPeriod"/>
            </a:pPr>
            <a:r>
              <a:rPr lang="en-SG" dirty="0"/>
              <a:t>The minimum bus frequency required for each hour based on ridership</a:t>
            </a:r>
          </a:p>
          <a:p>
            <a:pPr marL="228600" indent="-228600">
              <a:spcAft>
                <a:spcPts val="0"/>
              </a:spcAft>
              <a:buAutoNum type="arabicPeriod"/>
            </a:pPr>
            <a:r>
              <a:rPr lang="en-SG" dirty="0"/>
              <a:t>How actual frequency differs from our prediction, and suggestions to improve bus frequency to meet peaks in demand</a:t>
            </a:r>
          </a:p>
          <a:p>
            <a:pPr marL="228600" indent="-228600">
              <a:spcAft>
                <a:spcPts val="0"/>
              </a:spcAft>
              <a:buAutoNum type="arabicPeriod"/>
            </a:pPr>
            <a:r>
              <a:rPr lang="en-SG" dirty="0"/>
              <a:t>This is our phase 1 suggestion. With more data, similar predictions can be made for other bus stops to improve upon bus frequency </a:t>
            </a:r>
          </a:p>
          <a:p>
            <a:pPr marL="228600" indent="-228600">
              <a:spcAft>
                <a:spcPts val="0"/>
              </a:spcAft>
              <a:buAutoNum type="arabicPeriod"/>
            </a:pPr>
            <a:endParaRPr lang="en-SG"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7991596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r>
              <a:rPr lang="en-US"/>
              <a:t>Apart from the prediction model, we also notice there are missing features highlighting these complimentary shuttle buses. There are also limited information on the actual bus arrival time along with the available bus capacity as seen in the current design of the app. Our team came up with some wireframes on how we can improve on the design by adding new features to promote the shuttle buses and provide real time information readily available in google map/our data based. As seen in the 3rd wireframe, we aim to provide the actual bus arrival timings and overcrowding index to help visitors make informed decision in the planning of their routes. Digital signboards can also be placed at popular bus stops to indicate estimated arrival time and crowd information. The new features will help improve overall visitor satisfaction in Sentosa. </a:t>
            </a:r>
          </a:p>
          <a:p>
            <a:pPr>
              <a:spcAft>
                <a:spcPts val="0"/>
              </a:spcAft>
              <a:buNone/>
            </a:pPr>
            <a:endParaRPr lang="en-US"/>
          </a:p>
          <a:p>
            <a:pPr>
              <a:spcAft>
                <a:spcPts val="0"/>
              </a:spcAft>
              <a:buNone/>
            </a:pPr>
            <a:endParaRPr lang="en-US"/>
          </a:p>
          <a:p>
            <a:pPr>
              <a:spcAft>
                <a:spcPts val="0"/>
              </a:spcAft>
              <a:buNone/>
            </a:pPr>
            <a:r>
              <a:rPr lang="en-US"/>
              <a:t>Add on features in the Apps:</a:t>
            </a:r>
          </a:p>
          <a:p>
            <a:pPr>
              <a:spcAft>
                <a:spcPts val="0"/>
              </a:spcAft>
              <a:buNone/>
            </a:pPr>
            <a:r>
              <a:rPr lang="en-US"/>
              <a:t>1) Enhancement of Sentosa App – Arrival time missing, available capacity</a:t>
            </a:r>
          </a:p>
          <a:p>
            <a:pPr>
              <a:spcAft>
                <a:spcPts val="0"/>
              </a:spcAft>
              <a:buNone/>
            </a:pPr>
            <a:r>
              <a:rPr lang="en-US"/>
              <a:t>2) Digital Signboard to be placed at popular bus stops to indicate estimated Arrival time and seating.   </a:t>
            </a:r>
          </a:p>
          <a:p>
            <a:pPr>
              <a:buNone/>
            </a:pPr>
            <a:endParaRPr lang="en-US">
              <a:latin typeface="Calibri"/>
              <a:cs typeface="Calibri"/>
            </a:endParaRPr>
          </a:p>
          <a:p>
            <a:pPr>
              <a:buNone/>
            </a:pPr>
            <a:endParaRPr lang="en-US">
              <a:latin typeface="Calibri"/>
              <a:cs typeface="Calibri"/>
            </a:endParaRPr>
          </a:p>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4095486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r>
              <a:rPr lang="en-US"/>
              <a:t>To deploy the bus using the prediction model to allocate bus frequency in a dynamic manner instead of the fixed frequency so as to better manage operating costs and balance with ridership demand which in turn increase customer satisfaction. </a:t>
            </a:r>
          </a:p>
          <a:p>
            <a:pPr>
              <a:buNone/>
            </a:pPr>
            <a:endParaRPr lang="en-US">
              <a:latin typeface="Calibri"/>
              <a:cs typeface="Calibri"/>
            </a:endParaRPr>
          </a:p>
          <a:p>
            <a:pPr>
              <a:buNone/>
            </a:pPr>
            <a:endParaRPr lang="en-US">
              <a:latin typeface="Calibri"/>
              <a:cs typeface="Calibri"/>
            </a:endParaRPr>
          </a:p>
          <a:p>
            <a:pPr>
              <a:spcAft>
                <a:spcPts val="0"/>
              </a:spcAft>
              <a:buNone/>
            </a:pPr>
            <a:r>
              <a:rPr lang="en-US"/>
              <a:t>1) Predictive approach to deploying bus versus current fixed frequency approach</a:t>
            </a:r>
          </a:p>
          <a:p>
            <a:pPr>
              <a:spcAft>
                <a:spcPts val="0"/>
              </a:spcAft>
              <a:buNone/>
            </a:pPr>
            <a:endParaRPr lang="en-US"/>
          </a:p>
          <a:p>
            <a:pPr>
              <a:spcAft>
                <a:spcPts val="0"/>
              </a:spcAft>
              <a:buNone/>
            </a:pPr>
            <a:r>
              <a:rPr lang="en-US"/>
              <a:t>2) Cost savings – reducing bus frequency in off peak time to reduce under-utilized bus (ideal bus frequency will be 2 - reduce visitor waiting frustration) or having smaller capacity buses?</a:t>
            </a:r>
          </a:p>
          <a:p>
            <a:pPr>
              <a:spcAft>
                <a:spcPts val="0"/>
              </a:spcAft>
              <a:buNone/>
            </a:pPr>
            <a:endParaRPr lang="en-US"/>
          </a:p>
          <a:p>
            <a:pPr>
              <a:spcAft>
                <a:spcPts val="0"/>
              </a:spcAft>
              <a:buNone/>
            </a:pPr>
            <a:r>
              <a:rPr lang="en-US"/>
              <a:t>3) Improve visitor experience for them to have real time bus information readily available to allow them to better plan their time or their routes. They can spend more time at attractions and amenities and less time waiting at bus stop. </a:t>
            </a:r>
          </a:p>
          <a:p>
            <a:pPr>
              <a:spcAft>
                <a:spcPts val="0"/>
              </a:spcAft>
              <a:buNone/>
            </a:pPr>
            <a:endParaRPr lang="en-US"/>
          </a:p>
          <a:p>
            <a:pPr>
              <a:spcAft>
                <a:spcPts val="0"/>
              </a:spcAft>
              <a:buNone/>
            </a:pPr>
            <a:r>
              <a:rPr lang="en-US"/>
              <a:t>4) Increase the number of users using the Sentosa App</a:t>
            </a:r>
          </a:p>
          <a:p>
            <a:pPr>
              <a:spcAft>
                <a:spcPts val="0"/>
              </a:spcAft>
              <a:buNone/>
            </a:pPr>
            <a:r>
              <a:rPr lang="en-US"/>
              <a:t>- To reduce multiple applications open by the user for checking of bus route such as google map</a:t>
            </a:r>
          </a:p>
          <a:p>
            <a:pPr>
              <a:spcAft>
                <a:spcPts val="0"/>
              </a:spcAft>
              <a:buNone/>
            </a:pPr>
            <a:r>
              <a:rPr lang="en-US"/>
              <a:t>- Increase awareness on the App -  Featuring it in Sentosa App will also increase chances of customer using the other features in the App (Attractions, F&amp;B info and promotions, </a:t>
            </a:r>
            <a:r>
              <a:rPr lang="en-US" err="1"/>
              <a:t>etc</a:t>
            </a:r>
            <a:r>
              <a:rPr lang="en-US"/>
              <a:t>). </a:t>
            </a:r>
          </a:p>
          <a:p>
            <a:pPr>
              <a:spcAft>
                <a:spcPts val="0"/>
              </a:spcAft>
              <a:buNone/>
            </a:pPr>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39781631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lvl="1" indent="0">
              <a:spcAft>
                <a:spcPts val="0"/>
              </a:spcAft>
              <a:buNone/>
            </a:pPr>
            <a:r>
              <a:rPr lang="en-US"/>
              <a:t>Phase 1:</a:t>
            </a:r>
          </a:p>
          <a:p>
            <a:pPr marL="0" lvl="1" indent="0">
              <a:spcAft>
                <a:spcPts val="0"/>
              </a:spcAft>
              <a:buNone/>
            </a:pPr>
            <a:r>
              <a:rPr lang="en-US"/>
              <a:t>- Run current model to get more data for fine tuning</a:t>
            </a:r>
          </a:p>
          <a:p>
            <a:pPr marL="0" lvl="1" indent="0">
              <a:spcAft>
                <a:spcPts val="0"/>
              </a:spcAft>
              <a:buNone/>
            </a:pPr>
            <a:endParaRPr lang="en-US"/>
          </a:p>
          <a:p>
            <a:pPr>
              <a:buNone/>
            </a:pPr>
            <a:r>
              <a:rPr lang="en-US"/>
              <a:t>Phase 2: </a:t>
            </a:r>
          </a:p>
          <a:p>
            <a:pPr>
              <a:buNone/>
            </a:pPr>
            <a:r>
              <a:rPr lang="en-US"/>
              <a:t>- Improve current app experience prototype and test with app users for 3 months</a:t>
            </a:r>
          </a:p>
          <a:p>
            <a:pPr>
              <a:buNone/>
            </a:pPr>
            <a:endParaRPr lang="en-US"/>
          </a:p>
          <a:p>
            <a:pPr>
              <a:buNone/>
            </a:pPr>
            <a:r>
              <a:rPr lang="en-US"/>
              <a:t>Phase 3: </a:t>
            </a:r>
          </a:p>
          <a:p>
            <a:pPr>
              <a:buNone/>
            </a:pPr>
            <a:r>
              <a:rPr lang="en-US"/>
              <a:t>- Get feedback on bus arrival prediction and improve on app</a:t>
            </a:r>
          </a:p>
          <a:p>
            <a:pPr>
              <a:buNone/>
            </a:pPr>
            <a:endParaRPr lang="en-US"/>
          </a:p>
          <a:p>
            <a:pPr>
              <a:buNone/>
            </a:pPr>
            <a:r>
              <a:rPr lang="en-US"/>
              <a:t>Phase 4:</a:t>
            </a:r>
          </a:p>
          <a:p>
            <a:pPr>
              <a:buNone/>
            </a:pPr>
            <a:r>
              <a:rPr lang="en-US"/>
              <a:t>- Launch of new features in app, market and promote.</a:t>
            </a:r>
          </a:p>
          <a:p>
            <a:pPr>
              <a:buNone/>
            </a:pPr>
            <a:endParaRPr lang="en-US"/>
          </a:p>
          <a:p>
            <a:pPr>
              <a:spcAft>
                <a:spcPts val="0"/>
              </a:spcAft>
              <a:buNone/>
            </a:pPr>
            <a:r>
              <a:rPr lang="en-US" b="1"/>
              <a:t>Key Assumptions:</a:t>
            </a:r>
            <a:endParaRPr lang="en-US"/>
          </a:p>
          <a:p>
            <a:pPr>
              <a:spcAft>
                <a:spcPts val="0"/>
              </a:spcAft>
              <a:buNone/>
            </a:pPr>
            <a:r>
              <a:rPr lang="en-US"/>
              <a:t>1) Total rider coming in and out are the same number. </a:t>
            </a:r>
          </a:p>
          <a:p>
            <a:pPr>
              <a:spcAft>
                <a:spcPts val="0"/>
              </a:spcAft>
              <a:buNone/>
            </a:pPr>
            <a:r>
              <a:rPr lang="en-US"/>
              <a:t>2) Priority is on providing a good prediction model to </a:t>
            </a:r>
            <a:r>
              <a:rPr lang="en-US" err="1"/>
              <a:t>optimise</a:t>
            </a:r>
            <a:r>
              <a:rPr lang="en-US"/>
              <a:t> the bus frequency to bus stops (for customer satisfaction) instead of focusing on business operations</a:t>
            </a:r>
          </a:p>
          <a:p>
            <a:pPr>
              <a:buNone/>
            </a:pPr>
            <a:endParaRPr lang="en-US"/>
          </a:p>
          <a:p>
            <a:pPr>
              <a:buNone/>
            </a:pPr>
            <a:endParaRPr lang="en-US"/>
          </a:p>
          <a:p>
            <a:pPr>
              <a:spcAft>
                <a:spcPts val="0"/>
              </a:spcAft>
              <a:buNone/>
            </a:pPr>
            <a:r>
              <a:rPr lang="en-US" b="1"/>
              <a:t>Limitations:</a:t>
            </a:r>
            <a:endParaRPr lang="en-US"/>
          </a:p>
          <a:p>
            <a:pPr marL="285750" indent="-285750">
              <a:spcAft>
                <a:spcPts val="0"/>
              </a:spcAft>
              <a:buFont typeface="Trebuchet MS,Sans-Serif"/>
              <a:buChar char="​"/>
            </a:pPr>
            <a:r>
              <a:rPr lang="en-US"/>
              <a:t>- 3 month data -  the time series model requires a longer time data (preferably a year) in order to give more accurate predictions. </a:t>
            </a:r>
          </a:p>
          <a:p>
            <a:pPr marL="285750" indent="-285750">
              <a:spcAft>
                <a:spcPts val="0"/>
              </a:spcAft>
              <a:buFont typeface="Trebuchet MS,Sans-Serif"/>
              <a:buChar char="​"/>
            </a:pPr>
            <a:r>
              <a:rPr lang="en-US"/>
              <a:t>- Bus detection system – lack of accurate person to person scanning, </a:t>
            </a:r>
            <a:r>
              <a:rPr lang="en-SG"/>
              <a:t>don’t know actual in and out form scanner. No ticket issued.</a:t>
            </a:r>
            <a:endParaRPr lang="en-US"/>
          </a:p>
          <a:p>
            <a:pPr marL="285750" indent="-285750">
              <a:spcAft>
                <a:spcPts val="0"/>
              </a:spcAft>
              <a:buFont typeface="Trebuchet MS,Sans-Serif"/>
              <a:buChar char="​"/>
            </a:pPr>
            <a:r>
              <a:rPr lang="en-US"/>
              <a:t>- Bus stops and bus routes cannot be removed. </a:t>
            </a:r>
          </a:p>
          <a:p>
            <a:pPr marL="285750" indent="-285750">
              <a:spcAft>
                <a:spcPts val="0"/>
              </a:spcAft>
              <a:buFont typeface="Trebuchet MS,Sans-Serif"/>
              <a:buChar char="​"/>
            </a:pPr>
            <a:r>
              <a:rPr lang="en-US"/>
              <a:t>- No baseline on customer satisfaction rating </a:t>
            </a:r>
          </a:p>
          <a:p>
            <a:pPr marL="285750" indent="-285750">
              <a:spcAft>
                <a:spcPts val="0"/>
              </a:spcAft>
              <a:buFont typeface="Trebuchet MS,Sans-Serif"/>
              <a:buChar char="​"/>
            </a:pPr>
            <a:r>
              <a:rPr lang="en-US"/>
              <a:t>- Limited dataset due to COVID-19 situation, number of tourist dropped</a:t>
            </a:r>
          </a:p>
          <a:p>
            <a:pPr marL="285750" indent="-285750">
              <a:spcAft>
                <a:spcPts val="0"/>
              </a:spcAft>
              <a:buFont typeface="Trebuchet MS,Sans-Serif"/>
              <a:buChar char="​"/>
            </a:pPr>
            <a:endParaRPr lang="en-US"/>
          </a:p>
          <a:p>
            <a:pPr marL="285750" indent="-285750">
              <a:spcAft>
                <a:spcPts val="0"/>
              </a:spcAft>
              <a:buFont typeface="Trebuchet MS,Sans-Serif"/>
              <a:buChar char="​"/>
            </a:pPr>
            <a:r>
              <a:rPr lang="en-US"/>
              <a:t>- Not possible to measure customer satisfaction when there is no measurement involved. </a:t>
            </a:r>
          </a:p>
          <a:p>
            <a:pPr marL="285750" indent="-285750">
              <a:spcAft>
                <a:spcPts val="0"/>
              </a:spcAft>
              <a:buFont typeface="Trebuchet MS,Sans-Serif"/>
              <a:buChar char="​"/>
            </a:pPr>
            <a:r>
              <a:rPr lang="en-US"/>
              <a:t>(Provided by SDC: Our guest satisfaction is based on the overall experience on the island. Transportation/ accessibility may somewhat influenced the overall experience. These may include the wait time for the buses, whether pax are able to board the bus, and the convenience of getting around the island.)</a:t>
            </a:r>
          </a:p>
          <a:p>
            <a:pPr>
              <a:spcAft>
                <a:spcPts val="0"/>
              </a:spcAft>
              <a:buNone/>
            </a:pPr>
            <a:endParaRPr lang="en-US"/>
          </a:p>
          <a:p>
            <a:pPr>
              <a:buNone/>
            </a:pPr>
            <a:endParaRPr lang="en-US"/>
          </a:p>
          <a:p>
            <a:pPr>
              <a:buNone/>
            </a:pPr>
            <a:r>
              <a:rPr lang="en-US"/>
              <a:t>Because of Covid-19 SMM measures there are no key events in Sentosa from Jan'21 to Mar'21. But typically, there will be promotion/ deals during the festive period and Mar School holidays.</a:t>
            </a:r>
          </a:p>
          <a:p>
            <a:pPr>
              <a:buNone/>
            </a:pPr>
            <a:r>
              <a:rPr lang="en-US"/>
              <a:t>Maximum capacity is 88 pax. But post CB period, we have capped it at 50 pax due to Safe Measurement Measures (SMM)</a:t>
            </a:r>
          </a:p>
          <a:p>
            <a:pPr>
              <a:buNone/>
            </a:pPr>
            <a:endParaRPr lang="en-US"/>
          </a:p>
          <a:p>
            <a:pPr>
              <a:buNone/>
            </a:pPr>
            <a:endParaRPr lang="en-US"/>
          </a:p>
          <a:p>
            <a:pPr>
              <a:buNone/>
            </a:pPr>
            <a:endParaRPr lang="en-US"/>
          </a:p>
          <a:p>
            <a:pPr>
              <a:buNone/>
            </a:pPr>
            <a:r>
              <a:rPr lang="en-US"/>
              <a:t>Suggestion for Q&amp;A:</a:t>
            </a:r>
          </a:p>
          <a:p>
            <a:pPr>
              <a:buNone/>
            </a:pPr>
            <a:r>
              <a:rPr lang="en-US"/>
              <a:t>Improve on the passenger detection and counting system for better accuracy and reliability</a:t>
            </a:r>
          </a:p>
          <a:p>
            <a:pPr marL="171450" indent="-171450"/>
            <a:endParaRPr lang="en-US"/>
          </a:p>
          <a:p>
            <a:pPr marL="171450" indent="-171450"/>
            <a:endParaRPr lang="en-US"/>
          </a:p>
          <a:p>
            <a:pPr marL="171450" indent="-171450"/>
            <a:r>
              <a:rPr lang="en-US"/>
              <a:t>- Compare analytics based on new predicted bus frequency vs </a:t>
            </a:r>
          </a:p>
          <a:p>
            <a:pPr marL="171450" indent="-171450"/>
            <a:endParaRPr lang="en-US"/>
          </a:p>
          <a:p>
            <a:pPr>
              <a:buNone/>
            </a:pPr>
            <a:endParaRPr lang="en-US"/>
          </a:p>
          <a:p>
            <a:pPr>
              <a:buNone/>
            </a:pPr>
            <a:endParaRPr lang="en-US"/>
          </a:p>
          <a:p>
            <a:pPr>
              <a:buNone/>
            </a:pPr>
            <a:endParaRPr lang="en-US"/>
          </a:p>
          <a:p>
            <a:pPr>
              <a:buNone/>
            </a:pPr>
            <a:r>
              <a:rPr lang="en-US"/>
              <a:t>What other analytics we could do with more data:</a:t>
            </a:r>
          </a:p>
          <a:p>
            <a:pPr>
              <a:buNone/>
            </a:pPr>
            <a:endParaRPr lang="en-US"/>
          </a:p>
          <a:p>
            <a:pPr>
              <a:buNone/>
            </a:pPr>
            <a:r>
              <a:rPr lang="en-US"/>
              <a:t>List down additional analytics that could be done if more data were available. A good starting point could be by revisiting your assumptions or inferences made in situations where you did not have the exact data you needed</a:t>
            </a:r>
          </a:p>
          <a:p>
            <a:pPr>
              <a:buNone/>
            </a:pPr>
            <a:endParaRPr lang="en-US"/>
          </a:p>
          <a:p>
            <a:pPr>
              <a:buNone/>
            </a:pPr>
            <a:r>
              <a:rPr lang="en-US"/>
              <a:t>How we could operationalize:</a:t>
            </a:r>
          </a:p>
          <a:p>
            <a:pPr>
              <a:spcAft>
                <a:spcPts val="0"/>
              </a:spcAft>
              <a:buNone/>
            </a:pPr>
            <a:endParaRPr lang="en-US"/>
          </a:p>
          <a:p>
            <a:pPr>
              <a:spcAft>
                <a:spcPts val="0"/>
              </a:spcAft>
              <a:buNone/>
            </a:pPr>
            <a:r>
              <a:rPr lang="en-US"/>
              <a:t>Think about tangible next steps to execute the use-case</a:t>
            </a:r>
          </a:p>
          <a:p>
            <a:pPr>
              <a:spcAft>
                <a:spcPts val="0"/>
              </a:spcAft>
              <a:buNone/>
            </a:pPr>
            <a:r>
              <a:rPr lang="en-US"/>
              <a:t>For example,</a:t>
            </a:r>
          </a:p>
          <a:p>
            <a:pPr marL="323850" lvl="1" indent="-215900">
              <a:spcAft>
                <a:spcPts val="0"/>
              </a:spcAft>
              <a:buFont typeface="Trebuchet MS,Sans-Serif"/>
              <a:buChar char="•"/>
            </a:pPr>
            <a:r>
              <a:rPr lang="en-US"/>
              <a:t>Validate assumptions</a:t>
            </a:r>
          </a:p>
          <a:p>
            <a:pPr marL="323850" lvl="1" indent="-215900">
              <a:spcAft>
                <a:spcPts val="0"/>
              </a:spcAft>
              <a:buFont typeface="Trebuchet MS,Sans-Serif"/>
              <a:buChar char="•"/>
            </a:pPr>
            <a:r>
              <a:rPr lang="en-US"/>
              <a:t>Map out limitations of data. Identify solutions to solve the limitations</a:t>
            </a:r>
          </a:p>
          <a:p>
            <a:pPr marL="323850" lvl="1" indent="-215900">
              <a:spcAft>
                <a:spcPts val="0"/>
              </a:spcAft>
              <a:buFont typeface="Trebuchet MS,Sans-Serif"/>
              <a:buChar char="•"/>
            </a:pPr>
            <a:r>
              <a:rPr lang="en-US"/>
              <a:t>Identify risks </a:t>
            </a:r>
          </a:p>
          <a:p>
            <a:pPr marL="323850" lvl="1" indent="-215900">
              <a:spcAft>
                <a:spcPts val="0"/>
              </a:spcAft>
              <a:buFont typeface="Trebuchet MS,Sans-Serif"/>
              <a:buChar char="•"/>
            </a:pPr>
            <a:r>
              <a:rPr lang="en-US"/>
              <a:t>Gauge impact on results/sensitivity analysis</a:t>
            </a:r>
          </a:p>
          <a:p>
            <a:pPr marL="323850" lvl="1" indent="-215900">
              <a:spcAft>
                <a:spcPts val="0"/>
              </a:spcAft>
              <a:buFont typeface="Trebuchet MS,Sans-Serif"/>
              <a:buChar char="•"/>
            </a:pPr>
            <a:r>
              <a:rPr lang="en-US"/>
              <a:t>Engage key stakeholders</a:t>
            </a:r>
          </a:p>
          <a:p>
            <a:pPr marL="323850" lvl="1" indent="-215900">
              <a:spcAft>
                <a:spcPts val="0"/>
              </a:spcAft>
              <a:buFont typeface="Trebuchet MS,Sans-Serif"/>
              <a:buChar char="•"/>
            </a:pPr>
            <a:r>
              <a:rPr lang="en-US"/>
              <a:t>Create detailed business plan</a:t>
            </a:r>
          </a:p>
          <a:p>
            <a:pPr marL="323850" lvl="1" indent="-215900">
              <a:spcAft>
                <a:spcPts val="0"/>
              </a:spcAft>
              <a:buFont typeface="Trebuchet MS,Sans-Serif"/>
              <a:buChar char="•"/>
            </a:pPr>
            <a:r>
              <a:rPr lang="en-US"/>
              <a:t>Submit proposal for approval </a:t>
            </a:r>
          </a:p>
          <a:p>
            <a:pPr marL="323850" lvl="1" indent="-215900">
              <a:spcAft>
                <a:spcPts val="0"/>
              </a:spcAft>
              <a:buFont typeface="Trebuchet MS,Sans-Serif"/>
              <a:buChar char="•"/>
            </a:pPr>
            <a:r>
              <a:rPr lang="en-US"/>
              <a:t>Etc.</a:t>
            </a:r>
          </a:p>
          <a:p>
            <a:pPr>
              <a:buNone/>
            </a:pPr>
            <a:endParaRPr lang="en-US"/>
          </a:p>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22723197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2476667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22837563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6</a:t>
            </a:fld>
            <a:endParaRPr lang="en-US"/>
          </a:p>
        </p:txBody>
      </p:sp>
    </p:spTree>
    <p:extLst>
      <p:ext uri="{BB962C8B-B14F-4D97-AF65-F5344CB8AC3E}">
        <p14:creationId xmlns:p14="http://schemas.microsoft.com/office/powerpoint/2010/main" val="429919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3853028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40596864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8</a:t>
            </a:fld>
            <a:endParaRPr lang="en-US"/>
          </a:p>
        </p:txBody>
      </p:sp>
    </p:spTree>
    <p:extLst>
      <p:ext uri="{BB962C8B-B14F-4D97-AF65-F5344CB8AC3E}">
        <p14:creationId xmlns:p14="http://schemas.microsoft.com/office/powerpoint/2010/main" val="23507655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8</a:t>
            </a:fld>
            <a:endParaRPr lang="en-US"/>
          </a:p>
        </p:txBody>
      </p:sp>
    </p:spTree>
    <p:extLst>
      <p:ext uri="{BB962C8B-B14F-4D97-AF65-F5344CB8AC3E}">
        <p14:creationId xmlns:p14="http://schemas.microsoft.com/office/powerpoint/2010/main" val="29163271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9</a:t>
            </a:fld>
            <a:endParaRPr lang="en-US"/>
          </a:p>
        </p:txBody>
      </p:sp>
    </p:spTree>
    <p:extLst>
      <p:ext uri="{BB962C8B-B14F-4D97-AF65-F5344CB8AC3E}">
        <p14:creationId xmlns:p14="http://schemas.microsoft.com/office/powerpoint/2010/main" val="17113518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0</a:t>
            </a:fld>
            <a:endParaRPr lang="en-US"/>
          </a:p>
        </p:txBody>
      </p:sp>
    </p:spTree>
    <p:extLst>
      <p:ext uri="{BB962C8B-B14F-4D97-AF65-F5344CB8AC3E}">
        <p14:creationId xmlns:p14="http://schemas.microsoft.com/office/powerpoint/2010/main" val="3849875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1</a:t>
            </a:fld>
            <a:endParaRPr lang="en-US"/>
          </a:p>
        </p:txBody>
      </p:sp>
    </p:spTree>
    <p:extLst>
      <p:ext uri="{BB962C8B-B14F-4D97-AF65-F5344CB8AC3E}">
        <p14:creationId xmlns:p14="http://schemas.microsoft.com/office/powerpoint/2010/main" val="8058408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a:t>Pandemic is accelerating global demand for remote connectivity services and moving Consumer spending towards Emerging Tech</a:t>
            </a:r>
            <a:endParaRPr lang="en-US"/>
          </a:p>
          <a:p>
            <a:r>
              <a:rPr lang="en-US"/>
              <a:t>In recent years when the whole world is living under the pandemic, Covid has catalyzed a perfect storm of events. Stay-at-home orders made home the center of everything and forced everything both work and leisure to be done digitally. This remote way of working has become a way of life for most and based on our analysis here, this trend is expected to continue after the pandemic ends.  </a:t>
            </a:r>
            <a:endParaRPr lang="en-US">
              <a:cs typeface="Calibri"/>
            </a:endParaRPr>
          </a:p>
          <a:p>
            <a:r>
              <a:rPr lang="en-US"/>
              <a:t> </a:t>
            </a:r>
            <a:endParaRPr lang="en-US">
              <a:cs typeface="Calibri"/>
            </a:endParaRPr>
          </a:p>
          <a:p>
            <a:r>
              <a:rPr lang="en-US"/>
              <a:t>A recent survey conducted in March 2020 by Gartner Inc with 317 Finance leaders worldwide asking them what percent of workforce that were not working remotely before Covid will remain working permanently remote after Covid. The survey results show 74% of respondents indicated they will move at least 5% of their previously on-site workforce to permanent remote positions after Covid. In fact, nearly a quarter (23%) said they will do that to least 20% of their on-site employees. This data is an example of the lasting impact the current coronavirus crisis will have on the way companies do business and how people like to continue to work and communicate going forward. </a:t>
            </a:r>
          </a:p>
          <a:p>
            <a:endParaRPr lang="en-US">
              <a:cs typeface="Calibri"/>
            </a:endParaRPr>
          </a:p>
          <a:p>
            <a:r>
              <a:rPr lang="en-US" u="sng">
                <a:hlinkClick r:id="rId3"/>
              </a:rPr>
              <a:t>https://www.gartner.com/en/newsroom/press-releases/2020-04-03-gartner-cfo-surey-reveals-74-percent-of-organizations-to-shift-some-employees-to-remote-work-permanently2</a:t>
            </a:r>
            <a:r>
              <a:rPr lang="en-US"/>
              <a:t> </a:t>
            </a:r>
            <a:endParaRPr lang="en-US">
              <a:cs typeface="Calibri"/>
            </a:endParaRPr>
          </a:p>
          <a:p>
            <a:endParaRPr lang="en-US">
              <a:cs typeface="Calibri"/>
            </a:endParaRPr>
          </a:p>
          <a:p>
            <a:r>
              <a:rPr lang="en-US"/>
              <a:t>Another trend worth noting is:  </a:t>
            </a:r>
            <a:endParaRPr lang="en-US">
              <a:cs typeface="Calibri"/>
            </a:endParaRPr>
          </a:p>
          <a:p>
            <a:r>
              <a:rPr lang="en-US"/>
              <a:t>Consumer technology spend is expected to reach USD 2.06 trillion by 2023.  </a:t>
            </a:r>
            <a:endParaRPr lang="en-US">
              <a:cs typeface="Calibri"/>
            </a:endParaRPr>
          </a:p>
          <a:p>
            <a:r>
              <a:rPr lang="en-US"/>
              <a:t>Although Traditional technology is expected to grow, it has reached a plateau and is growing at only a 5-year CAGR of 2% as compared to the Emerging technology which is growing at a 5-year CAGR of 13% that is about 6 times of Traditional tech.</a:t>
            </a:r>
            <a:endParaRPr lang="en-US">
              <a:cs typeface="Calibri"/>
            </a:endParaRPr>
          </a:p>
          <a:p>
            <a:r>
              <a:rPr lang="en-US"/>
              <a:t> </a:t>
            </a:r>
            <a:endParaRPr lang="en-US">
              <a:cs typeface="Calibri"/>
            </a:endParaRPr>
          </a:p>
          <a:p>
            <a:r>
              <a:rPr lang="en-US"/>
              <a:t>The Augmented Reality (AR) technology which is one of our company strengths is an Emerging Technology that is in a favorable position to ride this upward spend. </a:t>
            </a:r>
            <a:endParaRPr lang="en-US">
              <a:cs typeface="Calibri"/>
            </a:endParaRPr>
          </a:p>
          <a:p>
            <a:r>
              <a:rPr lang="en-US"/>
              <a:t>Thus, we see an opportunity to make use of our expertise in AR to enhance Facetime into a global VCT tool for all users to capture these growing demands beyond the pandemic.</a:t>
            </a:r>
            <a:endParaRPr lang="en-US">
              <a:cs typeface="Calibri"/>
            </a:endParaRPr>
          </a:p>
          <a:p>
            <a:endParaRPr lang="en-US">
              <a:cs typeface="Calibri"/>
            </a:endParaRPr>
          </a:p>
          <a:p>
            <a:r>
              <a:rPr lang="en-US" u="sng"/>
              <a:t>Note: </a:t>
            </a:r>
            <a:endParaRPr lang="en-US">
              <a:cs typeface="Calibri"/>
            </a:endParaRPr>
          </a:p>
          <a:p>
            <a:pPr marL="171450" indent="-171450">
              <a:buFont typeface="Arial"/>
              <a:buChar char="•"/>
            </a:pPr>
            <a:r>
              <a:rPr lang="en-US"/>
              <a:t>Traditional - personal computing devices, mobile phones and mobile telecom - more recent years, advancements in hardware are mostly about slightly faster processors, more storage, better camera or better battery life.</a:t>
            </a:r>
            <a:endParaRPr lang="en-US">
              <a:cs typeface="Calibri"/>
            </a:endParaRPr>
          </a:p>
          <a:p>
            <a:pPr marL="171450" indent="-171450">
              <a:buFont typeface="Arial"/>
              <a:buChar char="•"/>
            </a:pPr>
            <a:r>
              <a:rPr lang="en-US"/>
              <a:t>Emerging - AR/VR headsets, drones, robotic systems, smart home devices, and wearables</a:t>
            </a:r>
            <a:endParaRPr lang="en-US">
              <a:cs typeface="Calibri"/>
            </a:endParaRPr>
          </a:p>
          <a:p>
            <a:r>
              <a:rPr lang="en-US"/>
              <a:t>1 </a:t>
            </a:r>
            <a:r>
              <a:rPr lang="en-US">
                <a:hlinkClick r:id="rId4"/>
              </a:rPr>
              <a:t>http://www3.weforum.org/docs/WEF_Future_of_Jobs_2020.pdf</a:t>
            </a:r>
            <a:endParaRPr lang="en-US"/>
          </a:p>
          <a:p>
            <a:r>
              <a:rPr lang="en-US"/>
              <a:t>2 </a:t>
            </a:r>
            <a:r>
              <a:rPr lang="en-US">
                <a:hlinkClick r:id="rId5"/>
              </a:rPr>
              <a:t>https://www.channelasia.tech/article/672259/hardware-software-services-how-covid-19-impacting-asian-tech-spend/</a:t>
            </a:r>
            <a:r>
              <a:rPr lang="en-US"/>
              <a:t> </a:t>
            </a:r>
            <a:endParaRPr lang="en-US">
              <a:cs typeface="Calibri"/>
            </a:endParaRPr>
          </a:p>
          <a:p>
            <a:r>
              <a:rPr lang="en-US" u="sng">
                <a:cs typeface="Calibri"/>
              </a:rPr>
              <a:t>3</a:t>
            </a:r>
            <a:r>
              <a:rPr lang="en-US">
                <a:cs typeface="Calibri"/>
                <a:hlinkClick r:id="rId6"/>
              </a:rPr>
              <a:t>https</a:t>
            </a:r>
            <a:r>
              <a:rPr lang="en-US">
                <a:hlinkClick r:id="rId6"/>
              </a:rPr>
              <a:t>://www.techrepublic.com/article/consumer-tech-spending-to-top-2-trillion-by-2023-thanks-to-smart-home-devices-and-on-demand-services/</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9DD33E55-FCBB-44D7-A8B3-34845DA0E318}" type="slidenum">
              <a:rPr lang="en-US"/>
              <a:t>53</a:t>
            </a:fld>
            <a:endParaRPr lang="en-US"/>
          </a:p>
        </p:txBody>
      </p:sp>
    </p:spTree>
    <p:extLst>
      <p:ext uri="{BB962C8B-B14F-4D97-AF65-F5344CB8AC3E}">
        <p14:creationId xmlns:p14="http://schemas.microsoft.com/office/powerpoint/2010/main" val="27003747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a:t>Another 2 reasons we should enhancing Facetime to enter the Global VCT is </a:t>
            </a:r>
          </a:p>
          <a:p>
            <a:r>
              <a:rPr lang="en-US"/>
              <a:t>1) </a:t>
            </a:r>
            <a:r>
              <a:rPr lang="en-US" b="1"/>
              <a:t>we can provide</a:t>
            </a:r>
            <a:r>
              <a:rPr lang="en-US"/>
              <a:t> </a:t>
            </a:r>
            <a:r>
              <a:rPr lang="en-US" b="1"/>
              <a:t>better data security n privacy</a:t>
            </a:r>
            <a:r>
              <a:rPr lang="en-US"/>
              <a:t> </a:t>
            </a:r>
            <a:endParaRPr lang="en-US">
              <a:cs typeface="Calibri"/>
            </a:endParaRPr>
          </a:p>
          <a:p>
            <a:r>
              <a:rPr lang="en-US"/>
              <a:t>and </a:t>
            </a:r>
            <a:endParaRPr lang="en-US">
              <a:cs typeface="Calibri"/>
            </a:endParaRPr>
          </a:p>
          <a:p>
            <a:r>
              <a:rPr lang="en-US"/>
              <a:t>2) we are the </a:t>
            </a:r>
            <a:r>
              <a:rPr lang="en-US" b="1"/>
              <a:t>Top brand in providing seamless experience</a:t>
            </a:r>
            <a:r>
              <a:rPr lang="en-US"/>
              <a:t> </a:t>
            </a:r>
            <a:endParaRPr lang="en-US">
              <a:cs typeface="Calibri"/>
            </a:endParaRPr>
          </a:p>
          <a:p>
            <a:r>
              <a:rPr lang="en-US"/>
              <a:t>  </a:t>
            </a:r>
            <a:endParaRPr lang="en-US">
              <a:cs typeface="Calibri"/>
            </a:endParaRPr>
          </a:p>
          <a:p>
            <a:r>
              <a:rPr lang="en-US"/>
              <a:t>First, let’s discuss about data security n privacy. </a:t>
            </a:r>
            <a:endParaRPr lang="en-US">
              <a:cs typeface="Calibri"/>
            </a:endParaRPr>
          </a:p>
          <a:p>
            <a:r>
              <a:rPr lang="en-US"/>
              <a:t>  </a:t>
            </a:r>
            <a:endParaRPr lang="en-US">
              <a:cs typeface="Calibri"/>
            </a:endParaRPr>
          </a:p>
          <a:p>
            <a:r>
              <a:rPr lang="en-US"/>
              <a:t>In term of </a:t>
            </a:r>
            <a:r>
              <a:rPr lang="en-US" b="1"/>
              <a:t>Data Security</a:t>
            </a:r>
            <a:r>
              <a:rPr lang="en-US"/>
              <a:t>, </a:t>
            </a:r>
            <a:endParaRPr lang="en-US">
              <a:cs typeface="Calibri"/>
            </a:endParaRPr>
          </a:p>
          <a:p>
            <a:r>
              <a:rPr lang="en-US"/>
              <a:t>Facetime and VCT market leader (Zoom) is using end-2-end encryption </a:t>
            </a:r>
            <a:endParaRPr lang="en-US">
              <a:cs typeface="Calibri"/>
            </a:endParaRPr>
          </a:p>
          <a:p>
            <a:r>
              <a:rPr lang="en-US"/>
              <a:t>Facetime is free for all, while Zoom provide end-to-end encryption only for paid user. </a:t>
            </a:r>
            <a:endParaRPr lang="en-US">
              <a:cs typeface="Calibri"/>
            </a:endParaRPr>
          </a:p>
          <a:p>
            <a:r>
              <a:rPr lang="en-US"/>
              <a:t>This means, if you’re Zoom’s free user, that your data has potential risk for unauthorized access. </a:t>
            </a:r>
            <a:endParaRPr lang="en-US">
              <a:cs typeface="Calibri"/>
            </a:endParaRPr>
          </a:p>
          <a:p>
            <a:r>
              <a:rPr lang="en-US"/>
              <a:t>  </a:t>
            </a:r>
            <a:endParaRPr lang="en-US">
              <a:cs typeface="Calibri"/>
            </a:endParaRPr>
          </a:p>
          <a:p>
            <a:r>
              <a:rPr lang="en-US"/>
              <a:t>In term of </a:t>
            </a:r>
            <a:r>
              <a:rPr lang="en-US" b="1"/>
              <a:t>Data Privacy</a:t>
            </a:r>
            <a:r>
              <a:rPr lang="en-US"/>
              <a:t>, </a:t>
            </a:r>
            <a:endParaRPr lang="en-US">
              <a:cs typeface="Calibri"/>
            </a:endParaRPr>
          </a:p>
          <a:p>
            <a:r>
              <a:rPr lang="en-US"/>
              <a:t>Chart here show we collect least data on its users as compares to its major tech competitors. We collect </a:t>
            </a:r>
            <a:r>
              <a:rPr lang="en-US" b="1"/>
              <a:t>MINIMUM data </a:t>
            </a:r>
            <a:r>
              <a:rPr lang="en-US"/>
              <a:t>to improve products, services, content. </a:t>
            </a:r>
            <a:endParaRPr lang="en-US">
              <a:cs typeface="Calibri"/>
            </a:endParaRPr>
          </a:p>
          <a:p>
            <a:r>
              <a:rPr lang="en-US"/>
              <a:t>Most importantly, we </a:t>
            </a:r>
            <a:r>
              <a:rPr lang="en-US" b="1"/>
              <a:t>DO NOT</a:t>
            </a:r>
            <a:r>
              <a:rPr lang="en-US"/>
              <a:t> share personal info with third parties for marketing purpose. </a:t>
            </a:r>
            <a:endParaRPr lang="en-US">
              <a:cs typeface="Calibri"/>
            </a:endParaRPr>
          </a:p>
          <a:p>
            <a:r>
              <a:rPr lang="en-US"/>
              <a:t>  </a:t>
            </a:r>
            <a:endParaRPr lang="en-US">
              <a:cs typeface="Calibri"/>
            </a:endParaRPr>
          </a:p>
          <a:p>
            <a:r>
              <a:rPr lang="en-US"/>
              <a:t>Next, let’s move to next topic of </a:t>
            </a:r>
            <a:r>
              <a:rPr lang="en-US" b="1"/>
              <a:t>Top brand in providing seamless experience</a:t>
            </a:r>
            <a:r>
              <a:rPr lang="en-US"/>
              <a:t> </a:t>
            </a:r>
            <a:endParaRPr lang="en-US">
              <a:cs typeface="Calibri"/>
            </a:endParaRPr>
          </a:p>
          <a:p>
            <a:r>
              <a:rPr lang="en-US"/>
              <a:t>  </a:t>
            </a:r>
            <a:endParaRPr lang="en-US">
              <a:cs typeface="Calibri"/>
            </a:endParaRPr>
          </a:p>
          <a:p>
            <a:r>
              <a:rPr lang="en-US"/>
              <a:t>Apple products and services are perceived to be better off. </a:t>
            </a:r>
            <a:endParaRPr lang="en-US">
              <a:cs typeface="Calibri"/>
            </a:endParaRPr>
          </a:p>
          <a:p>
            <a:r>
              <a:rPr lang="en-US"/>
              <a:t> In 2020, we r #1 most valuable tech company. </a:t>
            </a:r>
            <a:endParaRPr lang="en-US">
              <a:cs typeface="Calibri"/>
            </a:endParaRPr>
          </a:p>
          <a:p>
            <a:r>
              <a:rPr lang="en-US"/>
              <a:t>Besides, we have </a:t>
            </a:r>
            <a:r>
              <a:rPr lang="en-US" b="1"/>
              <a:t>Strong in-house Ecosystem </a:t>
            </a:r>
            <a:r>
              <a:rPr lang="en-US"/>
              <a:t>to seamlessly integrate and optimize between devices, applications, software and service. </a:t>
            </a:r>
            <a:endParaRPr lang="en-US">
              <a:cs typeface="Calibri"/>
            </a:endParaRPr>
          </a:p>
          <a:p>
            <a:r>
              <a:rPr lang="en-US"/>
              <a:t>  </a:t>
            </a:r>
            <a:endParaRPr lang="en-US">
              <a:cs typeface="Calibri"/>
            </a:endParaRPr>
          </a:p>
          <a:p>
            <a:r>
              <a:rPr lang="en-US"/>
              <a:t>In summary, we would like to recommend to enhance Facetime to enter global-VCT market. Because of growing demand, our strengths in data security n privacy and top brand in providing seamless experience. </a:t>
            </a:r>
            <a:endParaRPr lang="en-US">
              <a:cs typeface="Calibri"/>
            </a:endParaRPr>
          </a:p>
          <a:p>
            <a:r>
              <a:rPr lang="en-US"/>
              <a:t>  </a:t>
            </a:r>
            <a:endParaRPr lang="en-US">
              <a:cs typeface="Calibri"/>
            </a:endParaRPr>
          </a:p>
          <a:p>
            <a:r>
              <a:rPr lang="en-US"/>
              <a:t>With this, we are now welcome for any questions. </a:t>
            </a:r>
            <a:endParaRPr lang="en-US">
              <a:cs typeface="Calibri"/>
            </a:endParaRPr>
          </a:p>
        </p:txBody>
      </p:sp>
      <p:sp>
        <p:nvSpPr>
          <p:cNvPr id="4" name="Slide Number Placeholder 3"/>
          <p:cNvSpPr>
            <a:spLocks noGrp="1"/>
          </p:cNvSpPr>
          <p:nvPr>
            <p:ph type="sldNum" sz="quarter" idx="5"/>
          </p:nvPr>
        </p:nvSpPr>
        <p:spPr/>
        <p:txBody>
          <a:bodyPr/>
          <a:lstStyle/>
          <a:p>
            <a:fld id="{9DD33E55-FCBB-44D7-A8B3-34845DA0E318}" type="slidenum">
              <a:rPr lang="en-US"/>
              <a:t>54</a:t>
            </a:fld>
            <a:endParaRPr lang="en-US"/>
          </a:p>
        </p:txBody>
      </p:sp>
    </p:spTree>
    <p:extLst>
      <p:ext uri="{BB962C8B-B14F-4D97-AF65-F5344CB8AC3E}">
        <p14:creationId xmlns:p14="http://schemas.microsoft.com/office/powerpoint/2010/main" val="917667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5</a:t>
            </a:fld>
            <a:endParaRPr lang="en-US"/>
          </a:p>
        </p:txBody>
      </p:sp>
    </p:spTree>
    <p:extLst>
      <p:ext uri="{BB962C8B-B14F-4D97-AF65-F5344CB8AC3E}">
        <p14:creationId xmlns:p14="http://schemas.microsoft.com/office/powerpoint/2010/main" val="37612370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6</a:t>
            </a:fld>
            <a:endParaRPr lang="en-US"/>
          </a:p>
        </p:txBody>
      </p:sp>
    </p:spTree>
    <p:extLst>
      <p:ext uri="{BB962C8B-B14F-4D97-AF65-F5344CB8AC3E}">
        <p14:creationId xmlns:p14="http://schemas.microsoft.com/office/powerpoint/2010/main" val="1662884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r>
              <a:rPr lang="en-US"/>
              <a:t>1) Predictive approach to deploying bus versus current fixed frequency approach</a:t>
            </a:r>
          </a:p>
          <a:p>
            <a:pPr>
              <a:spcAft>
                <a:spcPts val="0"/>
              </a:spcAft>
              <a:buNone/>
            </a:pPr>
            <a:r>
              <a:rPr lang="en-US"/>
              <a:t>2) Cost savings – reducing bus frequency in off peak time to reduce under-utilized bus or having smaller capacity buses?</a:t>
            </a:r>
          </a:p>
          <a:p>
            <a:pPr>
              <a:spcAft>
                <a:spcPts val="0"/>
              </a:spcAft>
              <a:buNone/>
            </a:pPr>
            <a:r>
              <a:rPr lang="en-US"/>
              <a:t>3) Improve customer experience for them to have real time bus information readily available to allow them to better plan their time so they can spend more time at attractions and amenities and less time waiting at bus stop. </a:t>
            </a:r>
          </a:p>
          <a:p>
            <a:pPr>
              <a:spcAft>
                <a:spcPts val="0"/>
              </a:spcAft>
              <a:buNone/>
            </a:pPr>
            <a:r>
              <a:rPr lang="en-US"/>
              <a:t>4) Featuring it in Sentosa App will also increase chances of customer using the other features in the App (Attractions, F&amp;B info and promotions, </a:t>
            </a:r>
            <a:r>
              <a:rPr lang="en-US" err="1"/>
              <a:t>etc</a:t>
            </a:r>
            <a:r>
              <a:rPr lang="en-US"/>
              <a:t>). </a:t>
            </a:r>
          </a:p>
          <a:p>
            <a:pPr>
              <a:spcAft>
                <a:spcPts val="0"/>
              </a:spcAft>
              <a:buNone/>
            </a:pPr>
            <a:endParaRPr lang="en-US"/>
          </a:p>
          <a:p>
            <a:pPr>
              <a:lnSpc>
                <a:spcPct val="90000"/>
              </a:lnSpc>
              <a:spcBef>
                <a:spcPct val="0"/>
              </a:spcBef>
              <a:buNone/>
            </a:pPr>
            <a:r>
              <a:rPr lang="en-US" err="1"/>
              <a:t>Optimise</a:t>
            </a:r>
            <a:r>
              <a:rPr lang="en-US"/>
              <a:t> bus frequency through according to ridership demands during peak hours to better manage the surge in bus riders for x main reasons: </a:t>
            </a:r>
          </a:p>
          <a:p>
            <a:pPr>
              <a:lnSpc>
                <a:spcPct val="90000"/>
              </a:lnSpc>
              <a:spcBef>
                <a:spcPct val="0"/>
              </a:spcBef>
              <a:buNone/>
            </a:pPr>
            <a:r>
              <a:rPr lang="en-US"/>
              <a:t>1. Route X has the highest demand in bus ridership </a:t>
            </a:r>
          </a:p>
          <a:p>
            <a:pPr>
              <a:lnSpc>
                <a:spcPct val="90000"/>
              </a:lnSpc>
              <a:spcBef>
                <a:spcPct val="0"/>
              </a:spcBef>
              <a:buNone/>
            </a:pPr>
            <a:r>
              <a:rPr lang="en-US"/>
              <a:t>2. Popularity zones are mostly surrounded by </a:t>
            </a:r>
          </a:p>
          <a:p>
            <a:pPr>
              <a:lnSpc>
                <a:spcPct val="90000"/>
              </a:lnSpc>
              <a:spcBef>
                <a:spcPct val="0"/>
              </a:spcBef>
              <a:buNone/>
            </a:pPr>
            <a:r>
              <a:rPr lang="en-US"/>
              <a:t>3. Top bus stops </a:t>
            </a:r>
          </a:p>
          <a:p>
            <a:pPr>
              <a:lnSpc>
                <a:spcPct val="90000"/>
              </a:lnSpc>
              <a:spcBef>
                <a:spcPct val="0"/>
              </a:spcBef>
              <a:buNone/>
            </a:pPr>
            <a:r>
              <a:rPr lang="en-US"/>
              <a:t>4. Peak hours are</a:t>
            </a:r>
          </a:p>
          <a:p>
            <a:pPr>
              <a:lnSpc>
                <a:spcPct val="90000"/>
              </a:lnSpc>
              <a:spcBef>
                <a:spcPct val="0"/>
              </a:spcBef>
              <a:buNone/>
            </a:pPr>
            <a:endParaRPr lang="en-US"/>
          </a:p>
          <a:p>
            <a:pPr>
              <a:lnSpc>
                <a:spcPct val="90000"/>
              </a:lnSpc>
              <a:spcBef>
                <a:spcPct val="0"/>
              </a:spcBef>
              <a:buNone/>
            </a:pPr>
            <a:r>
              <a:rPr lang="en-US"/>
              <a:t>Reduce the average waiting time of buses at bus stops by X%, increase the overall customer satisfaction by X% with bus riders not missing more than a bus.</a:t>
            </a:r>
          </a:p>
          <a:p>
            <a:pPr>
              <a:spcAft>
                <a:spcPts val="0"/>
              </a:spcAft>
              <a:buNone/>
            </a:pPr>
            <a:endParaRPr lang="en-US"/>
          </a:p>
          <a:p>
            <a:pPr>
              <a:lnSpc>
                <a:spcPct val="90000"/>
              </a:lnSpc>
              <a:spcBef>
                <a:spcPct val="0"/>
              </a:spcBef>
              <a:buNone/>
            </a:pPr>
            <a:endParaRPr lang="en-US"/>
          </a:p>
          <a:p>
            <a:pPr>
              <a:lnSpc>
                <a:spcPct val="90000"/>
              </a:lnSpc>
              <a:spcBef>
                <a:spcPct val="0"/>
              </a:spcBef>
              <a:buNone/>
            </a:pPr>
            <a:endParaRPr lang="en-US"/>
          </a:p>
          <a:p>
            <a:pPr>
              <a:lnSpc>
                <a:spcPct val="90000"/>
              </a:lnSpc>
              <a:spcBef>
                <a:spcPct val="0"/>
              </a:spcBef>
              <a:buNone/>
            </a:pPr>
            <a:endParaRPr lang="en-US"/>
          </a:p>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13301371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7</a:t>
            </a:fld>
            <a:endParaRPr lang="en-US"/>
          </a:p>
        </p:txBody>
      </p:sp>
    </p:spTree>
    <p:extLst>
      <p:ext uri="{BB962C8B-B14F-4D97-AF65-F5344CB8AC3E}">
        <p14:creationId xmlns:p14="http://schemas.microsoft.com/office/powerpoint/2010/main" val="41672332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8</a:t>
            </a:fld>
            <a:endParaRPr lang="en-US"/>
          </a:p>
        </p:txBody>
      </p:sp>
    </p:spTree>
    <p:extLst>
      <p:ext uri="{BB962C8B-B14F-4D97-AF65-F5344CB8AC3E}">
        <p14:creationId xmlns:p14="http://schemas.microsoft.com/office/powerpoint/2010/main" val="29711708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9</a:t>
            </a:fld>
            <a:endParaRPr lang="en-US"/>
          </a:p>
        </p:txBody>
      </p:sp>
    </p:spTree>
    <p:extLst>
      <p:ext uri="{BB962C8B-B14F-4D97-AF65-F5344CB8AC3E}">
        <p14:creationId xmlns:p14="http://schemas.microsoft.com/office/powerpoint/2010/main" val="32421848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0</a:t>
            </a:fld>
            <a:endParaRPr lang="en-US"/>
          </a:p>
        </p:txBody>
      </p:sp>
    </p:spTree>
    <p:extLst>
      <p:ext uri="{BB962C8B-B14F-4D97-AF65-F5344CB8AC3E}">
        <p14:creationId xmlns:p14="http://schemas.microsoft.com/office/powerpoint/2010/main" val="2040949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latin typeface="Calibri"/>
                <a:cs typeface="Calibri"/>
              </a:rPr>
              <a:t>Thus, we frame the problem statement to "how might we provide better allocation of buses to routes/stopes to cater for ridership demands?"</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3017492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SG"/>
              <a:t>We apply a data driven approach to our solution wherein :-</a:t>
            </a:r>
          </a:p>
          <a:p>
            <a:endParaRPr lang="en-SG"/>
          </a:p>
          <a:p>
            <a:r>
              <a:rPr lang="en-SG"/>
              <a:t>1) Research, Formulate the problem and Hypothesize our problems/assumptions</a:t>
            </a:r>
          </a:p>
          <a:p>
            <a:r>
              <a:rPr lang="en-SG"/>
              <a:t>2) Took the data provided and obtained from external to process the data </a:t>
            </a:r>
          </a:p>
          <a:p>
            <a:r>
              <a:rPr lang="en-SG"/>
              <a:t>3) Analyse and obtain insights on the cleansed data</a:t>
            </a:r>
          </a:p>
          <a:p>
            <a:r>
              <a:rPr lang="en-SG"/>
              <a:t>4) Select unique feature and creates new features </a:t>
            </a:r>
          </a:p>
          <a:p>
            <a:r>
              <a:rPr lang="en-SG"/>
              <a:t>5) Build, test and train model to come up with a model that generates predictions with reasonably reliable predictions. </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1645038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SG"/>
              <a:t>Note: Analysing based average of total ridership</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3078423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SG"/>
              <a:t>Next we went to plot a graph from Jan to March to analyse the highest number of ridership at the time of the day. </a:t>
            </a:r>
          </a:p>
          <a:p>
            <a:r>
              <a:rPr lang="en-SG"/>
              <a:t> </a:t>
            </a:r>
          </a:p>
          <a:p>
            <a:r>
              <a:rPr lang="en-SG"/>
              <a:t>We wanted to test our hypothesis if more visitors take the bus in the afternoon compared to other times of the day.</a:t>
            </a:r>
          </a:p>
          <a:p>
            <a:r>
              <a:rPr lang="en-SG"/>
              <a:t>From this graph, we are able to tell that the peak period is in the afternoon is TRUE and congestion will usually happen in the afternoon.</a:t>
            </a:r>
          </a:p>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a:p>
        </p:txBody>
      </p:sp>
    </p:spTree>
    <p:extLst>
      <p:ext uri="{BB962C8B-B14F-4D97-AF65-F5344CB8AC3E}">
        <p14:creationId xmlns:p14="http://schemas.microsoft.com/office/powerpoint/2010/main" val="42436677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endParaRPr lang="en-SG"/>
          </a:p>
          <a:p>
            <a:r>
              <a:rPr lang="en-SG"/>
              <a:t>On the next slide, we will show you the popularity score for each bus stops. </a:t>
            </a:r>
          </a:p>
          <a:p>
            <a:r>
              <a:rPr lang="en-SG"/>
              <a:t> </a:t>
            </a:r>
          </a:p>
          <a:p>
            <a:r>
              <a:rPr lang="en-SG"/>
              <a:t>By setting Attractions as the highest weightage to </a:t>
            </a:r>
            <a:r>
              <a:rPr lang="en-SG" err="1"/>
              <a:t>calcuate</a:t>
            </a:r>
            <a:r>
              <a:rPr lang="en-SG"/>
              <a:t> the popularity factor,</a:t>
            </a:r>
          </a:p>
          <a:p>
            <a:r>
              <a:rPr lang="en-SG"/>
              <a:t>We can see that </a:t>
            </a:r>
            <a:r>
              <a:rPr lang="en-SG" err="1"/>
              <a:t>Imbiah</a:t>
            </a:r>
            <a:r>
              <a:rPr lang="en-SG"/>
              <a:t> Lookout is one of the top stations with high Popularity score. This means that the high total ridership is affected by the popularity factor.</a:t>
            </a:r>
          </a:p>
          <a:p>
            <a:endParaRPr lang="en-SG"/>
          </a:p>
          <a:p>
            <a:pPr marL="171450" indent="-171450">
              <a:spcAft>
                <a:spcPts val="0"/>
              </a:spcAft>
            </a:pPr>
            <a:r>
              <a:rPr lang="en-SG"/>
              <a:t>--------------------------------------------------------------</a:t>
            </a:r>
          </a:p>
          <a:p>
            <a:pPr marL="171450" indent="-171450">
              <a:spcAft>
                <a:spcPts val="0"/>
              </a:spcAft>
            </a:pPr>
            <a:r>
              <a:rPr lang="en-SG"/>
              <a:t>The top 3 bus stops have similar results in Total Ridership for Bus Stops and Popularity Factor.</a:t>
            </a:r>
          </a:p>
          <a:p>
            <a:pPr marL="171450" indent="-171450">
              <a:spcAft>
                <a:spcPts val="0"/>
              </a:spcAft>
            </a:pPr>
            <a:endParaRPr lang="en-SG"/>
          </a:p>
          <a:p>
            <a:pPr marL="171450" indent="-171450">
              <a:spcAft>
                <a:spcPts val="0"/>
              </a:spcAft>
            </a:pPr>
            <a:r>
              <a:rPr lang="en-SG"/>
              <a:t>We can claim that the total ridership for bus stops has a correlation with Popularity factor. </a:t>
            </a:r>
            <a:endParaRPr lang="en-US"/>
          </a:p>
          <a:p>
            <a:pPr marL="171450" indent="-171450"/>
            <a:r>
              <a:rPr lang="en-SG"/>
              <a:t>The higher the Popularity Factor, the higher the total ridership for that bus stop.</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27650678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a:p>
            <a:r>
              <a:rPr lang="en-US"/>
              <a:t>These charts show the comparison at </a:t>
            </a:r>
            <a:r>
              <a:rPr lang="en-US" err="1"/>
              <a:t>imbiah</a:t>
            </a:r>
            <a:r>
              <a:rPr lang="en-US"/>
              <a:t> between the current hourly bus frequency and the min bus frequency required to support actual ridership based on a bus capacity of 50pax.</a:t>
            </a:r>
            <a:r>
              <a:rPr lang="en-SG"/>
              <a:t> </a:t>
            </a:r>
          </a:p>
          <a:p>
            <a:r>
              <a:rPr lang="en-US"/>
              <a:t>The blue line refer to the highest number of buses currently deployed in each hourly interval between </a:t>
            </a:r>
            <a:r>
              <a:rPr lang="en-US" err="1"/>
              <a:t>jan</a:t>
            </a:r>
            <a:r>
              <a:rPr lang="en-US"/>
              <a:t> to mar 2021, and the orange line refers to the number of buses usually deployed. The green line refers to the MINIMUM bus frequency required to support the current ridership at </a:t>
            </a:r>
            <a:r>
              <a:rPr lang="en-US" err="1"/>
              <a:t>imbiah</a:t>
            </a:r>
            <a:r>
              <a:rPr lang="en-US"/>
              <a:t>.</a:t>
            </a:r>
            <a:r>
              <a:rPr lang="en-SG"/>
              <a:t> </a:t>
            </a:r>
          </a:p>
          <a:p>
            <a:r>
              <a:rPr lang="en-US"/>
              <a:t>For weekdays, the highest and also usual number of buses deployed to </a:t>
            </a:r>
            <a:r>
              <a:rPr lang="en-US" err="1"/>
              <a:t>imbiah</a:t>
            </a:r>
            <a:r>
              <a:rPr lang="en-US"/>
              <a:t> is 8 buses, peaking at 9 buses during the 1700hours and 2100hours. the minimum number of buses required is between 1 to 2 buses per hour.</a:t>
            </a:r>
            <a:r>
              <a:rPr lang="en-SG"/>
              <a:t> </a:t>
            </a:r>
          </a:p>
          <a:p>
            <a:r>
              <a:rPr lang="en-US"/>
              <a:t>For weekends, the highest number of buses deployed to </a:t>
            </a:r>
            <a:r>
              <a:rPr lang="en-US" err="1"/>
              <a:t>imbiah</a:t>
            </a:r>
            <a:r>
              <a:rPr lang="en-US"/>
              <a:t> is 10 buses between 1100hours and 1900hours, with 8 buses being the usual number sent. The MINIMUM number of buses required ranges between 1 to 5 buses per hour.</a:t>
            </a:r>
            <a:r>
              <a:rPr lang="en-SG"/>
              <a:t> </a:t>
            </a:r>
          </a:p>
          <a:p>
            <a:r>
              <a:rPr lang="en-US"/>
              <a:t>Do note the dips at 0700hours and 2200hours onwards when route C is not operating.</a:t>
            </a:r>
            <a:r>
              <a:rPr lang="en-SG"/>
              <a:t> </a:t>
            </a:r>
          </a:p>
          <a:p>
            <a:r>
              <a:rPr lang="en-US"/>
              <a:t>Based on these figures, the actual frequency of buses deployed within each hour for </a:t>
            </a:r>
            <a:r>
              <a:rPr lang="en-US" err="1"/>
              <a:t>Imbiah</a:t>
            </a:r>
            <a:r>
              <a:rPr lang="en-US"/>
              <a:t> Lookout could be higher than required. It is possible that some buses are </a:t>
            </a:r>
            <a:r>
              <a:rPr lang="en-US" err="1"/>
              <a:t>under-utilised</a:t>
            </a:r>
            <a:r>
              <a:rPr lang="en-US"/>
              <a:t> in the current fixed schedule bus model. There is room for consideration for a reduction in bus frequency: especially before 1200hours and after 1800hours.</a:t>
            </a:r>
            <a:r>
              <a:rPr lang="en-SG"/>
              <a:t> </a:t>
            </a:r>
          </a:p>
          <a:p>
            <a:r>
              <a:rPr lang="en-US"/>
              <a:t>Having said that, SDC has to find the balance between maintaining customer expectations and cost optimization. </a:t>
            </a:r>
            <a:endParaRPr lang="en-SG"/>
          </a:p>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3781114236"/>
      </p:ext>
    </p:extLst>
  </p:cSld>
  <p:clrMapOvr>
    <a:masterClrMapping/>
  </p:clrMapOvr>
</p:notes>
</file>

<file path=ppt/slideLayouts/_rels/slideLayout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23.xml"/><Relationship Id="rId7" Type="http://schemas.openxmlformats.org/officeDocument/2006/relationships/image" Target="../media/image9.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5.xml"/><Relationship Id="rId7" Type="http://schemas.openxmlformats.org/officeDocument/2006/relationships/image" Target="../media/image8.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8.xml"/><Relationship Id="rId7" Type="http://schemas.openxmlformats.org/officeDocument/2006/relationships/image" Target="../media/image8.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1.xml"/><Relationship Id="rId7" Type="http://schemas.openxmlformats.org/officeDocument/2006/relationships/image" Target="../media/image8.emf"/><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32.xml"/><Relationship Id="rId9"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4.xml"/><Relationship Id="rId7" Type="http://schemas.openxmlformats.org/officeDocument/2006/relationships/image" Target="../media/image8.emf"/><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12.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7.xml"/><Relationship Id="rId7" Type="http://schemas.openxmlformats.org/officeDocument/2006/relationships/image" Target="../media/image8.emf"/><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0.svg"/><Relationship Id="rId5" Type="http://schemas.openxmlformats.org/officeDocument/2006/relationships/slideMaster" Target="../slideMasters/slideMaster1.xml"/><Relationship Id="rId10" Type="http://schemas.openxmlformats.org/officeDocument/2006/relationships/image" Target="../media/image9.png"/><Relationship Id="rId4" Type="http://schemas.openxmlformats.org/officeDocument/2006/relationships/tags" Target="../tags/tag38.xml"/><Relationship Id="rId9"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40.xml"/><Relationship Id="rId7" Type="http://schemas.openxmlformats.org/officeDocument/2006/relationships/image" Target="../media/image8.emf"/><Relationship Id="rId2" Type="http://schemas.openxmlformats.org/officeDocument/2006/relationships/tags" Target="../tags/tag3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41.xml"/><Relationship Id="rId9"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43.xml"/><Relationship Id="rId7" Type="http://schemas.openxmlformats.org/officeDocument/2006/relationships/image" Target="../media/image8.emf"/><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44.xml"/><Relationship Id="rId9"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46.xml"/><Relationship Id="rId7" Type="http://schemas.openxmlformats.org/officeDocument/2006/relationships/image" Target="../media/image8.emf"/><Relationship Id="rId2" Type="http://schemas.openxmlformats.org/officeDocument/2006/relationships/tags" Target="../tags/tag4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9.xml"/><Relationship Id="rId7" Type="http://schemas.openxmlformats.org/officeDocument/2006/relationships/oleObject" Target="../embeddings/oleObject20.bin"/><Relationship Id="rId12" Type="http://schemas.openxmlformats.org/officeDocument/2006/relationships/image" Target="../media/image10.svg"/><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slideMaster" Target="../slideMasters/slideMaster1.xml"/><Relationship Id="rId11" Type="http://schemas.openxmlformats.org/officeDocument/2006/relationships/image" Target="../media/image9.png"/><Relationship Id="rId5" Type="http://schemas.openxmlformats.org/officeDocument/2006/relationships/tags" Target="../tags/tag51.xml"/><Relationship Id="rId10" Type="http://schemas.openxmlformats.org/officeDocument/2006/relationships/image" Target="../media/image14.png"/><Relationship Id="rId4" Type="http://schemas.openxmlformats.org/officeDocument/2006/relationships/tags" Target="../tags/tag50.xml"/><Relationship Id="rId9" Type="http://schemas.openxmlformats.org/officeDocument/2006/relationships/image" Target="../media/image11.jpeg"/></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7.xml"/><Relationship Id="rId7" Type="http://schemas.openxmlformats.org/officeDocument/2006/relationships/image" Target="../media/image3.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53.xml"/><Relationship Id="rId7" Type="http://schemas.openxmlformats.org/officeDocument/2006/relationships/image" Target="../media/image15.emf"/><Relationship Id="rId2" Type="http://schemas.openxmlformats.org/officeDocument/2006/relationships/tags" Target="../tags/tag5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6.xml"/><Relationship Id="rId7" Type="http://schemas.openxmlformats.org/officeDocument/2006/relationships/image" Target="../media/image8.emf"/><Relationship Id="rId2" Type="http://schemas.openxmlformats.org/officeDocument/2006/relationships/tags" Target="../tags/tag55.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14.png"/><Relationship Id="rId5" Type="http://schemas.openxmlformats.org/officeDocument/2006/relationships/slideMaster" Target="../slideMasters/slideMaster1.xml"/><Relationship Id="rId10" Type="http://schemas.openxmlformats.org/officeDocument/2006/relationships/image" Target="../media/image11.jpeg"/><Relationship Id="rId4" Type="http://schemas.openxmlformats.org/officeDocument/2006/relationships/tags" Target="../tags/tag57.xml"/><Relationship Id="rId9"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59.xml"/><Relationship Id="rId7" Type="http://schemas.openxmlformats.org/officeDocument/2006/relationships/image" Target="../media/image8.emf"/><Relationship Id="rId2" Type="http://schemas.openxmlformats.org/officeDocument/2006/relationships/tags" Target="../tags/tag5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60.xml"/><Relationship Id="rId9"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62.xml"/><Relationship Id="rId7" Type="http://schemas.openxmlformats.org/officeDocument/2006/relationships/image" Target="../media/image8.emf"/><Relationship Id="rId2" Type="http://schemas.openxmlformats.org/officeDocument/2006/relationships/tags" Target="../tags/tag6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65.xml"/><Relationship Id="rId7" Type="http://schemas.openxmlformats.org/officeDocument/2006/relationships/image" Target="../media/image8.emf"/><Relationship Id="rId2" Type="http://schemas.openxmlformats.org/officeDocument/2006/relationships/tags" Target="../tags/tag64.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66.xml"/><Relationship Id="rId9"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8.xml"/><Relationship Id="rId7"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1.xml"/><Relationship Id="rId4" Type="http://schemas.openxmlformats.org/officeDocument/2006/relationships/tags" Target="../tags/tag69.xml"/><Relationship Id="rId9" Type="http://schemas.openxmlformats.org/officeDocument/2006/relationships/image" Target="../media/image11.jpe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71.xml"/><Relationship Id="rId7" Type="http://schemas.openxmlformats.org/officeDocument/2006/relationships/image" Target="../media/image8.emf"/><Relationship Id="rId2" Type="http://schemas.openxmlformats.org/officeDocument/2006/relationships/tags" Target="../tags/tag70.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74.xml"/><Relationship Id="rId7" Type="http://schemas.openxmlformats.org/officeDocument/2006/relationships/image" Target="../media/image9.png"/><Relationship Id="rId2" Type="http://schemas.openxmlformats.org/officeDocument/2006/relationships/tags" Target="../tags/tag73.xml"/><Relationship Id="rId1" Type="http://schemas.openxmlformats.org/officeDocument/2006/relationships/vmlDrawing" Target="../drawings/vmlDrawing28.vml"/><Relationship Id="rId6" Type="http://schemas.openxmlformats.org/officeDocument/2006/relationships/image" Target="../media/image8.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76.xml"/><Relationship Id="rId7" Type="http://schemas.openxmlformats.org/officeDocument/2006/relationships/image" Target="../media/image11.jpeg"/><Relationship Id="rId2" Type="http://schemas.openxmlformats.org/officeDocument/2006/relationships/tags" Target="../tags/tag75.xml"/><Relationship Id="rId1" Type="http://schemas.openxmlformats.org/officeDocument/2006/relationships/vmlDrawing" Target="../drawings/vmlDrawing29.vml"/><Relationship Id="rId6" Type="http://schemas.openxmlformats.org/officeDocument/2006/relationships/image" Target="../media/image15.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77.xml"/><Relationship Id="rId1" Type="http://schemas.openxmlformats.org/officeDocument/2006/relationships/vmlDrawing" Target="../drawings/vmlDrawing3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78.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79.xml"/><Relationship Id="rId1" Type="http://schemas.openxmlformats.org/officeDocument/2006/relationships/vmlDrawing" Target="../drawings/vmlDrawing31.vml"/><Relationship Id="rId6" Type="http://schemas.openxmlformats.org/officeDocument/2006/relationships/image" Target="../media/image9.png"/><Relationship Id="rId5" Type="http://schemas.openxmlformats.org/officeDocument/2006/relationships/image" Target="../media/image17.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80.xml"/><Relationship Id="rId1" Type="http://schemas.openxmlformats.org/officeDocument/2006/relationships/vmlDrawing" Target="../drawings/vmlDrawing3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1.xml"/><Relationship Id="rId1" Type="http://schemas.openxmlformats.org/officeDocument/2006/relationships/vmlDrawing" Target="../drawings/vmlDrawing33.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83.xml"/><Relationship Id="rId7" Type="http://schemas.openxmlformats.org/officeDocument/2006/relationships/image" Target="../media/image3.jpeg"/><Relationship Id="rId2" Type="http://schemas.openxmlformats.org/officeDocument/2006/relationships/tags" Target="../tags/tag82.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85.xml"/><Relationship Id="rId7" Type="http://schemas.openxmlformats.org/officeDocument/2006/relationships/image" Target="../media/image3.jpeg"/><Relationship Id="rId2" Type="http://schemas.openxmlformats.org/officeDocument/2006/relationships/tags" Target="../tags/tag84.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7.xml"/><Relationship Id="rId7" Type="http://schemas.openxmlformats.org/officeDocument/2006/relationships/image" Target="../media/image5.jpeg"/><Relationship Id="rId2" Type="http://schemas.openxmlformats.org/officeDocument/2006/relationships/tags" Target="../tags/tag8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9.xml"/><Relationship Id="rId7" Type="http://schemas.openxmlformats.org/officeDocument/2006/relationships/image" Target="../media/image5.jpeg"/><Relationship Id="rId2" Type="http://schemas.openxmlformats.org/officeDocument/2006/relationships/tags" Target="../tags/tag8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91.xml"/><Relationship Id="rId7" Type="http://schemas.openxmlformats.org/officeDocument/2006/relationships/image" Target="../media/image6.jpeg"/><Relationship Id="rId2" Type="http://schemas.openxmlformats.org/officeDocument/2006/relationships/tags" Target="../tags/tag90.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7.jpeg"/><Relationship Id="rId2" Type="http://schemas.openxmlformats.org/officeDocument/2006/relationships/tags" Target="../tags/tag92.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97.xml"/><Relationship Id="rId7" Type="http://schemas.openxmlformats.org/officeDocument/2006/relationships/image" Target="../media/image9.png"/><Relationship Id="rId2" Type="http://schemas.openxmlformats.org/officeDocument/2006/relationships/tags" Target="../tags/tag96.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99.xml"/><Relationship Id="rId7" Type="http://schemas.openxmlformats.org/officeDocument/2006/relationships/image" Target="../media/image9.png"/><Relationship Id="rId2" Type="http://schemas.openxmlformats.org/officeDocument/2006/relationships/tags" Target="../tags/tag98.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1.xml"/><Relationship Id="rId7" Type="http://schemas.openxmlformats.org/officeDocument/2006/relationships/image" Target="../media/image9.png"/><Relationship Id="rId2" Type="http://schemas.openxmlformats.org/officeDocument/2006/relationships/tags" Target="../tags/tag100.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3.xml"/><Relationship Id="rId7" Type="http://schemas.openxmlformats.org/officeDocument/2006/relationships/image" Target="../media/image9.png"/><Relationship Id="rId2" Type="http://schemas.openxmlformats.org/officeDocument/2006/relationships/tags" Target="../tags/tag102.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5.xml"/><Relationship Id="rId7" Type="http://schemas.openxmlformats.org/officeDocument/2006/relationships/image" Target="../media/image9.png"/><Relationship Id="rId2" Type="http://schemas.openxmlformats.org/officeDocument/2006/relationships/tags" Target="../tags/tag104.xml"/><Relationship Id="rId1" Type="http://schemas.openxmlformats.org/officeDocument/2006/relationships/vmlDrawing" Target="../drawings/vmlDrawing45.vml"/><Relationship Id="rId6" Type="http://schemas.openxmlformats.org/officeDocument/2006/relationships/image" Target="../media/image8.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07.xml"/><Relationship Id="rId7" Type="http://schemas.openxmlformats.org/officeDocument/2006/relationships/image" Target="../media/image8.emf"/><Relationship Id="rId2" Type="http://schemas.openxmlformats.org/officeDocument/2006/relationships/tags" Target="../tags/tag106.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1.xml"/><Relationship Id="rId4" Type="http://schemas.openxmlformats.org/officeDocument/2006/relationships/tags" Target="../tags/tag108.xml"/><Relationship Id="rId9" Type="http://schemas.openxmlformats.org/officeDocument/2006/relationships/image" Target="../media/image12.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0.xml"/><Relationship Id="rId7" Type="http://schemas.openxmlformats.org/officeDocument/2006/relationships/image" Target="../media/image8.emf"/><Relationship Id="rId2" Type="http://schemas.openxmlformats.org/officeDocument/2006/relationships/tags" Target="../tags/tag109.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1.xml"/><Relationship Id="rId4" Type="http://schemas.openxmlformats.org/officeDocument/2006/relationships/tags" Target="../tags/tag111.xml"/><Relationship Id="rId9"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13.xml"/><Relationship Id="rId7" Type="http://schemas.openxmlformats.org/officeDocument/2006/relationships/image" Target="../media/image6.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3.xml"/><Relationship Id="rId7" Type="http://schemas.openxmlformats.org/officeDocument/2006/relationships/image" Target="../media/image8.emf"/><Relationship Id="rId2" Type="http://schemas.openxmlformats.org/officeDocument/2006/relationships/tags" Target="../tags/tag112.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Master" Target="../slideMasters/slideMaster1.xml"/><Relationship Id="rId4" Type="http://schemas.openxmlformats.org/officeDocument/2006/relationships/tags" Target="../tags/tag114.xml"/><Relationship Id="rId9" Type="http://schemas.openxmlformats.org/officeDocument/2006/relationships/image" Target="../media/image12.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6.xml"/><Relationship Id="rId7" Type="http://schemas.openxmlformats.org/officeDocument/2006/relationships/image" Target="../media/image8.emf"/><Relationship Id="rId2" Type="http://schemas.openxmlformats.org/officeDocument/2006/relationships/tags" Target="../tags/tag115.xml"/><Relationship Id="rId1" Type="http://schemas.openxmlformats.org/officeDocument/2006/relationships/vmlDrawing" Target="../drawings/vmlDrawing49.vml"/><Relationship Id="rId6" Type="http://schemas.openxmlformats.org/officeDocument/2006/relationships/oleObject" Target="../embeddings/oleObject49.bin"/><Relationship Id="rId11" Type="http://schemas.openxmlformats.org/officeDocument/2006/relationships/image" Target="../media/image12.png"/><Relationship Id="rId5" Type="http://schemas.openxmlformats.org/officeDocument/2006/relationships/slideMaster" Target="../slideMasters/slideMaster1.xml"/><Relationship Id="rId10" Type="http://schemas.openxmlformats.org/officeDocument/2006/relationships/image" Target="../media/image10.svg"/><Relationship Id="rId4" Type="http://schemas.openxmlformats.org/officeDocument/2006/relationships/tags" Target="../tags/tag117.xml"/><Relationship Id="rId9"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9.xml"/><Relationship Id="rId7" Type="http://schemas.openxmlformats.org/officeDocument/2006/relationships/image" Target="../media/image8.emf"/><Relationship Id="rId2" Type="http://schemas.openxmlformats.org/officeDocument/2006/relationships/tags" Target="../tags/tag118.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slideMaster" Target="../slideMasters/slideMaster1.xml"/><Relationship Id="rId4" Type="http://schemas.openxmlformats.org/officeDocument/2006/relationships/tags" Target="../tags/tag120.xml"/><Relationship Id="rId9" Type="http://schemas.openxmlformats.org/officeDocument/2006/relationships/image" Target="../media/image12.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22.xml"/><Relationship Id="rId7" Type="http://schemas.openxmlformats.org/officeDocument/2006/relationships/image" Target="../media/image8.emf"/><Relationship Id="rId2" Type="http://schemas.openxmlformats.org/officeDocument/2006/relationships/tags" Target="../tags/tag121.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Master" Target="../slideMasters/slideMaster1.xml"/><Relationship Id="rId4" Type="http://schemas.openxmlformats.org/officeDocument/2006/relationships/tags" Target="../tags/tag123.xml"/><Relationship Id="rId9" Type="http://schemas.openxmlformats.org/officeDocument/2006/relationships/image" Target="../media/image12.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25.xml"/><Relationship Id="rId7" Type="http://schemas.openxmlformats.org/officeDocument/2006/relationships/image" Target="../media/image15.emf"/><Relationship Id="rId2" Type="http://schemas.openxmlformats.org/officeDocument/2006/relationships/tags" Target="../tags/tag124.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Master" Target="../slideMasters/slideMaster1.xml"/><Relationship Id="rId4" Type="http://schemas.openxmlformats.org/officeDocument/2006/relationships/tags" Target="../tags/tag126.xml"/><Relationship Id="rId9" Type="http://schemas.openxmlformats.org/officeDocument/2006/relationships/image" Target="../media/image13.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28.xml"/><Relationship Id="rId7" Type="http://schemas.openxmlformats.org/officeDocument/2006/relationships/image" Target="../media/image8.emf"/><Relationship Id="rId2" Type="http://schemas.openxmlformats.org/officeDocument/2006/relationships/tags" Target="../tags/tag127.xml"/><Relationship Id="rId1" Type="http://schemas.openxmlformats.org/officeDocument/2006/relationships/vmlDrawing" Target="../drawings/vmlDrawing53.vml"/><Relationship Id="rId6" Type="http://schemas.openxmlformats.org/officeDocument/2006/relationships/oleObject" Target="../embeddings/oleObject53.bin"/><Relationship Id="rId11" Type="http://schemas.openxmlformats.org/officeDocument/2006/relationships/image" Target="../media/image10.svg"/><Relationship Id="rId5" Type="http://schemas.openxmlformats.org/officeDocument/2006/relationships/slideMaster" Target="../slideMasters/slideMaster1.xml"/><Relationship Id="rId10" Type="http://schemas.openxmlformats.org/officeDocument/2006/relationships/image" Target="../media/image9.png"/><Relationship Id="rId4" Type="http://schemas.openxmlformats.org/officeDocument/2006/relationships/tags" Target="../tags/tag129.xml"/><Relationship Id="rId9"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31.xml"/><Relationship Id="rId7" Type="http://schemas.openxmlformats.org/officeDocument/2006/relationships/image" Target="../media/image8.emf"/><Relationship Id="rId2" Type="http://schemas.openxmlformats.org/officeDocument/2006/relationships/tags" Target="../tags/tag130.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slideMaster" Target="../slideMasters/slideMaster1.xml"/><Relationship Id="rId4" Type="http://schemas.openxmlformats.org/officeDocument/2006/relationships/tags" Target="../tags/tag132.xml"/><Relationship Id="rId9" Type="http://schemas.openxmlformats.org/officeDocument/2006/relationships/image" Target="../media/image16.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34.xml"/><Relationship Id="rId7" Type="http://schemas.openxmlformats.org/officeDocument/2006/relationships/image" Target="../media/image8.emf"/><Relationship Id="rId2" Type="http://schemas.openxmlformats.org/officeDocument/2006/relationships/tags" Target="../tags/tag133.xml"/><Relationship Id="rId1" Type="http://schemas.openxmlformats.org/officeDocument/2006/relationships/vmlDrawing" Target="../drawings/vmlDrawing55.vml"/><Relationship Id="rId6" Type="http://schemas.openxmlformats.org/officeDocument/2006/relationships/oleObject" Target="../embeddings/oleObject55.bin"/><Relationship Id="rId11" Type="http://schemas.openxmlformats.org/officeDocument/2006/relationships/image" Target="../media/image11.jpeg"/><Relationship Id="rId5" Type="http://schemas.openxmlformats.org/officeDocument/2006/relationships/slideMaster" Target="../slideMasters/slideMaster1.xml"/><Relationship Id="rId10" Type="http://schemas.openxmlformats.org/officeDocument/2006/relationships/image" Target="../media/image10.svg"/><Relationship Id="rId4" Type="http://schemas.openxmlformats.org/officeDocument/2006/relationships/tags" Target="../tags/tag135.xml"/><Relationship Id="rId9"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37.xml"/><Relationship Id="rId7" Type="http://schemas.openxmlformats.org/officeDocument/2006/relationships/image" Target="../media/image8.emf"/><Relationship Id="rId2" Type="http://schemas.openxmlformats.org/officeDocument/2006/relationships/tags" Target="../tags/tag13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slideMaster" Target="../slideMasters/slideMaster1.xml"/><Relationship Id="rId4" Type="http://schemas.openxmlformats.org/officeDocument/2006/relationships/tags" Target="../tags/tag138.xml"/><Relationship Id="rId9" Type="http://schemas.openxmlformats.org/officeDocument/2006/relationships/image" Target="../media/image13.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0.xml"/><Relationship Id="rId7" Type="http://schemas.openxmlformats.org/officeDocument/2006/relationships/image" Target="../media/image8.emf"/><Relationship Id="rId2" Type="http://schemas.openxmlformats.org/officeDocument/2006/relationships/tags" Target="../tags/tag139.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Master" Target="../slideMasters/slideMaster1.xml"/><Relationship Id="rId4" Type="http://schemas.openxmlformats.org/officeDocument/2006/relationships/tags" Target="../tags/tag141.xml"/><Relationship Id="rId9"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3.xml"/><Relationship Id="rId7" Type="http://schemas.openxmlformats.org/officeDocument/2006/relationships/image" Target="../media/image8.emf"/><Relationship Id="rId2" Type="http://schemas.openxmlformats.org/officeDocument/2006/relationships/tags" Target="../tags/tag142.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slideMaster" Target="../slideMasters/slideMaster1.xml"/><Relationship Id="rId4" Type="http://schemas.openxmlformats.org/officeDocument/2006/relationships/tags" Target="../tags/tag144.xml"/><Relationship Id="rId9" Type="http://schemas.openxmlformats.org/officeDocument/2006/relationships/image" Target="../media/image13.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6.xml"/><Relationship Id="rId7" Type="http://schemas.openxmlformats.org/officeDocument/2006/relationships/image" Target="../media/image8.emf"/><Relationship Id="rId2" Type="http://schemas.openxmlformats.org/officeDocument/2006/relationships/tags" Target="../tags/tag145.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1.xml"/><Relationship Id="rId4" Type="http://schemas.openxmlformats.org/officeDocument/2006/relationships/tags" Target="../tags/tag147.xml"/><Relationship Id="rId9" Type="http://schemas.openxmlformats.org/officeDocument/2006/relationships/image" Target="../media/image14.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9.xml"/><Relationship Id="rId7" Type="http://schemas.openxmlformats.org/officeDocument/2006/relationships/image" Target="../media/image8.emf"/><Relationship Id="rId2" Type="http://schemas.openxmlformats.org/officeDocument/2006/relationships/tags" Target="../tags/tag148.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slideMaster" Target="../slideMasters/slideMaster1.xml"/><Relationship Id="rId4" Type="http://schemas.openxmlformats.org/officeDocument/2006/relationships/tags" Target="../tags/tag150.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52.xml"/><Relationship Id="rId7" Type="http://schemas.openxmlformats.org/officeDocument/2006/relationships/image" Target="../media/image9.png"/><Relationship Id="rId2" Type="http://schemas.openxmlformats.org/officeDocument/2006/relationships/tags" Target="../tags/tag151.xml"/><Relationship Id="rId1" Type="http://schemas.openxmlformats.org/officeDocument/2006/relationships/vmlDrawing" Target="../drawings/vmlDrawing61.vml"/><Relationship Id="rId6" Type="http://schemas.openxmlformats.org/officeDocument/2006/relationships/image" Target="../media/image8.emf"/><Relationship Id="rId5" Type="http://schemas.openxmlformats.org/officeDocument/2006/relationships/oleObject" Target="../embeddings/oleObject61.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4.xml"/><Relationship Id="rId7" Type="http://schemas.openxmlformats.org/officeDocument/2006/relationships/image" Target="../media/image11.jpeg"/><Relationship Id="rId2" Type="http://schemas.openxmlformats.org/officeDocument/2006/relationships/tags" Target="../tags/tag153.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56.xml"/><Relationship Id="rId7" Type="http://schemas.openxmlformats.org/officeDocument/2006/relationships/image" Target="../media/image11.jpeg"/><Relationship Id="rId2" Type="http://schemas.openxmlformats.org/officeDocument/2006/relationships/tags" Target="../tags/tag155.xml"/><Relationship Id="rId1" Type="http://schemas.openxmlformats.org/officeDocument/2006/relationships/vmlDrawing" Target="../drawings/vmlDrawing63.vml"/><Relationship Id="rId6" Type="http://schemas.openxmlformats.org/officeDocument/2006/relationships/image" Target="../media/image8.emf"/><Relationship Id="rId5" Type="http://schemas.openxmlformats.org/officeDocument/2006/relationships/oleObject" Target="../embeddings/oleObject63.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11.jpeg"/><Relationship Id="rId2" Type="http://schemas.openxmlformats.org/officeDocument/2006/relationships/tags" Target="../tags/tag157.xml"/><Relationship Id="rId1" Type="http://schemas.openxmlformats.org/officeDocument/2006/relationships/vmlDrawing" Target="../drawings/vmlDrawing64.vml"/><Relationship Id="rId6" Type="http://schemas.openxmlformats.org/officeDocument/2006/relationships/image" Target="../media/image8.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59.xml"/><Relationship Id="rId1" Type="http://schemas.openxmlformats.org/officeDocument/2006/relationships/vmlDrawing" Target="../drawings/vmlDrawing6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60.xml"/><Relationship Id="rId1" Type="http://schemas.openxmlformats.org/officeDocument/2006/relationships/vmlDrawing" Target="../drawings/vmlDrawing66.vml"/><Relationship Id="rId6" Type="http://schemas.openxmlformats.org/officeDocument/2006/relationships/image" Target="../media/image9.png"/><Relationship Id="rId5" Type="http://schemas.openxmlformats.org/officeDocument/2006/relationships/image" Target="../media/image17.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61.xml"/><Relationship Id="rId1" Type="http://schemas.openxmlformats.org/officeDocument/2006/relationships/vmlDrawing" Target="../drawings/vmlDrawing67.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62.xml"/><Relationship Id="rId1" Type="http://schemas.openxmlformats.org/officeDocument/2006/relationships/vmlDrawing" Target="../drawings/vmlDrawing6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64.xml"/><Relationship Id="rId7" Type="http://schemas.openxmlformats.org/officeDocument/2006/relationships/image" Target="../media/image1.emf"/><Relationship Id="rId2" Type="http://schemas.openxmlformats.org/officeDocument/2006/relationships/tags" Target="../tags/tag163.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slideMaster" Target="../slideMasters/slideMaster1.xml"/><Relationship Id="rId4" Type="http://schemas.openxmlformats.org/officeDocument/2006/relationships/tags" Target="../tags/tag165.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11.jpeg"/><Relationship Id="rId2" Type="http://schemas.openxmlformats.org/officeDocument/2006/relationships/tags" Target="../tags/tag166.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11.jpeg"/><Relationship Id="rId2" Type="http://schemas.openxmlformats.org/officeDocument/2006/relationships/tags" Target="../tags/tag168.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1.xml"/><Relationship Id="rId7" Type="http://schemas.openxmlformats.org/officeDocument/2006/relationships/image" Target="../media/image11.jpeg"/><Relationship Id="rId2" Type="http://schemas.openxmlformats.org/officeDocument/2006/relationships/tags" Target="../tags/tag17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10" Type="http://schemas.openxmlformats.org/officeDocument/2006/relationships/image" Target="../media/image10.sv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73.xml"/><Relationship Id="rId7" Type="http://schemas.openxmlformats.org/officeDocument/2006/relationships/image" Target="../media/image9.png"/><Relationship Id="rId2" Type="http://schemas.openxmlformats.org/officeDocument/2006/relationships/tags" Target="../tags/tag172.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74.xml"/><Relationship Id="rId1" Type="http://schemas.openxmlformats.org/officeDocument/2006/relationships/vmlDrawing" Target="../drawings/vmlDrawing7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75.xml"/><Relationship Id="rId1" Type="http://schemas.openxmlformats.org/officeDocument/2006/relationships/vmlDrawing" Target="../drawings/vmlDrawing75.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7.xml"/><Relationship Id="rId7" Type="http://schemas.openxmlformats.org/officeDocument/2006/relationships/image" Target="../media/image11.jpeg"/><Relationship Id="rId2" Type="http://schemas.openxmlformats.org/officeDocument/2006/relationships/tags" Target="../tags/tag176.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10" Type="http://schemas.openxmlformats.org/officeDocument/2006/relationships/image" Target="../media/image10.sv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79.xml"/><Relationship Id="rId7" Type="http://schemas.openxmlformats.org/officeDocument/2006/relationships/image" Target="../media/image11.jpeg"/><Relationship Id="rId2" Type="http://schemas.openxmlformats.org/officeDocument/2006/relationships/tags" Target="../tags/tag178.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67030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71C02377-276C-49B2-BE23-0112E35E3E57}"/>
              </a:ext>
            </a:extLst>
          </p:cNvPr>
          <p:cNvSpPr/>
          <p:nvPr userDrawn="1"/>
        </p:nvSpPr>
        <p:spPr>
          <a:xfrm>
            <a:off x="1" y="2012954"/>
            <a:ext cx="6857999" cy="3669029"/>
          </a:xfrm>
          <a:prstGeom prst="rect">
            <a:avLst/>
          </a:prstGeom>
          <a:solidFill>
            <a:srgbClr val="000000">
              <a:alpha val="8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9344639"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D87D93D-C714-4725-B025-4299225DC2B6}"/>
              </a:ext>
            </a:extLst>
          </p:cNvPr>
          <p:cNvGraphicFramePr>
            <a:graphicFrameLocks noChangeAspect="1"/>
          </p:cNvGraphicFramePr>
          <p:nvPr userDrawn="1">
            <p:custDataLst>
              <p:tags r:id="rId2"/>
            </p:custDataLst>
            <p:extLst>
              <p:ext uri="{D42A27DB-BD31-4B8C-83A1-F6EECF244321}">
                <p14:modId xmlns:p14="http://schemas.microsoft.com/office/powerpoint/2010/main" val="226968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2C3C1B-97ED-4332-A5A5-D8777D22DF6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7" name="Graphic 6">
            <a:extLst>
              <a:ext uri="{FF2B5EF4-FFF2-40B4-BE49-F238E27FC236}">
                <a16:creationId xmlns:a16="http://schemas.microsoft.com/office/drawing/2014/main" id="{698C6BC4-A6AD-4F3A-9F47-7232D6F87DC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8FFC59-4FB4-4B70-B838-12419AB05FED}"/>
              </a:ext>
            </a:extLst>
          </p:cNvPr>
          <p:cNvGraphicFramePr>
            <a:graphicFrameLocks noChangeAspect="1"/>
          </p:cNvGraphicFramePr>
          <p:nvPr userDrawn="1">
            <p:custDataLst>
              <p:tags r:id="rId2"/>
            </p:custDataLst>
            <p:extLst>
              <p:ext uri="{D42A27DB-BD31-4B8C-83A1-F6EECF244321}">
                <p14:modId xmlns:p14="http://schemas.microsoft.com/office/powerpoint/2010/main" val="355872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A0C79A9-8B24-4E90-94DA-3721827E861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0" name="Picture 9">
            <a:extLst>
              <a:ext uri="{FF2B5EF4-FFF2-40B4-BE49-F238E27FC236}">
                <a16:creationId xmlns:a16="http://schemas.microsoft.com/office/drawing/2014/main" id="{BFD6D521-B04A-4327-9917-15294CBD0A48}"/>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8A062ED3-CE63-4951-B77B-D6727A904343}"/>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06CC76-5B60-4504-B5B4-A6E7565515F2}"/>
              </a:ext>
            </a:extLst>
          </p:cNvPr>
          <p:cNvGraphicFramePr>
            <a:graphicFrameLocks noChangeAspect="1"/>
          </p:cNvGraphicFramePr>
          <p:nvPr userDrawn="1">
            <p:custDataLst>
              <p:tags r:id="rId2"/>
            </p:custDataLst>
            <p:extLst>
              <p:ext uri="{D42A27DB-BD31-4B8C-83A1-F6EECF244321}">
                <p14:modId xmlns:p14="http://schemas.microsoft.com/office/powerpoint/2010/main" val="329243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74A32A-A11E-4C1E-BB2E-BDF9A64F68C2}"/>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Picture 5">
            <a:extLst>
              <a:ext uri="{FF2B5EF4-FFF2-40B4-BE49-F238E27FC236}">
                <a16:creationId xmlns:a16="http://schemas.microsoft.com/office/drawing/2014/main" id="{F215D737-B755-4BAC-BDAF-9CE57E2BA642}"/>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50B4677C-858F-4253-B838-82953794E3B1}"/>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2BB8E6-FE5C-4A11-B568-5106AB1D95D2}"/>
              </a:ext>
            </a:extLst>
          </p:cNvPr>
          <p:cNvGraphicFramePr>
            <a:graphicFrameLocks noChangeAspect="1"/>
          </p:cNvGraphicFramePr>
          <p:nvPr userDrawn="1">
            <p:custDataLst>
              <p:tags r:id="rId2"/>
            </p:custDataLst>
            <p:extLst>
              <p:ext uri="{D42A27DB-BD31-4B8C-83A1-F6EECF244321}">
                <p14:modId xmlns:p14="http://schemas.microsoft.com/office/powerpoint/2010/main" val="805036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76C202-CB1D-47F6-B275-E5090E426FB4}"/>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541A4B94-F16E-4411-AC48-F0CB13975C73}"/>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4690E79D-E845-40C4-A9CA-3136812E6F8D}"/>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23DAC0-7996-4BC4-AC68-32094B8D57D4}"/>
              </a:ext>
            </a:extLst>
          </p:cNvPr>
          <p:cNvGraphicFramePr>
            <a:graphicFrameLocks noChangeAspect="1"/>
          </p:cNvGraphicFramePr>
          <p:nvPr userDrawn="1">
            <p:custDataLst>
              <p:tags r:id="rId2"/>
            </p:custDataLst>
            <p:extLst>
              <p:ext uri="{D42A27DB-BD31-4B8C-83A1-F6EECF244321}">
                <p14:modId xmlns:p14="http://schemas.microsoft.com/office/powerpoint/2010/main" val="3523331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D4E9E5-5206-4BDC-AF17-C01CC3B6E27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13B60AA9-EB74-427C-B94F-DF072521C83C}"/>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67BEA811-F2A7-4EB0-A0E7-3C176C376D09}"/>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833617-B117-47E4-BC4D-F4D2841E19AC}"/>
              </a:ext>
            </a:extLst>
          </p:cNvPr>
          <p:cNvGraphicFramePr>
            <a:graphicFrameLocks noChangeAspect="1"/>
          </p:cNvGraphicFramePr>
          <p:nvPr userDrawn="1">
            <p:custDataLst>
              <p:tags r:id="rId2"/>
            </p:custDataLst>
            <p:extLst>
              <p:ext uri="{D42A27DB-BD31-4B8C-83A1-F6EECF244321}">
                <p14:modId xmlns:p14="http://schemas.microsoft.com/office/powerpoint/2010/main" val="31544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27BAEF-38ED-4E2D-A996-26AAF6901B39}"/>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B4BABAC7-7AD7-46CD-A995-2FFDCF58E519}"/>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7" name="Overlay">
            <a:extLst>
              <a:ext uri="{FF2B5EF4-FFF2-40B4-BE49-F238E27FC236}">
                <a16:creationId xmlns:a16="http://schemas.microsoft.com/office/drawing/2014/main" id="{31DF97A0-DFBC-4523-8AD8-F6D8CAA5D9B2}"/>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pic>
        <p:nvPicPr>
          <p:cNvPr id="14" name="Graphic 13">
            <a:extLst>
              <a:ext uri="{FF2B5EF4-FFF2-40B4-BE49-F238E27FC236}">
                <a16:creationId xmlns:a16="http://schemas.microsoft.com/office/drawing/2014/main" id="{C27DDD3E-F58B-4C81-AEE6-D43844BAA4F0}"/>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37363" t="43832" r="15615" b="3675"/>
          <a:stretch/>
        </p:blipFill>
        <p:spPr>
          <a:xfrm rot="5400000">
            <a:off x="4698999" y="-635000"/>
            <a:ext cx="6858000" cy="8127999"/>
          </a:xfrm>
          <a:prstGeom prst="rect">
            <a:avLst/>
          </a:prstGeom>
        </p:spPr>
      </p:pic>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1FFFF9-1337-4FB6-9F03-026FC56BFA8E}"/>
              </a:ext>
            </a:extLst>
          </p:cNvPr>
          <p:cNvGraphicFramePr>
            <a:graphicFrameLocks noChangeAspect="1"/>
          </p:cNvGraphicFramePr>
          <p:nvPr userDrawn="1">
            <p:custDataLst>
              <p:tags r:id="rId2"/>
            </p:custDataLst>
            <p:extLst>
              <p:ext uri="{D42A27DB-BD31-4B8C-83A1-F6EECF244321}">
                <p14:modId xmlns:p14="http://schemas.microsoft.com/office/powerpoint/2010/main" val="185886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E7CFFD-F58A-4998-9400-1C37D0E44369}"/>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DC4A3C50-F147-4FC3-88FD-5757C6C5E5E6}"/>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A63A41F3-AC7D-4F6E-8925-F5CF5136F1A2}"/>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1" name="Picture 10"/>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6572CD-0A1E-4E82-B768-0BEC5EB70FE8}"/>
              </a:ext>
            </a:extLst>
          </p:cNvPr>
          <p:cNvGraphicFramePr>
            <a:graphicFrameLocks noChangeAspect="1"/>
          </p:cNvGraphicFramePr>
          <p:nvPr userDrawn="1">
            <p:custDataLst>
              <p:tags r:id="rId2"/>
            </p:custDataLst>
            <p:extLst>
              <p:ext uri="{D42A27DB-BD31-4B8C-83A1-F6EECF244321}">
                <p14:modId xmlns:p14="http://schemas.microsoft.com/office/powerpoint/2010/main" val="2126563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5544CE0-6BAA-40A0-9EEB-7C197D01E8FF}"/>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7" name="Picture 16">
            <a:extLst>
              <a:ext uri="{FF2B5EF4-FFF2-40B4-BE49-F238E27FC236}">
                <a16:creationId xmlns:a16="http://schemas.microsoft.com/office/drawing/2014/main" id="{88A4953B-43EF-45A4-9AC8-3C089CC940ED}"/>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CDFD3F24-2222-461A-BD08-5FFB73D2B920}"/>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3ED114-FC6E-4FB8-ADC6-D243F8AAD090}"/>
              </a:ext>
            </a:extLst>
          </p:cNvPr>
          <p:cNvGraphicFramePr>
            <a:graphicFrameLocks noChangeAspect="1"/>
          </p:cNvGraphicFramePr>
          <p:nvPr userDrawn="1">
            <p:custDataLst>
              <p:tags r:id="rId2"/>
            </p:custDataLst>
            <p:extLst>
              <p:ext uri="{D42A27DB-BD31-4B8C-83A1-F6EECF244321}">
                <p14:modId xmlns:p14="http://schemas.microsoft.com/office/powerpoint/2010/main" val="3408008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77B0AB-6273-48C4-A585-6EC49B1B32F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A6064ED0-8779-45D3-A688-8FE8EAA6B6ED}"/>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2F3D7F8D-668A-4B05-BC01-ED53104EA848}"/>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0D66CD-E5A3-41A7-9276-DBA0CEBA73AB}"/>
              </a:ext>
            </a:extLst>
          </p:cNvPr>
          <p:cNvGraphicFramePr>
            <a:graphicFrameLocks noChangeAspect="1"/>
          </p:cNvGraphicFramePr>
          <p:nvPr userDrawn="1">
            <p:custDataLst>
              <p:tags r:id="rId2"/>
            </p:custDataLst>
            <p:extLst>
              <p:ext uri="{D42A27DB-BD31-4B8C-83A1-F6EECF244321}">
                <p14:modId xmlns:p14="http://schemas.microsoft.com/office/powerpoint/2010/main" val="106883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7" imgW="415" imgH="416" progId="TCLayout.ActiveDocument.1">
                  <p:embed/>
                </p:oleObj>
              </mc:Choice>
              <mc:Fallback>
                <p:oleObj name="think-cell Slide" r:id="rId7" imgW="415" imgH="41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78B473-51B4-49D5-B325-7C4FC18F7279}"/>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a:extLst>
              <a:ext uri="{FF2B5EF4-FFF2-40B4-BE49-F238E27FC236}">
                <a16:creationId xmlns:a16="http://schemas.microsoft.com/office/drawing/2014/main" id="{0E01F911-70E8-453F-9FAF-C632F3A28897}"/>
              </a:ext>
            </a:extLst>
          </p:cNvPr>
          <p:cNvPicPr>
            <a:picLocks noChangeAspect="1"/>
          </p:cNvPicPr>
          <p:nvPr userDrawn="1"/>
        </p:nvPicPr>
        <p:blipFill>
          <a:blip r:embed="rId9"/>
          <a:srcRect r="66467"/>
          <a:stretch>
            <a:fillRect/>
          </a:stretch>
        </p:blipFill>
        <p:spPr>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p:spPr>
      </p:pic>
      <p:sp>
        <p:nvSpPr>
          <p:cNvPr id="18" name="Overlay">
            <a:extLst>
              <a:ext uri="{FF2B5EF4-FFF2-40B4-BE49-F238E27FC236}">
                <a16:creationId xmlns:a16="http://schemas.microsoft.com/office/drawing/2014/main" id="{A07F78D3-D9F5-442F-86CD-171E6D887FD5}"/>
              </a:ext>
            </a:extLst>
          </p:cNvPr>
          <p:cNvSpPr/>
          <p:nvPr userDrawn="1">
            <p:custDataLst>
              <p:tags r:id="rId4"/>
            </p:custDataLst>
          </p:nvPr>
        </p:nvSpPr>
        <p:spPr>
          <a:xfrm>
            <a:off x="0" y="0"/>
            <a:ext cx="4088312" cy="6858000"/>
          </a:xfrm>
          <a:prstGeom prst="homePlate">
            <a:avLst>
              <a:gd name="adj" fmla="val 19868"/>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10">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 name="Rectangle 1" hidden="1">
            <a:extLst>
              <a:ext uri="{FF2B5EF4-FFF2-40B4-BE49-F238E27FC236}">
                <a16:creationId xmlns:a16="http://schemas.microsoft.com/office/drawing/2014/main" id="{23740FA9-ABDA-432B-A342-00BDBAE2787F}"/>
              </a:ext>
            </a:extLst>
          </p:cNvPr>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Graphic 10">
            <a:extLst>
              <a:ext uri="{FF2B5EF4-FFF2-40B4-BE49-F238E27FC236}">
                <a16:creationId xmlns:a16="http://schemas.microsoft.com/office/drawing/2014/main" id="{F2D4B6E2-CFC4-4A82-AF43-3F0E4150C2DE}"/>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37363" t="43832" r="15615"/>
          <a:stretch/>
        </p:blipFill>
        <p:spPr>
          <a:xfrm rot="5400000">
            <a:off x="4414443" y="-919556"/>
            <a:ext cx="6858000" cy="8697111"/>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42887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8B418CF-D336-4274-B0FF-6B18F96DAE92}"/>
              </a:ext>
            </a:extLst>
          </p:cNvPr>
          <p:cNvSpPr/>
          <p:nvPr userDrawn="1"/>
        </p:nvSpPr>
        <p:spPr>
          <a:xfrm>
            <a:off x="1" y="0"/>
            <a:ext cx="12191999" cy="5681983"/>
          </a:xfrm>
          <a:prstGeom prst="rect">
            <a:avLst/>
          </a:prstGeom>
          <a:solidFill>
            <a:srgbClr val="000000">
              <a:alpha val="83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306751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04988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6" imgW="324" imgH="324" progId="TCLayout.ActiveDocument.1">
                  <p:embed/>
                </p:oleObj>
              </mc:Choice>
              <mc:Fallback>
                <p:oleObj name="think-cell Slide" r:id="rId6" imgW="324" imgH="32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240552D-66C8-4BB9-AAC1-3A66AFD05320}"/>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20C1C6F4-D232-4283-8F7F-BA39C6F0D608}"/>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E3E07FAF-C072-4B84-A872-6D3ADF6B4A71}"/>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E449AA-AD7A-4CFE-B763-1DD2C9C93934}"/>
              </a:ext>
            </a:extLst>
          </p:cNvPr>
          <p:cNvGraphicFramePr>
            <a:graphicFrameLocks noChangeAspect="1"/>
          </p:cNvGraphicFramePr>
          <p:nvPr userDrawn="1">
            <p:custDataLst>
              <p:tags r:id="rId2"/>
            </p:custDataLst>
            <p:extLst>
              <p:ext uri="{D42A27DB-BD31-4B8C-83A1-F6EECF244321}">
                <p14:modId xmlns:p14="http://schemas.microsoft.com/office/powerpoint/2010/main" val="263957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CBE440-6ADA-4D74-8FB4-F50B047F8D9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Graphic 9">
            <a:extLst>
              <a:ext uri="{FF2B5EF4-FFF2-40B4-BE49-F238E27FC236}">
                <a16:creationId xmlns:a16="http://schemas.microsoft.com/office/drawing/2014/main" id="{4937F524-AF21-4775-8BF6-5C8731ECD778}"/>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37363" t="43832" r="15615" b="7858"/>
          <a:stretch/>
        </p:blipFill>
        <p:spPr>
          <a:xfrm rot="5400000">
            <a:off x="5022849" y="-311150"/>
            <a:ext cx="6858000" cy="7480299"/>
          </a:xfrm>
          <a:prstGeom prst="rect">
            <a:avLst/>
          </a:prstGeom>
        </p:spPr>
      </p:pic>
      <p:pic>
        <p:nvPicPr>
          <p:cNvPr id="12" name="Picture 11">
            <a:extLst>
              <a:ext uri="{FF2B5EF4-FFF2-40B4-BE49-F238E27FC236}">
                <a16:creationId xmlns:a16="http://schemas.microsoft.com/office/drawing/2014/main" id="{CEFBC1DB-9E37-4F7D-9184-9F73751A449E}"/>
              </a:ext>
            </a:extLst>
          </p:cNvPr>
          <p:cNvPicPr>
            <a:picLocks noChangeAspect="1"/>
          </p:cNvPicPr>
          <p:nvPr userDrawn="1"/>
        </p:nvPicPr>
        <p:blipFill>
          <a:blip r:embed="rId10"/>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15" name="Overlay">
            <a:extLst>
              <a:ext uri="{FF2B5EF4-FFF2-40B4-BE49-F238E27FC236}">
                <a16:creationId xmlns:a16="http://schemas.microsoft.com/office/drawing/2014/main" id="{675A464E-B43F-476C-84E7-934A3F229950}"/>
              </a:ext>
            </a:extLst>
          </p:cNvPr>
          <p:cNvSpPr/>
          <p:nvPr userDrawn="1">
            <p:custDataLst>
              <p:tags r:id="rId4"/>
            </p:custDataLst>
          </p:nvPr>
        </p:nvSpPr>
        <p:spPr>
          <a:xfrm>
            <a:off x="1" y="0"/>
            <a:ext cx="5426920" cy="6858000"/>
          </a:xfrm>
          <a:prstGeom prst="homePlate">
            <a:avLst>
              <a:gd name="adj" fmla="val 13259"/>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11">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B83252-F806-4C56-8E44-34D6F2F6442A}"/>
              </a:ext>
            </a:extLst>
          </p:cNvPr>
          <p:cNvGraphicFramePr>
            <a:graphicFrameLocks noChangeAspect="1"/>
          </p:cNvGraphicFramePr>
          <p:nvPr userDrawn="1">
            <p:custDataLst>
              <p:tags r:id="rId2"/>
            </p:custDataLst>
            <p:extLst>
              <p:ext uri="{D42A27DB-BD31-4B8C-83A1-F6EECF244321}">
                <p14:modId xmlns:p14="http://schemas.microsoft.com/office/powerpoint/2010/main" val="350126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FBFCC6-93D9-4E8D-ADCE-CC2B604FE3A4}"/>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77FA41CD-5FFD-46A5-8B8F-7034AD01FC06}"/>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B8DD737A-8297-4BFF-BCFC-2F43BEEBAF1F}"/>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2E09274-F7D2-4D93-A116-CBBBDD802CF5}"/>
              </a:ext>
            </a:extLst>
          </p:cNvPr>
          <p:cNvGraphicFramePr>
            <a:graphicFrameLocks noChangeAspect="1"/>
          </p:cNvGraphicFramePr>
          <p:nvPr userDrawn="1">
            <p:custDataLst>
              <p:tags r:id="rId2"/>
            </p:custDataLst>
            <p:extLst>
              <p:ext uri="{D42A27DB-BD31-4B8C-83A1-F6EECF244321}">
                <p14:modId xmlns:p14="http://schemas.microsoft.com/office/powerpoint/2010/main" val="4040835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25E3AD-3A07-40DC-A34E-F777C30C825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C1539C56-5E4A-4FC1-A8A6-161B620ACD8F}"/>
              </a:ext>
            </a:extLst>
          </p:cNvPr>
          <p:cNvPicPr>
            <a:picLocks noChangeAspect="1"/>
          </p:cNvPicPr>
          <p:nvPr userDrawn="1"/>
        </p:nvPicPr>
        <p:blipFill>
          <a:blip r:embed="rId8"/>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15" name="Overlay">
            <a:extLst>
              <a:ext uri="{FF2B5EF4-FFF2-40B4-BE49-F238E27FC236}">
                <a16:creationId xmlns:a16="http://schemas.microsoft.com/office/drawing/2014/main" id="{650E545F-78F9-4EDF-B4EB-3A3F22CB9A85}"/>
              </a:ext>
            </a:extLst>
          </p:cNvPr>
          <p:cNvSpPr/>
          <p:nvPr userDrawn="1">
            <p:custDataLst>
              <p:tags r:id="rId4"/>
            </p:custDataLst>
          </p:nvPr>
        </p:nvSpPr>
        <p:spPr>
          <a:xfrm>
            <a:off x="0" y="0"/>
            <a:ext cx="6363546" cy="6858000"/>
          </a:xfrm>
          <a:prstGeom prst="homePlate">
            <a:avLst>
              <a:gd name="adj" fmla="val 13478"/>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C10947-EF57-481A-8934-D17DA9F6CB5F}"/>
              </a:ext>
            </a:extLst>
          </p:cNvPr>
          <p:cNvGraphicFramePr>
            <a:graphicFrameLocks noChangeAspect="1"/>
          </p:cNvGraphicFramePr>
          <p:nvPr userDrawn="1">
            <p:custDataLst>
              <p:tags r:id="rId2"/>
            </p:custDataLst>
            <p:extLst>
              <p:ext uri="{D42A27DB-BD31-4B8C-83A1-F6EECF244321}">
                <p14:modId xmlns:p14="http://schemas.microsoft.com/office/powerpoint/2010/main" val="428804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C59D4E7-7952-4A05-A95C-DED7E87EAF11}"/>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81F65FA2-1964-4072-8770-C90C3230A209}"/>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7" name="Overlay">
            <a:extLst>
              <a:ext uri="{FF2B5EF4-FFF2-40B4-BE49-F238E27FC236}">
                <a16:creationId xmlns:a16="http://schemas.microsoft.com/office/drawing/2014/main" id="{759DB691-E0DC-4DB6-9C18-F924FC5B9EA0}"/>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683A73-7FF5-4721-AA82-2228E011ADF3}"/>
              </a:ext>
            </a:extLst>
          </p:cNvPr>
          <p:cNvGraphicFramePr>
            <a:graphicFrameLocks noChangeAspect="1"/>
          </p:cNvGraphicFramePr>
          <p:nvPr userDrawn="1">
            <p:custDataLst>
              <p:tags r:id="rId2"/>
            </p:custDataLst>
            <p:extLst>
              <p:ext uri="{D42A27DB-BD31-4B8C-83A1-F6EECF244321}">
                <p14:modId xmlns:p14="http://schemas.microsoft.com/office/powerpoint/2010/main" val="3793126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6915D5-8560-48B2-A2F0-605830AE6FC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Picture 12">
            <a:extLst>
              <a:ext uri="{FF2B5EF4-FFF2-40B4-BE49-F238E27FC236}">
                <a16:creationId xmlns:a16="http://schemas.microsoft.com/office/drawing/2014/main" id="{61C160A4-3562-4A13-9DED-94A0DDAC9D11}"/>
              </a:ext>
            </a:extLst>
          </p:cNvPr>
          <p:cNvPicPr>
            <a:picLocks noChangeAspect="1"/>
          </p:cNvPicPr>
          <p:nvPr userDrawn="1"/>
        </p:nvPicPr>
        <p:blipFill>
          <a:blip r:embed="rId9"/>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14" name="Overlay">
            <a:extLst>
              <a:ext uri="{FF2B5EF4-FFF2-40B4-BE49-F238E27FC236}">
                <a16:creationId xmlns:a16="http://schemas.microsoft.com/office/drawing/2014/main" id="{1E84B03E-98BB-4429-9F61-F5EA8DB7D68E}"/>
              </a:ext>
            </a:extLst>
          </p:cNvPr>
          <p:cNvSpPr/>
          <p:nvPr userDrawn="1">
            <p:custDataLst>
              <p:tags r:id="rId4"/>
            </p:custDataLst>
          </p:nvPr>
        </p:nvSpPr>
        <p:spPr>
          <a:xfrm>
            <a:off x="1" y="0"/>
            <a:ext cx="8446239" cy="6858000"/>
          </a:xfrm>
          <a:prstGeom prst="homePlate">
            <a:avLst>
              <a:gd name="adj" fmla="val 11481"/>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882FEA-1ADA-4073-A3E1-34E87033E61F}"/>
              </a:ext>
            </a:extLst>
          </p:cNvPr>
          <p:cNvGraphicFramePr>
            <a:graphicFrameLocks noChangeAspect="1"/>
          </p:cNvGraphicFramePr>
          <p:nvPr userDrawn="1">
            <p:custDataLst>
              <p:tags r:id="rId2"/>
            </p:custDataLst>
            <p:extLst>
              <p:ext uri="{D42A27DB-BD31-4B8C-83A1-F6EECF244321}">
                <p14:modId xmlns:p14="http://schemas.microsoft.com/office/powerpoint/2010/main" val="278401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9E80DB1-4664-4C76-B667-D6D26D857B34}"/>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a:extLst>
              <a:ext uri="{FF2B5EF4-FFF2-40B4-BE49-F238E27FC236}">
                <a16:creationId xmlns:a16="http://schemas.microsoft.com/office/drawing/2014/main" id="{5CF255C7-158A-4D96-BF96-F7CE7E4AB312}"/>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C94C96CA-B920-4DC8-A86B-8BF2F7715700}"/>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EE3A5B-686A-41BD-B1BF-57EB181B77D8}"/>
              </a:ext>
            </a:extLst>
          </p:cNvPr>
          <p:cNvGraphicFramePr>
            <a:graphicFrameLocks noChangeAspect="1"/>
          </p:cNvGraphicFramePr>
          <p:nvPr userDrawn="1">
            <p:custDataLst>
              <p:tags r:id="rId2"/>
            </p:custDataLst>
            <p:extLst>
              <p:ext uri="{D42A27DB-BD31-4B8C-83A1-F6EECF244321}">
                <p14:modId xmlns:p14="http://schemas.microsoft.com/office/powerpoint/2010/main" val="2890855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0CB8E3-58FD-4903-9E28-D14FC62368C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8" name="Graphic 7">
            <a:extLst>
              <a:ext uri="{FF2B5EF4-FFF2-40B4-BE49-F238E27FC236}">
                <a16:creationId xmlns:a16="http://schemas.microsoft.com/office/drawing/2014/main" id="{D56D5615-AB43-4269-AE79-B27597BA81AF}"/>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936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896A90C3-CE5D-44AA-A5C5-DC2F94A0F2F0}"/>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A4FD99CB-8535-47D0-BCF0-7D5CDCBA4D4B}"/>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8">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05538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4" name="Rectangle 13">
            <a:extLst>
              <a:ext uri="{FF2B5EF4-FFF2-40B4-BE49-F238E27FC236}">
                <a16:creationId xmlns:a16="http://schemas.microsoft.com/office/drawing/2014/main" id="{DC814D9F-016B-45D9-BB90-91E8B3F44D81}"/>
              </a:ext>
            </a:extLst>
          </p:cNvPr>
          <p:cNvSpPr/>
          <p:nvPr userDrawn="1"/>
        </p:nvSpPr>
        <p:spPr>
          <a:xfrm>
            <a:off x="0" y="1482789"/>
            <a:ext cx="7459580" cy="4678299"/>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549220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901065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069A88-F35A-4BF2-9016-8B72C443D124}"/>
              </a:ext>
            </a:extLst>
          </p:cNvPr>
          <p:cNvGraphicFramePr>
            <a:graphicFrameLocks noChangeAspect="1"/>
          </p:cNvGraphicFramePr>
          <p:nvPr userDrawn="1">
            <p:custDataLst>
              <p:tags r:id="rId2"/>
            </p:custDataLst>
            <p:extLst>
              <p:ext uri="{D42A27DB-BD31-4B8C-83A1-F6EECF244321}">
                <p14:modId xmlns:p14="http://schemas.microsoft.com/office/powerpoint/2010/main" val="331643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92C3FD3E-9FAB-4C73-91B4-A881881A9F57}"/>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pic>
        <p:nvPicPr>
          <p:cNvPr id="6" name="Picture 5">
            <a:extLst>
              <a:ext uri="{FF2B5EF4-FFF2-40B4-BE49-F238E27FC236}">
                <a16:creationId xmlns:a16="http://schemas.microsoft.com/office/drawing/2014/main" id="{FF3DBB54-6E3D-4C6F-BE7C-C3189EB235E0}"/>
              </a:ext>
            </a:extLst>
          </p:cNvPr>
          <p:cNvPicPr>
            <a:picLocks noChangeAspect="1"/>
          </p:cNvPicPr>
          <p:nvPr userDrawn="1"/>
        </p:nvPicPr>
        <p:blipFill>
          <a:blip r:embed="rId3"/>
          <a:stretch>
            <a:fillRect/>
          </a:stretch>
        </p:blipFill>
        <p:spPr>
          <a:xfrm>
            <a:off x="-2" y="0"/>
            <a:ext cx="12192000" cy="6858000"/>
          </a:xfrm>
          <a:prstGeom prst="rect">
            <a:avLst/>
          </a:prstGeom>
        </p:spPr>
      </p:pic>
      <p:sp>
        <p:nvSpPr>
          <p:cNvPr id="10" name="Overlay">
            <a:extLst>
              <a:ext uri="{FF2B5EF4-FFF2-40B4-BE49-F238E27FC236}">
                <a16:creationId xmlns:a16="http://schemas.microsoft.com/office/drawing/2014/main" id="{BA31C702-0D52-4944-B362-3A77A304A37B}"/>
              </a:ext>
            </a:extLst>
          </p:cNvPr>
          <p:cNvSpPr/>
          <p:nvPr userDrawn="1">
            <p:custDataLst>
              <p:tags r:id="rId1"/>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977B4A-8430-4CA8-88F2-26FB1E386D19}"/>
              </a:ext>
            </a:extLst>
          </p:cNvPr>
          <p:cNvGraphicFramePr>
            <a:graphicFrameLocks noChangeAspect="1"/>
          </p:cNvGraphicFramePr>
          <p:nvPr userDrawn="1">
            <p:custDataLst>
              <p:tags r:id="rId2"/>
            </p:custDataLst>
            <p:extLst>
              <p:ext uri="{D42A27DB-BD31-4B8C-83A1-F6EECF244321}">
                <p14:modId xmlns:p14="http://schemas.microsoft.com/office/powerpoint/2010/main" val="33829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437EC905-344F-4CF8-AAA5-B4E37FB62431}"/>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36FE0BF0-6D1D-4FB0-B7FD-3FD6265C5D18}"/>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78D10DCD-B12E-43FF-9681-9F850DFE75BF}"/>
              </a:ext>
            </a:extLst>
          </p:cNvPr>
          <p:cNvSpPr/>
          <p:nvPr userDrawn="1"/>
        </p:nvSpPr>
        <p:spPr>
          <a:xfrm>
            <a:off x="-1" y="0"/>
            <a:ext cx="12192000" cy="6858000"/>
          </a:xfrm>
          <a:prstGeom prst="rect">
            <a:avLst/>
          </a:prstGeom>
          <a:solidFill>
            <a:srgbClr val="000000">
              <a:alpha val="6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7AF55CC9-F084-4EDF-BAB8-76C2EFCBDB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61808" y="2775944"/>
            <a:ext cx="5041845" cy="2235649"/>
          </a:xfrm>
          <a:prstGeom prst="rect">
            <a:avLst/>
          </a:prstGeom>
        </p:spPr>
      </p:pic>
      <p:sp>
        <p:nvSpPr>
          <p:cNvPr id="13" name="Rectangle 12">
            <a:extLst>
              <a:ext uri="{FF2B5EF4-FFF2-40B4-BE49-F238E27FC236}">
                <a16:creationId xmlns:a16="http://schemas.microsoft.com/office/drawing/2014/main" id="{45A3192E-5E01-4AA8-B2DD-60DA744E7BAC}"/>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61056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7B39A0A3-F4B3-4EC4-B252-E6AE427AB3D0}"/>
              </a:ext>
            </a:extLst>
          </p:cNvPr>
          <p:cNvPicPr>
            <a:picLocks noChangeAspect="1"/>
          </p:cNvPicPr>
          <p:nvPr userDrawn="1"/>
        </p:nvPicPr>
        <p:blipFill>
          <a:blip r:embed="rId6"/>
          <a:stretch>
            <a:fillRect/>
          </a:stretch>
        </p:blipFill>
        <p:spPr>
          <a:xfrm>
            <a:off x="-1" y="0"/>
            <a:ext cx="12208043" cy="6890084"/>
          </a:xfrm>
          <a:prstGeom prst="rect">
            <a:avLst/>
          </a:prstGeom>
        </p:spPr>
      </p:pic>
      <p:sp>
        <p:nvSpPr>
          <p:cNvPr id="8" name="Rectangle 7">
            <a:extLst>
              <a:ext uri="{FF2B5EF4-FFF2-40B4-BE49-F238E27FC236}">
                <a16:creationId xmlns:a16="http://schemas.microsoft.com/office/drawing/2014/main" id="{46AF1CEC-60FF-4796-886B-67ADF2A1AA8E}"/>
              </a:ext>
            </a:extLst>
          </p:cNvPr>
          <p:cNvSpPr/>
          <p:nvPr userDrawn="1"/>
        </p:nvSpPr>
        <p:spPr>
          <a:xfrm>
            <a:off x="-1" y="-13587"/>
            <a:ext cx="12208043" cy="6871587"/>
          </a:xfrm>
          <a:prstGeom prst="rect">
            <a:avLst/>
          </a:prstGeom>
          <a:solidFill>
            <a:srgbClr val="000000">
              <a:alpha val="6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9" name="Picture 8" descr="Text&#10;&#10;Description automatically generated">
            <a:extLst>
              <a:ext uri="{FF2B5EF4-FFF2-40B4-BE49-F238E27FC236}">
                <a16:creationId xmlns:a16="http://schemas.microsoft.com/office/drawing/2014/main" id="{412E933E-ADAA-4BE1-A903-CA4947028C44}"/>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53262" y="3003326"/>
            <a:ext cx="5041845" cy="2235649"/>
          </a:xfrm>
          <a:prstGeom prst="rect">
            <a:avLst/>
          </a:prstGeom>
        </p:spPr>
      </p:pic>
    </p:spTree>
    <p:extLst>
      <p:ext uri="{BB962C8B-B14F-4D97-AF65-F5344CB8AC3E}">
        <p14:creationId xmlns:p14="http://schemas.microsoft.com/office/powerpoint/2010/main" val="1489561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2672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a:extLst>
              <a:ext uri="{FF2B5EF4-FFF2-40B4-BE49-F238E27FC236}">
                <a16:creationId xmlns:a16="http://schemas.microsoft.com/office/drawing/2014/main" id="{F8AD192A-B366-4929-9E83-CC82FE747446}"/>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59920E68-2A7F-4959-85AC-BBC959263806}"/>
              </a:ext>
            </a:extLst>
          </p:cNvPr>
          <p:cNvSpPr/>
          <p:nvPr userDrawn="1"/>
        </p:nvSpPr>
        <p:spPr>
          <a:xfrm>
            <a:off x="1" y="2012954"/>
            <a:ext cx="6857999" cy="3669029"/>
          </a:xfrm>
          <a:prstGeom prst="rect">
            <a:avLst/>
          </a:prstGeom>
          <a:solidFill>
            <a:srgbClr val="000000">
              <a:alpha val="8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9" name="Picture 18" descr="Text&#10;&#10;Description automatically generated">
            <a:extLst>
              <a:ext uri="{FF2B5EF4-FFF2-40B4-BE49-F238E27FC236}">
                <a16:creationId xmlns:a16="http://schemas.microsoft.com/office/drawing/2014/main" id="{61ED11D6-C6AE-4BBF-99D1-426ACB58F6CB}"/>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23" name="Rectangle 22">
            <a:extLst>
              <a:ext uri="{FF2B5EF4-FFF2-40B4-BE49-F238E27FC236}">
                <a16:creationId xmlns:a16="http://schemas.microsoft.com/office/drawing/2014/main" id="{B9F768F7-874F-4DFF-B14F-13D7416C9DEE}"/>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4" name="Title 1">
            <a:extLst>
              <a:ext uri="{FF2B5EF4-FFF2-40B4-BE49-F238E27FC236}">
                <a16:creationId xmlns:a16="http://schemas.microsoft.com/office/drawing/2014/main" id="{3CD14146-E533-4542-8F01-155821D09F11}"/>
              </a:ext>
            </a:extLst>
          </p:cNvPr>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5" name="Text Placeholder 6">
            <a:extLst>
              <a:ext uri="{FF2B5EF4-FFF2-40B4-BE49-F238E27FC236}">
                <a16:creationId xmlns:a16="http://schemas.microsoft.com/office/drawing/2014/main" id="{563A8A67-F252-4EB9-94B8-E60211B2ED88}"/>
              </a:ext>
            </a:extLst>
          </p:cNvPr>
          <p:cNvSpPr>
            <a:spLocks noGrp="1"/>
          </p:cNvSpPr>
          <p:nvPr>
            <p:ph type="body" sz="quarter" idx="12" hasCustomPrompt="1"/>
          </p:nvPr>
        </p:nvSpPr>
        <p:spPr bwMode="black">
          <a:xfrm>
            <a:off x="9344639"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43586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8B418CF-D336-4274-B0FF-6B18F96DAE92}"/>
              </a:ext>
            </a:extLst>
          </p:cNvPr>
          <p:cNvSpPr/>
          <p:nvPr userDrawn="1"/>
        </p:nvSpPr>
        <p:spPr>
          <a:xfrm>
            <a:off x="1" y="0"/>
            <a:ext cx="12191999" cy="5681983"/>
          </a:xfrm>
          <a:prstGeom prst="rect">
            <a:avLst/>
          </a:prstGeom>
          <a:solidFill>
            <a:srgbClr val="000000">
              <a:alpha val="83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1935923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95991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4" name="Rectangle 13">
            <a:extLst>
              <a:ext uri="{FF2B5EF4-FFF2-40B4-BE49-F238E27FC236}">
                <a16:creationId xmlns:a16="http://schemas.microsoft.com/office/drawing/2014/main" id="{DC814D9F-016B-45D9-BB90-91E8B3F44D81}"/>
              </a:ext>
            </a:extLst>
          </p:cNvPr>
          <p:cNvSpPr/>
          <p:nvPr userDrawn="1"/>
        </p:nvSpPr>
        <p:spPr>
          <a:xfrm>
            <a:off x="0" y="1482789"/>
            <a:ext cx="7459580" cy="4678299"/>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549220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3409116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93102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3" name="Rectangle 12">
            <a:extLst>
              <a:ext uri="{FF2B5EF4-FFF2-40B4-BE49-F238E27FC236}">
                <a16:creationId xmlns:a16="http://schemas.microsoft.com/office/drawing/2014/main" id="{0E8C20C0-AEFC-41EA-B163-CB841ECBE913}"/>
              </a:ext>
            </a:extLst>
          </p:cNvPr>
          <p:cNvSpPr/>
          <p:nvPr userDrawn="1"/>
        </p:nvSpPr>
        <p:spPr>
          <a:xfrm>
            <a:off x="-16043" y="0"/>
            <a:ext cx="12208043" cy="5529943"/>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100528"/>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3197491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25740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3" name="Rectangle 12">
            <a:extLst>
              <a:ext uri="{FF2B5EF4-FFF2-40B4-BE49-F238E27FC236}">
                <a16:creationId xmlns:a16="http://schemas.microsoft.com/office/drawing/2014/main" id="{0E8C20C0-AEFC-41EA-B163-CB841ECBE913}"/>
              </a:ext>
            </a:extLst>
          </p:cNvPr>
          <p:cNvSpPr/>
          <p:nvPr userDrawn="1"/>
        </p:nvSpPr>
        <p:spPr>
          <a:xfrm>
            <a:off x="-16043" y="0"/>
            <a:ext cx="12208043" cy="5529943"/>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100528"/>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4026412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4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34307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a:extLst>
              <a:ext uri="{FF2B5EF4-FFF2-40B4-BE49-F238E27FC236}">
                <a16:creationId xmlns:a16="http://schemas.microsoft.com/office/drawing/2014/main" id="{AFFEB9A6-4F0E-4AB7-B6C6-B3884B163F6C}"/>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5923"/>
            <a:ext cx="12192000" cy="4152900"/>
          </a:xfrm>
          <a:prstGeom prst="rect">
            <a:avLst/>
          </a:prstGeom>
        </p:spPr>
      </p:pic>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1</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1981940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9395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719C14DC-995F-43D8-964D-BD81E1911DDA}"/>
              </a:ext>
            </a:extLst>
          </p:cNvPr>
          <p:cNvPicPr>
            <a:picLocks noChangeAspect="1"/>
          </p:cNvPicPr>
          <p:nvPr userDrawn="1"/>
        </p:nvPicPr>
        <p:blipFill>
          <a:blip r:embed="rId7"/>
          <a:stretch>
            <a:fillRect/>
          </a:stretch>
        </p:blipFill>
        <p:spPr>
          <a:xfrm>
            <a:off x="0" y="17249"/>
            <a:ext cx="12192000" cy="4160520"/>
          </a:xfrm>
          <a:prstGeom prst="rect">
            <a:avLst/>
          </a:prstGeom>
        </p:spPr>
      </p:pic>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2</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1671915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E574F8-F3D9-4C21-9ACE-187BFA459F32}"/>
              </a:ext>
            </a:extLst>
          </p:cNvPr>
          <p:cNvGraphicFramePr>
            <a:graphicFrameLocks noChangeAspect="1"/>
          </p:cNvGraphicFramePr>
          <p:nvPr userDrawn="1">
            <p:custDataLst>
              <p:tags r:id="rId2"/>
            </p:custDataLst>
            <p:extLst>
              <p:ext uri="{D42A27DB-BD31-4B8C-83A1-F6EECF244321}">
                <p14:modId xmlns:p14="http://schemas.microsoft.com/office/powerpoint/2010/main" val="287986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CD17AC3-AC0C-4396-BC13-E2EC7DD532A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E574F8-F3D9-4C21-9ACE-187BFA459F32}"/>
              </a:ext>
            </a:extLst>
          </p:cNvPr>
          <p:cNvGraphicFramePr>
            <a:graphicFrameLocks noChangeAspect="1"/>
          </p:cNvGraphicFramePr>
          <p:nvPr userDrawn="1">
            <p:custDataLst>
              <p:tags r:id="rId2"/>
            </p:custDataLst>
            <p:extLst>
              <p:ext uri="{D42A27DB-BD31-4B8C-83A1-F6EECF244321}">
                <p14:modId xmlns:p14="http://schemas.microsoft.com/office/powerpoint/2010/main" val="2283927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0E574F8-F3D9-4C21-9ACE-187BFA459F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CD17AC3-AC0C-4396-BC13-E2EC7DD532A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Graphic 5">
            <a:extLst>
              <a:ext uri="{FF2B5EF4-FFF2-40B4-BE49-F238E27FC236}">
                <a16:creationId xmlns:a16="http://schemas.microsoft.com/office/drawing/2014/main" id="{E6B818F7-67AA-4DE3-A569-6E37FE512720}"/>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556655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4880DCD-F53B-4363-AA03-C9E003376135}"/>
              </a:ext>
            </a:extLst>
          </p:cNvPr>
          <p:cNvGraphicFramePr>
            <a:graphicFrameLocks noChangeAspect="1"/>
          </p:cNvGraphicFramePr>
          <p:nvPr userDrawn="1">
            <p:custDataLst>
              <p:tags r:id="rId2"/>
            </p:custDataLst>
            <p:extLst>
              <p:ext uri="{D42A27DB-BD31-4B8C-83A1-F6EECF244321}">
                <p14:modId xmlns:p14="http://schemas.microsoft.com/office/powerpoint/2010/main" val="244971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9A108-16D7-4964-9F47-EE01131AD76E}"/>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 name="Graphic 4">
            <a:extLst>
              <a:ext uri="{FF2B5EF4-FFF2-40B4-BE49-F238E27FC236}">
                <a16:creationId xmlns:a16="http://schemas.microsoft.com/office/drawing/2014/main" id="{6CB34635-C3C2-4E50-94B2-34C997880D25}"/>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chemeClr val="tx2"/>
                </a:solidFill>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solidFill>
                  <a:schemeClr val="tx2"/>
                </a:solidFill>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AA432F-A32D-4E94-8F71-73DECCE1F6C7}"/>
              </a:ext>
            </a:extLst>
          </p:cNvPr>
          <p:cNvGraphicFramePr>
            <a:graphicFrameLocks noChangeAspect="1"/>
          </p:cNvGraphicFramePr>
          <p:nvPr userDrawn="1">
            <p:custDataLst>
              <p:tags r:id="rId2"/>
            </p:custDataLst>
            <p:extLst>
              <p:ext uri="{D42A27DB-BD31-4B8C-83A1-F6EECF244321}">
                <p14:modId xmlns:p14="http://schemas.microsoft.com/office/powerpoint/2010/main" val="124355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83F3B2E-258C-48BD-A20E-707C03BE9096}"/>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pic>
        <p:nvPicPr>
          <p:cNvPr id="10" name="Graphic 9">
            <a:extLst>
              <a:ext uri="{FF2B5EF4-FFF2-40B4-BE49-F238E27FC236}">
                <a16:creationId xmlns:a16="http://schemas.microsoft.com/office/drawing/2014/main" id="{AD63DB26-4C92-4D68-94D1-9B600529619E}"/>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01C1F2-5C7A-4457-926E-4C4F6E7631D2}"/>
              </a:ext>
            </a:extLst>
          </p:cNvPr>
          <p:cNvGraphicFramePr>
            <a:graphicFrameLocks noChangeAspect="1"/>
          </p:cNvGraphicFramePr>
          <p:nvPr userDrawn="1">
            <p:custDataLst>
              <p:tags r:id="rId2"/>
            </p:custDataLst>
            <p:extLst>
              <p:ext uri="{D42A27DB-BD31-4B8C-83A1-F6EECF244321}">
                <p14:modId xmlns:p14="http://schemas.microsoft.com/office/powerpoint/2010/main" val="141689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F1378B7-6FDD-420B-807D-589A75A983F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Graphic 6">
            <a:extLst>
              <a:ext uri="{FF2B5EF4-FFF2-40B4-BE49-F238E27FC236}">
                <a16:creationId xmlns:a16="http://schemas.microsoft.com/office/drawing/2014/main" id="{DCAC2CC1-626B-4C82-B9CD-3A288DECD085}"/>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0B2BB5-FA78-4AC3-A5EC-04D91C99E18D}"/>
              </a:ext>
            </a:extLst>
          </p:cNvPr>
          <p:cNvGraphicFramePr>
            <a:graphicFrameLocks noChangeAspect="1"/>
          </p:cNvGraphicFramePr>
          <p:nvPr userDrawn="1">
            <p:custDataLst>
              <p:tags r:id="rId2"/>
            </p:custDataLst>
            <p:extLst>
              <p:ext uri="{D42A27DB-BD31-4B8C-83A1-F6EECF244321}">
                <p14:modId xmlns:p14="http://schemas.microsoft.com/office/powerpoint/2010/main" val="4022335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F0EE5F-63BC-4260-B167-7A49DA2C36F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 name="Graphic 4">
            <a:extLst>
              <a:ext uri="{FF2B5EF4-FFF2-40B4-BE49-F238E27FC236}">
                <a16:creationId xmlns:a16="http://schemas.microsoft.com/office/drawing/2014/main" id="{5F7D9331-EFF6-4D29-923A-AA79C62FA938}"/>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831DE2-8CFA-4099-B211-EC504319C905}"/>
              </a:ext>
            </a:extLst>
          </p:cNvPr>
          <p:cNvGraphicFramePr>
            <a:graphicFrameLocks noChangeAspect="1"/>
          </p:cNvGraphicFramePr>
          <p:nvPr userDrawn="1">
            <p:custDataLst>
              <p:tags r:id="rId2"/>
            </p:custDataLst>
            <p:extLst>
              <p:ext uri="{D42A27DB-BD31-4B8C-83A1-F6EECF244321}">
                <p14:modId xmlns:p14="http://schemas.microsoft.com/office/powerpoint/2010/main" val="535234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481D90-2F73-43D5-8ACC-3DDACFA64C95}"/>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3661E428-55DE-4BB2-B03D-F6D5B0DD184F}"/>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DA23AC88-CE5A-4884-AFC2-163B3DAD285C}"/>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D10983-72EA-4433-91AF-69E7C586FBEC}"/>
              </a:ext>
            </a:extLst>
          </p:cNvPr>
          <p:cNvGraphicFramePr>
            <a:graphicFrameLocks noChangeAspect="1"/>
          </p:cNvGraphicFramePr>
          <p:nvPr userDrawn="1">
            <p:custDataLst>
              <p:tags r:id="rId2"/>
            </p:custDataLst>
            <p:extLst>
              <p:ext uri="{D42A27DB-BD31-4B8C-83A1-F6EECF244321}">
                <p14:modId xmlns:p14="http://schemas.microsoft.com/office/powerpoint/2010/main" val="3245427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1BAAAAE-93FE-4F47-828F-91BA29824D3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89FFA903-0763-442E-B86D-97457370037E}"/>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3B0B1E50-479F-4825-BA7C-6D22BBE4270C}"/>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9657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a:extLst>
              <a:ext uri="{FF2B5EF4-FFF2-40B4-BE49-F238E27FC236}">
                <a16:creationId xmlns:a16="http://schemas.microsoft.com/office/drawing/2014/main" id="{AFFEB9A6-4F0E-4AB7-B6C6-B3884B163F6C}"/>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5923"/>
            <a:ext cx="12192000" cy="4152900"/>
          </a:xfrm>
          <a:prstGeom prst="rect">
            <a:avLst/>
          </a:prstGeom>
        </p:spPr>
      </p:pic>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1</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202152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CA66B5-3225-4D14-A1D6-6009EB57FE11}"/>
              </a:ext>
            </a:extLst>
          </p:cNvPr>
          <p:cNvGraphicFramePr>
            <a:graphicFrameLocks noChangeAspect="1"/>
          </p:cNvGraphicFramePr>
          <p:nvPr userDrawn="1">
            <p:custDataLst>
              <p:tags r:id="rId2"/>
            </p:custDataLst>
            <p:extLst>
              <p:ext uri="{D42A27DB-BD31-4B8C-83A1-F6EECF244321}">
                <p14:modId xmlns:p14="http://schemas.microsoft.com/office/powerpoint/2010/main" val="423017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AD32F10-BFBF-4958-8367-CD6E9CE39F2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5F119905-A778-47E0-85C3-A3CFCC7AF970}"/>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DB3D1E55-AC38-46B4-8263-43E324B06697}"/>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8DD9CB-940B-431A-B994-1D8D12847FF5}"/>
              </a:ext>
            </a:extLst>
          </p:cNvPr>
          <p:cNvGraphicFramePr>
            <a:graphicFrameLocks noChangeAspect="1"/>
          </p:cNvGraphicFramePr>
          <p:nvPr userDrawn="1">
            <p:custDataLst>
              <p:tags r:id="rId2"/>
            </p:custDataLst>
            <p:extLst>
              <p:ext uri="{D42A27DB-BD31-4B8C-83A1-F6EECF244321}">
                <p14:modId xmlns:p14="http://schemas.microsoft.com/office/powerpoint/2010/main" val="117831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3AFE9A-B350-47CF-BD06-456FD279C2C0}"/>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23EA3D6F-550C-4D31-8785-42409DBB5ED4}"/>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DCF794B5-A979-4843-AC10-00A98783E12A}"/>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pic>
        <p:nvPicPr>
          <p:cNvPr id="11" name="Graphic 10">
            <a:extLst>
              <a:ext uri="{FF2B5EF4-FFF2-40B4-BE49-F238E27FC236}">
                <a16:creationId xmlns:a16="http://schemas.microsoft.com/office/drawing/2014/main" id="{886B7C1B-69C8-42D3-B2FD-5CCE1FAC74C6}"/>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b="3840"/>
          <a:stretch/>
        </p:blipFill>
        <p:spPr>
          <a:xfrm rot="5400000">
            <a:off x="4711699" y="-622300"/>
            <a:ext cx="6858000" cy="8102599"/>
          </a:xfrm>
          <a:prstGeom prst="rect">
            <a:avLst/>
          </a:prstGeom>
        </p:spPr>
      </p:pic>
      <p:pic>
        <p:nvPicPr>
          <p:cNvPr id="23" name="Picture 22"/>
          <p:cNvPicPr>
            <a:picLocks noChangeAspect="1"/>
          </p:cNvPicPr>
          <p:nvPr userDrawn="1"/>
        </p:nvPicPr>
        <p:blipFill rotWithShape="1">
          <a:blip r:embed="rId11">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570CE-8353-4C23-B7A7-40AD3FEAB6FB}"/>
              </a:ext>
            </a:extLst>
          </p:cNvPr>
          <p:cNvGraphicFramePr>
            <a:graphicFrameLocks noChangeAspect="1"/>
          </p:cNvGraphicFramePr>
          <p:nvPr userDrawn="1">
            <p:custDataLst>
              <p:tags r:id="rId2"/>
            </p:custDataLst>
            <p:extLst>
              <p:ext uri="{D42A27DB-BD31-4B8C-83A1-F6EECF244321}">
                <p14:modId xmlns:p14="http://schemas.microsoft.com/office/powerpoint/2010/main" val="306596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35FC93F-B4E4-4DB9-B095-7F86CCC37CDE}"/>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a:extLst>
              <a:ext uri="{FF2B5EF4-FFF2-40B4-BE49-F238E27FC236}">
                <a16:creationId xmlns:a16="http://schemas.microsoft.com/office/drawing/2014/main" id="{33B9A828-918B-48AF-B5C9-309F5B158F7A}"/>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9" name="Overlay">
            <a:extLst>
              <a:ext uri="{FF2B5EF4-FFF2-40B4-BE49-F238E27FC236}">
                <a16:creationId xmlns:a16="http://schemas.microsoft.com/office/drawing/2014/main" id="{B3232610-7ED9-4842-AD67-85C140B7EAA7}"/>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2B6B50-ADB2-4C58-A097-3324CDEEADB4}"/>
              </a:ext>
            </a:extLst>
          </p:cNvPr>
          <p:cNvGraphicFramePr>
            <a:graphicFrameLocks noChangeAspect="1"/>
          </p:cNvGraphicFramePr>
          <p:nvPr userDrawn="1">
            <p:custDataLst>
              <p:tags r:id="rId2"/>
            </p:custDataLst>
            <p:extLst>
              <p:ext uri="{D42A27DB-BD31-4B8C-83A1-F6EECF244321}">
                <p14:modId xmlns:p14="http://schemas.microsoft.com/office/powerpoint/2010/main" val="1536175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E1C6FF-E548-464E-82D1-2B01BF97600D}"/>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7" name="Picture 16">
            <a:extLst>
              <a:ext uri="{FF2B5EF4-FFF2-40B4-BE49-F238E27FC236}">
                <a16:creationId xmlns:a16="http://schemas.microsoft.com/office/drawing/2014/main" id="{93741D63-9146-408E-8173-2590D59CA67D}"/>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E359B5DB-6EEB-4CA8-B11C-C4BA425C1F0F}"/>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50669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2" name="think-cell Slide" r:id="rId6" imgW="324" imgH="324" progId="TCLayout.ActiveDocument.1">
                  <p:embed/>
                </p:oleObj>
              </mc:Choice>
              <mc:Fallback>
                <p:oleObj name="think-cell Slide" r:id="rId6" imgW="324" imgH="32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9D1803-DD6C-47EA-925F-5C664DF4D81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5" name="Picture 14">
            <a:extLst>
              <a:ext uri="{FF2B5EF4-FFF2-40B4-BE49-F238E27FC236}">
                <a16:creationId xmlns:a16="http://schemas.microsoft.com/office/drawing/2014/main" id="{B68D9E5F-7F9D-43CD-99C5-CF5AEFDA4FFB}"/>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B0B0919C-4FFD-4344-A198-C0B2B3E0E517}"/>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83FDF4-1C13-4432-9614-B86791DD55AF}"/>
              </a:ext>
            </a:extLst>
          </p:cNvPr>
          <p:cNvGraphicFramePr>
            <a:graphicFrameLocks noChangeAspect="1"/>
          </p:cNvGraphicFramePr>
          <p:nvPr userDrawn="1">
            <p:custDataLst>
              <p:tags r:id="rId2"/>
            </p:custDataLst>
            <p:extLst>
              <p:ext uri="{D42A27DB-BD31-4B8C-83A1-F6EECF244321}">
                <p14:modId xmlns:p14="http://schemas.microsoft.com/office/powerpoint/2010/main" val="209747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7EFFFD8-506B-4111-855B-60D73BE4AA91}"/>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a:extLst>
              <a:ext uri="{FF2B5EF4-FFF2-40B4-BE49-F238E27FC236}">
                <a16:creationId xmlns:a16="http://schemas.microsoft.com/office/drawing/2014/main" id="{1D50770D-8939-4921-9B43-5BCF0D856040}"/>
              </a:ext>
            </a:extLst>
          </p:cNvPr>
          <p:cNvPicPr>
            <a:picLocks noChangeAspect="1"/>
          </p:cNvPicPr>
          <p:nvPr userDrawn="1"/>
        </p:nvPicPr>
        <p:blipFill>
          <a:blip r:embed="rId8"/>
          <a:srcRect l="13" t="19" r="66455"/>
          <a:stretch>
            <a:fillRect/>
          </a:stretch>
        </p:blipFill>
        <p:spPr>
          <a:xfrm>
            <a:off x="1524" y="1310"/>
            <a:ext cx="4088312" cy="6856690"/>
          </a:xfrm>
          <a:custGeom>
            <a:avLst/>
            <a:gdLst>
              <a:gd name="connsiteX0" fmla="*/ 0 w 4088312"/>
              <a:gd name="connsiteY0" fmla="*/ 0 h 6856690"/>
              <a:gd name="connsiteX1" fmla="*/ 3264933 w 4088312"/>
              <a:gd name="connsiteY1" fmla="*/ 0 h 6856690"/>
              <a:gd name="connsiteX2" fmla="*/ 4088312 w 4088312"/>
              <a:gd name="connsiteY2" fmla="*/ 3429000 h 6856690"/>
              <a:gd name="connsiteX3" fmla="*/ 3265248 w 4088312"/>
              <a:gd name="connsiteY3" fmla="*/ 6856690 h 6856690"/>
              <a:gd name="connsiteX4" fmla="*/ 0 w 4088312"/>
              <a:gd name="connsiteY4" fmla="*/ 6856690 h 685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6690">
                <a:moveTo>
                  <a:pt x="0" y="0"/>
                </a:moveTo>
                <a:lnTo>
                  <a:pt x="3264933" y="0"/>
                </a:lnTo>
                <a:lnTo>
                  <a:pt x="4088312" y="3429000"/>
                </a:lnTo>
                <a:lnTo>
                  <a:pt x="3265248" y="6856690"/>
                </a:lnTo>
                <a:lnTo>
                  <a:pt x="0" y="6856690"/>
                </a:lnTo>
                <a:close/>
              </a:path>
            </a:pathLst>
          </a:custGeom>
        </p:spPr>
      </p:pic>
      <p:sp>
        <p:nvSpPr>
          <p:cNvPr id="13" name="Overlay">
            <a:extLst>
              <a:ext uri="{FF2B5EF4-FFF2-40B4-BE49-F238E27FC236}">
                <a16:creationId xmlns:a16="http://schemas.microsoft.com/office/drawing/2014/main" id="{8E09979B-F2DF-498E-BF53-BB5C633022A3}"/>
              </a:ext>
            </a:extLst>
          </p:cNvPr>
          <p:cNvSpPr/>
          <p:nvPr userDrawn="1">
            <p:custDataLst>
              <p:tags r:id="rId4"/>
            </p:custDataLst>
          </p:nvPr>
        </p:nvSpPr>
        <p:spPr>
          <a:xfrm>
            <a:off x="1524" y="1310"/>
            <a:ext cx="4088312" cy="6856690"/>
          </a:xfrm>
          <a:prstGeom prst="homePlate">
            <a:avLst>
              <a:gd name="adj" fmla="val 19557"/>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0" name="Graphic 9">
            <a:extLst>
              <a:ext uri="{FF2B5EF4-FFF2-40B4-BE49-F238E27FC236}">
                <a16:creationId xmlns:a16="http://schemas.microsoft.com/office/drawing/2014/main" id="{0E1A7035-7D3A-4CBC-AC28-937F538451B5}"/>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37363" t="43832" r="15615"/>
          <a:stretch/>
        </p:blipFill>
        <p:spPr>
          <a:xfrm rot="5400000">
            <a:off x="4414443" y="-919556"/>
            <a:ext cx="6858000" cy="8697111"/>
          </a:xfrm>
          <a:prstGeom prst="rect">
            <a:avLst/>
          </a:prstGeom>
        </p:spPr>
      </p:pic>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BFC38E-B4F4-4414-99C8-D0CDC41EF374}"/>
              </a:ext>
            </a:extLst>
          </p:cNvPr>
          <p:cNvGraphicFramePr>
            <a:graphicFrameLocks noChangeAspect="1"/>
          </p:cNvGraphicFramePr>
          <p:nvPr userDrawn="1">
            <p:custDataLst>
              <p:tags r:id="rId2"/>
            </p:custDataLst>
            <p:extLst>
              <p:ext uri="{D42A27DB-BD31-4B8C-83A1-F6EECF244321}">
                <p14:modId xmlns:p14="http://schemas.microsoft.com/office/powerpoint/2010/main" val="1203685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21DF92-5E54-45DF-BF9C-563BD06949E6}"/>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DF2A79C2-53BB-4402-B909-B0F6E1B88A75}"/>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7A6ABB71-BAF7-4BBB-A0C6-CF779B47E099}"/>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A03568-8C1E-4D1B-B53D-974C98D9E051}"/>
              </a:ext>
            </a:extLst>
          </p:cNvPr>
          <p:cNvGraphicFramePr>
            <a:graphicFrameLocks noChangeAspect="1"/>
          </p:cNvGraphicFramePr>
          <p:nvPr userDrawn="1">
            <p:custDataLst>
              <p:tags r:id="rId2"/>
            </p:custDataLst>
            <p:extLst>
              <p:ext uri="{D42A27DB-BD31-4B8C-83A1-F6EECF244321}">
                <p14:modId xmlns:p14="http://schemas.microsoft.com/office/powerpoint/2010/main" val="214639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1AFDECB-0DAE-4848-8638-7A18013A448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0" name="Graphic 9">
            <a:extLst>
              <a:ext uri="{FF2B5EF4-FFF2-40B4-BE49-F238E27FC236}">
                <a16:creationId xmlns:a16="http://schemas.microsoft.com/office/drawing/2014/main" id="{55CF3AB4-A533-430B-8130-0030529B47B7}"/>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a:stretch/>
        </p:blipFill>
        <p:spPr>
          <a:xfrm rot="5400000">
            <a:off x="4414443" y="-919556"/>
            <a:ext cx="6858000" cy="8697111"/>
          </a:xfrm>
          <a:prstGeom prst="rect">
            <a:avLst/>
          </a:prstGeom>
        </p:spPr>
      </p:pic>
      <p:pic>
        <p:nvPicPr>
          <p:cNvPr id="11" name="Picture 10">
            <a:extLst>
              <a:ext uri="{FF2B5EF4-FFF2-40B4-BE49-F238E27FC236}">
                <a16:creationId xmlns:a16="http://schemas.microsoft.com/office/drawing/2014/main" id="{BDADF549-360D-4CAF-9973-D8A7FE3039DB}"/>
              </a:ext>
            </a:extLst>
          </p:cNvPr>
          <p:cNvPicPr>
            <a:picLocks noChangeAspect="1"/>
          </p:cNvPicPr>
          <p:nvPr userDrawn="1"/>
        </p:nvPicPr>
        <p:blipFill>
          <a:blip r:embed="rId11"/>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17" name="Overlay">
            <a:extLst>
              <a:ext uri="{FF2B5EF4-FFF2-40B4-BE49-F238E27FC236}">
                <a16:creationId xmlns:a16="http://schemas.microsoft.com/office/drawing/2014/main" id="{19E3E548-BBBD-4611-9AB2-B1D2736E6B9F}"/>
              </a:ext>
            </a:extLst>
          </p:cNvPr>
          <p:cNvSpPr/>
          <p:nvPr userDrawn="1">
            <p:custDataLst>
              <p:tags r:id="rId4"/>
            </p:custDataLst>
          </p:nvPr>
        </p:nvSpPr>
        <p:spPr>
          <a:xfrm>
            <a:off x="1" y="0"/>
            <a:ext cx="5426920" cy="6858000"/>
          </a:xfrm>
          <a:prstGeom prst="homePlate">
            <a:avLst>
              <a:gd name="adj" fmla="val 13025"/>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828F9F-9D82-4291-9BA0-C13038588EB6}"/>
              </a:ext>
            </a:extLst>
          </p:cNvPr>
          <p:cNvGraphicFramePr>
            <a:graphicFrameLocks noChangeAspect="1"/>
          </p:cNvGraphicFramePr>
          <p:nvPr userDrawn="1">
            <p:custDataLst>
              <p:tags r:id="rId2"/>
            </p:custDataLst>
            <p:extLst>
              <p:ext uri="{D42A27DB-BD31-4B8C-83A1-F6EECF244321}">
                <p14:modId xmlns:p14="http://schemas.microsoft.com/office/powerpoint/2010/main" val="41315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B08409-D5E8-45E3-B86A-4DEC26567D21}"/>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3F0E43A4-042E-4B53-B724-5521C6914274}"/>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C6053E5F-A0FB-4533-AC20-8806FC5C4B0E}"/>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B6DB0D-D75A-4B12-A278-F40BF9E23EEB}"/>
              </a:ext>
            </a:extLst>
          </p:cNvPr>
          <p:cNvGraphicFramePr>
            <a:graphicFrameLocks noChangeAspect="1"/>
          </p:cNvGraphicFramePr>
          <p:nvPr userDrawn="1">
            <p:custDataLst>
              <p:tags r:id="rId2"/>
            </p:custDataLst>
            <p:extLst>
              <p:ext uri="{D42A27DB-BD31-4B8C-83A1-F6EECF244321}">
                <p14:modId xmlns:p14="http://schemas.microsoft.com/office/powerpoint/2010/main" val="150683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7C47DBC-7BF6-4382-8736-C5AB9C64768E}"/>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E36BEFBA-7680-4E43-B87B-4A038E3F2F16}"/>
              </a:ext>
            </a:extLst>
          </p:cNvPr>
          <p:cNvPicPr>
            <a:picLocks noChangeAspect="1"/>
          </p:cNvPicPr>
          <p:nvPr userDrawn="1"/>
        </p:nvPicPr>
        <p:blipFill>
          <a:blip r:embed="rId8"/>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16" name="Overlay">
            <a:extLst>
              <a:ext uri="{FF2B5EF4-FFF2-40B4-BE49-F238E27FC236}">
                <a16:creationId xmlns:a16="http://schemas.microsoft.com/office/drawing/2014/main" id="{E13A233A-15BF-4EFA-8126-CC6A34C84AD4}"/>
              </a:ext>
            </a:extLst>
          </p:cNvPr>
          <p:cNvSpPr/>
          <p:nvPr userDrawn="1">
            <p:custDataLst>
              <p:tags r:id="rId4"/>
            </p:custDataLst>
          </p:nvPr>
        </p:nvSpPr>
        <p:spPr>
          <a:xfrm>
            <a:off x="0" y="0"/>
            <a:ext cx="6363546" cy="6858000"/>
          </a:xfrm>
          <a:prstGeom prst="homePlate">
            <a:avLst>
              <a:gd name="adj" fmla="val 13079"/>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8904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719C14DC-995F-43D8-964D-BD81E1911DDA}"/>
              </a:ext>
            </a:extLst>
          </p:cNvPr>
          <p:cNvPicPr>
            <a:picLocks noChangeAspect="1"/>
          </p:cNvPicPr>
          <p:nvPr userDrawn="1"/>
        </p:nvPicPr>
        <p:blipFill>
          <a:blip r:embed="rId7"/>
          <a:stretch>
            <a:fillRect/>
          </a:stretch>
        </p:blipFill>
        <p:spPr>
          <a:xfrm>
            <a:off x="0" y="17249"/>
            <a:ext cx="12192000" cy="4160520"/>
          </a:xfrm>
          <a:prstGeom prst="rect">
            <a:avLst/>
          </a:prstGeom>
        </p:spPr>
      </p:pic>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2</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2285284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6F43BA-B582-4575-9AF1-366C83B8580B}"/>
              </a:ext>
            </a:extLst>
          </p:cNvPr>
          <p:cNvGraphicFramePr>
            <a:graphicFrameLocks noChangeAspect="1"/>
          </p:cNvGraphicFramePr>
          <p:nvPr userDrawn="1">
            <p:custDataLst>
              <p:tags r:id="rId2"/>
            </p:custDataLst>
            <p:extLst>
              <p:ext uri="{D42A27DB-BD31-4B8C-83A1-F6EECF244321}">
                <p14:modId xmlns:p14="http://schemas.microsoft.com/office/powerpoint/2010/main" val="2408464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F075E2-642E-4325-9E66-4930EFEDBC36}"/>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C0FBDA20-C9DC-490C-B1AF-42F96353E628}"/>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39A16FE0-C37D-4E2D-877C-84FB5D36C2BA}"/>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E8EFCA-0E21-4B49-B34E-BC35016B178D}"/>
              </a:ext>
            </a:extLst>
          </p:cNvPr>
          <p:cNvGraphicFramePr>
            <a:graphicFrameLocks noChangeAspect="1"/>
          </p:cNvGraphicFramePr>
          <p:nvPr userDrawn="1">
            <p:custDataLst>
              <p:tags r:id="rId2"/>
            </p:custDataLst>
            <p:extLst>
              <p:ext uri="{D42A27DB-BD31-4B8C-83A1-F6EECF244321}">
                <p14:modId xmlns:p14="http://schemas.microsoft.com/office/powerpoint/2010/main" val="187092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3E3434-BBCC-4475-8477-FF9EB1965B5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4D6136C3-1D16-4A7C-8BC5-58B7CEF66A43}"/>
              </a:ext>
            </a:extLst>
          </p:cNvPr>
          <p:cNvPicPr>
            <a:picLocks noChangeAspect="1"/>
          </p:cNvPicPr>
          <p:nvPr userDrawn="1"/>
        </p:nvPicPr>
        <p:blipFill>
          <a:blip r:embed="rId8"/>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13" name="Overlay">
            <a:extLst>
              <a:ext uri="{FF2B5EF4-FFF2-40B4-BE49-F238E27FC236}">
                <a16:creationId xmlns:a16="http://schemas.microsoft.com/office/drawing/2014/main" id="{5EDC5827-1340-42CE-99BF-F086005D193A}"/>
              </a:ext>
            </a:extLst>
          </p:cNvPr>
          <p:cNvSpPr/>
          <p:nvPr userDrawn="1">
            <p:custDataLst>
              <p:tags r:id="rId4"/>
            </p:custDataLst>
          </p:nvPr>
        </p:nvSpPr>
        <p:spPr>
          <a:xfrm>
            <a:off x="1" y="0"/>
            <a:ext cx="8446239" cy="6858000"/>
          </a:xfrm>
          <a:prstGeom prst="homePlate">
            <a:avLst>
              <a:gd name="adj" fmla="val 11852"/>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3258E0-E680-40B2-B152-E8DEDB6012ED}"/>
              </a:ext>
            </a:extLst>
          </p:cNvPr>
          <p:cNvGraphicFramePr>
            <a:graphicFrameLocks noChangeAspect="1"/>
          </p:cNvGraphicFramePr>
          <p:nvPr userDrawn="1">
            <p:custDataLst>
              <p:tags r:id="rId2"/>
            </p:custDataLst>
            <p:extLst>
              <p:ext uri="{D42A27DB-BD31-4B8C-83A1-F6EECF244321}">
                <p14:modId xmlns:p14="http://schemas.microsoft.com/office/powerpoint/2010/main" val="270834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D0900A-DB23-4781-BC80-DBE2D7D853D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a:extLst>
              <a:ext uri="{FF2B5EF4-FFF2-40B4-BE49-F238E27FC236}">
                <a16:creationId xmlns:a16="http://schemas.microsoft.com/office/drawing/2014/main" id="{CCA7D341-F309-4F0A-A1EC-D9FA3D2ED85F}"/>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7E9916CF-26D4-47DA-9B75-B86E995805A3}"/>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D0DCA1-102F-45A7-9826-5EB7EE404555}"/>
              </a:ext>
            </a:extLst>
          </p:cNvPr>
          <p:cNvGraphicFramePr>
            <a:graphicFrameLocks noChangeAspect="1"/>
          </p:cNvGraphicFramePr>
          <p:nvPr userDrawn="1">
            <p:custDataLst>
              <p:tags r:id="rId2"/>
            </p:custDataLst>
            <p:extLst>
              <p:ext uri="{D42A27DB-BD31-4B8C-83A1-F6EECF244321}">
                <p14:modId xmlns:p14="http://schemas.microsoft.com/office/powerpoint/2010/main" val="4018848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A53465-CD2F-448E-BCD4-A411B2476B90}"/>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0" name="Graphic 9">
            <a:extLst>
              <a:ext uri="{FF2B5EF4-FFF2-40B4-BE49-F238E27FC236}">
                <a16:creationId xmlns:a16="http://schemas.microsoft.com/office/drawing/2014/main" id="{9EEC48D4-A87E-489F-A3BA-25639ADD1340}"/>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1767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6E0533C-DD8A-4DD3-ABA2-0A72E64194B6}"/>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7FFC4AF9-A300-44F1-94B0-949D0CD0EB66}"/>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8">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A23369-6267-4380-BAB2-B35B122C16ED}"/>
              </a:ext>
            </a:extLst>
          </p:cNvPr>
          <p:cNvGraphicFramePr>
            <a:graphicFrameLocks noChangeAspect="1"/>
          </p:cNvGraphicFramePr>
          <p:nvPr userDrawn="1">
            <p:custDataLst>
              <p:tags r:id="rId2"/>
            </p:custDataLst>
            <p:extLst>
              <p:ext uri="{D42A27DB-BD31-4B8C-83A1-F6EECF244321}">
                <p14:modId xmlns:p14="http://schemas.microsoft.com/office/powerpoint/2010/main" val="1772777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690D6AC5-78D8-45EA-B8CA-2F2B4CDE3720}"/>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59F4385F-A29B-4A13-9F40-7EC2AF0421D4}"/>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5DED99-0FCE-46CB-A425-7ED72701001B}"/>
              </a:ext>
            </a:extLst>
          </p:cNvPr>
          <p:cNvGraphicFramePr>
            <a:graphicFrameLocks noChangeAspect="1"/>
          </p:cNvGraphicFramePr>
          <p:nvPr userDrawn="1">
            <p:custDataLst>
              <p:tags r:id="rId2"/>
            </p:custDataLst>
            <p:extLst>
              <p:ext uri="{D42A27DB-BD31-4B8C-83A1-F6EECF244321}">
                <p14:modId xmlns:p14="http://schemas.microsoft.com/office/powerpoint/2010/main" val="369933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5A09E7A9-25F8-438F-AA54-097986F364AD}"/>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0" name="Overlay">
            <a:extLst>
              <a:ext uri="{FF2B5EF4-FFF2-40B4-BE49-F238E27FC236}">
                <a16:creationId xmlns:a16="http://schemas.microsoft.com/office/drawing/2014/main" id="{C20056AA-F681-4888-8C37-AD918DDD3D75}"/>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82AC34-7719-402F-8A19-D09055839ABA}"/>
              </a:ext>
            </a:extLst>
          </p:cNvPr>
          <p:cNvGraphicFramePr>
            <a:graphicFrameLocks noChangeAspect="1"/>
          </p:cNvGraphicFramePr>
          <p:nvPr userDrawn="1">
            <p:custDataLst>
              <p:tags r:id="rId2"/>
            </p:custDataLst>
            <p:extLst>
              <p:ext uri="{D42A27DB-BD31-4B8C-83A1-F6EECF244321}">
                <p14:modId xmlns:p14="http://schemas.microsoft.com/office/powerpoint/2010/main" val="2329519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952778ED-EC5B-451F-B4B6-C3D0D52EC95F}"/>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99D07A-555B-4D8D-8202-C0E345450830}"/>
              </a:ext>
            </a:extLst>
          </p:cNvPr>
          <p:cNvGraphicFramePr>
            <a:graphicFrameLocks noChangeAspect="1"/>
          </p:cNvGraphicFramePr>
          <p:nvPr userDrawn="1">
            <p:custDataLst>
              <p:tags r:id="rId2"/>
            </p:custDataLst>
            <p:extLst>
              <p:ext uri="{D42A27DB-BD31-4B8C-83A1-F6EECF244321}">
                <p14:modId xmlns:p14="http://schemas.microsoft.com/office/powerpoint/2010/main" val="2367586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DAC76571-C0CC-45E2-B4DF-281DFF268A8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CD4FC4-6968-483A-90C0-A48FAB106002}"/>
              </a:ext>
            </a:extLst>
          </p:cNvPr>
          <p:cNvGraphicFramePr>
            <a:graphicFrameLocks noChangeAspect="1"/>
          </p:cNvGraphicFramePr>
          <p:nvPr userDrawn="1">
            <p:custDataLst>
              <p:tags r:id="rId2"/>
            </p:custDataLst>
            <p:extLst>
              <p:ext uri="{D42A27DB-BD31-4B8C-83A1-F6EECF244321}">
                <p14:modId xmlns:p14="http://schemas.microsoft.com/office/powerpoint/2010/main" val="385087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E5578D-7649-43A9-9984-103171FEDB8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1B7A6F0-D389-48F1-AAEE-4E7C1340F4B9}"/>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4B042359-1EF6-43C3-925D-00F6F5606EDA}"/>
              </a:ext>
            </a:extLst>
          </p:cNvPr>
          <p:cNvSpPr/>
          <p:nvPr userDrawn="1"/>
        </p:nvSpPr>
        <p:spPr>
          <a:xfrm>
            <a:off x="-1" y="0"/>
            <a:ext cx="12192000" cy="6858000"/>
          </a:xfrm>
          <a:prstGeom prst="rect">
            <a:avLst/>
          </a:prstGeom>
          <a:solidFill>
            <a:srgbClr val="000000">
              <a:alpha val="6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4809D0D-9FE5-4FE1-BD07-1E1D9A97FA1A}"/>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61808" y="2775944"/>
            <a:ext cx="5041845" cy="2235649"/>
          </a:xfrm>
          <a:prstGeom prst="rect">
            <a:avLst/>
          </a:prstGeom>
        </p:spPr>
      </p:pic>
      <p:sp>
        <p:nvSpPr>
          <p:cNvPr id="13" name="Rectangle 12">
            <a:extLst>
              <a:ext uri="{FF2B5EF4-FFF2-40B4-BE49-F238E27FC236}">
                <a16:creationId xmlns:a16="http://schemas.microsoft.com/office/drawing/2014/main" id="{413F3245-DA7C-4CDD-9F5F-0C6C183F339B}"/>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7419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0DCB426D-00A3-4D69-B954-511F90530F51}"/>
              </a:ext>
            </a:extLst>
          </p:cNvPr>
          <p:cNvPicPr>
            <a:picLocks noChangeAspect="1"/>
          </p:cNvPicPr>
          <p:nvPr userDrawn="1"/>
        </p:nvPicPr>
        <p:blipFill>
          <a:blip r:embed="rId6"/>
          <a:stretch>
            <a:fillRect/>
          </a:stretch>
        </p:blipFill>
        <p:spPr>
          <a:xfrm>
            <a:off x="-1" y="0"/>
            <a:ext cx="12208043" cy="6890084"/>
          </a:xfrm>
          <a:prstGeom prst="rect">
            <a:avLst/>
          </a:prstGeom>
        </p:spPr>
      </p:pic>
      <p:sp>
        <p:nvSpPr>
          <p:cNvPr id="9" name="Rectangle 8">
            <a:extLst>
              <a:ext uri="{FF2B5EF4-FFF2-40B4-BE49-F238E27FC236}">
                <a16:creationId xmlns:a16="http://schemas.microsoft.com/office/drawing/2014/main" id="{F8CDF4CF-360C-4399-BE3B-8CC7CA1D35D2}"/>
              </a:ext>
            </a:extLst>
          </p:cNvPr>
          <p:cNvSpPr/>
          <p:nvPr userDrawn="1"/>
        </p:nvSpPr>
        <p:spPr>
          <a:xfrm>
            <a:off x="-1" y="-13587"/>
            <a:ext cx="12208043" cy="6871587"/>
          </a:xfrm>
          <a:prstGeom prst="rect">
            <a:avLst/>
          </a:prstGeom>
          <a:solidFill>
            <a:srgbClr val="000000">
              <a:alpha val="6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descr="Text&#10;&#10;Description automatically generated">
            <a:extLst>
              <a:ext uri="{FF2B5EF4-FFF2-40B4-BE49-F238E27FC236}">
                <a16:creationId xmlns:a16="http://schemas.microsoft.com/office/drawing/2014/main" id="{6BCA901B-0297-4F9A-A445-86BF620DF36D}"/>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53262" y="3003326"/>
            <a:ext cx="5041845" cy="2235649"/>
          </a:xfrm>
          <a:prstGeom prst="rect">
            <a:avLst/>
          </a:prstGeom>
        </p:spPr>
      </p:pic>
    </p:spTree>
    <p:extLst>
      <p:ext uri="{BB962C8B-B14F-4D97-AF65-F5344CB8AC3E}">
        <p14:creationId xmlns:p14="http://schemas.microsoft.com/office/powerpoint/2010/main" val="659444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0000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103F3696-5C99-48F2-A92E-339FEF538746}"/>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0B873776-7DFA-4966-A19C-A7E8BED8FC58}"/>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4"/>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2793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0BF250A5-4BC3-4667-8931-E0FC7797AC4E}"/>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74B95AEE-9507-4168-8312-D131D3B468CB}"/>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506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265965-8C85-4414-A3E5-EBD1DD25BE4C}"/>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97C964AD-FA0D-491C-B2F5-CFB443487C10}"/>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6515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2602C396-E5DD-4EB1-A5A7-448F0D1E8034}"/>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D8AFA4C7-5C9B-4810-B18E-DC6D6D00B5D5}"/>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pic>
        <p:nvPicPr>
          <p:cNvPr id="12" name="Graphic 11">
            <a:extLst>
              <a:ext uri="{FF2B5EF4-FFF2-40B4-BE49-F238E27FC236}">
                <a16:creationId xmlns:a16="http://schemas.microsoft.com/office/drawing/2014/main" id="{9D5618C0-C151-408B-B3F9-96F2AFA2DB59}"/>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b="3675"/>
          <a:stretch/>
        </p:blipFill>
        <p:spPr>
          <a:xfrm rot="5400000">
            <a:off x="4698999" y="-635000"/>
            <a:ext cx="6858000" cy="8127999"/>
          </a:xfrm>
          <a:prstGeom prst="rect">
            <a:avLst/>
          </a:prstGeom>
        </p:spPr>
      </p:pic>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415208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EB03F537-EEE5-41B1-B64A-E3B8A570ACDE}"/>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33125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1933747B-4AC1-43C3-BA8C-1B8F3F0F5C6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5003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2E23CE98-5A45-44D5-B21A-CE2C70359AE1}"/>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CD4FC4-6968-483A-90C0-A48FAB106002}"/>
              </a:ext>
            </a:extLst>
          </p:cNvPr>
          <p:cNvGraphicFramePr>
            <a:graphicFrameLocks noChangeAspect="1"/>
          </p:cNvGraphicFramePr>
          <p:nvPr userDrawn="1">
            <p:custDataLst>
              <p:tags r:id="rId2"/>
            </p:custDataLst>
            <p:extLst>
              <p:ext uri="{D42A27DB-BD31-4B8C-83A1-F6EECF244321}">
                <p14:modId xmlns:p14="http://schemas.microsoft.com/office/powerpoint/2010/main" val="2367615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CCCD4FC4-6968-483A-90C0-A48FAB1060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E5578D-7649-43A9-9984-103171FEDB8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8" name="Graphic 7">
            <a:extLst>
              <a:ext uri="{FF2B5EF4-FFF2-40B4-BE49-F238E27FC236}">
                <a16:creationId xmlns:a16="http://schemas.microsoft.com/office/drawing/2014/main" id="{A021D436-92FF-4A66-BE5F-4B6C8D5E117E}"/>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278448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864062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1B38D0B-82C9-42F9-8645-0BBCB189E38E}"/>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88DC7E14-CA83-4901-8FA7-5E26ED537A29}"/>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pic>
        <p:nvPicPr>
          <p:cNvPr id="11" name="Graphic 10">
            <a:extLst>
              <a:ext uri="{FF2B5EF4-FFF2-40B4-BE49-F238E27FC236}">
                <a16:creationId xmlns:a16="http://schemas.microsoft.com/office/drawing/2014/main" id="{507E1A5D-58E3-4FB3-A7A6-2323DFC786C1}"/>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b="3511"/>
          <a:stretch/>
        </p:blipFill>
        <p:spPr>
          <a:xfrm rot="5400000">
            <a:off x="4686299" y="-647700"/>
            <a:ext cx="6858000" cy="8153399"/>
          </a:xfrm>
          <a:prstGeom prst="rect">
            <a:avLst/>
          </a:prstGeom>
        </p:spPr>
      </p:pic>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6783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CC013CC-4979-4CC1-B6A8-428AB658F58E}"/>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F4422104-F14A-4EA1-B11A-447AADA54829}"/>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09-Jan-22</a:t>
            </a:fld>
            <a:endParaRPr lang="en-US"/>
          </a:p>
        </p:txBody>
      </p:sp>
      <p:sp>
        <p:nvSpPr>
          <p:cNvPr id="5" name="Footer Placeholder 4"/>
          <p:cNvSpPr>
            <a:spLocks noGrp="1"/>
          </p:cNvSpPr>
          <p:nvPr>
            <p:ph type="ftr" sz="quarter" idx="11"/>
          </p:nvPr>
        </p:nvSpPr>
        <p:spPr/>
        <p:txBody>
          <a:bodyPr/>
          <a:lstStyle/>
          <a:p>
            <a:r>
              <a:rPr lang="en-US"/>
              <a:t>Side</a:t>
            </a: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98655402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3F6D8C-92C7-40F9-BF9E-4C8E2E179111}"/>
              </a:ext>
            </a:extLst>
          </p:cNvPr>
          <p:cNvGraphicFramePr>
            <a:graphicFrameLocks noChangeAspect="1"/>
          </p:cNvGraphicFramePr>
          <p:nvPr userDrawn="1">
            <p:custDataLst>
              <p:tags r:id="rId2"/>
            </p:custDataLst>
            <p:extLst>
              <p:ext uri="{D42A27DB-BD31-4B8C-83A1-F6EECF244321}">
                <p14:modId xmlns:p14="http://schemas.microsoft.com/office/powerpoint/2010/main" val="2859378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CBACDA-C8C8-475D-9BBE-7EF511168E33}"/>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Graphic 5">
            <a:extLst>
              <a:ext uri="{FF2B5EF4-FFF2-40B4-BE49-F238E27FC236}">
                <a16:creationId xmlns:a16="http://schemas.microsoft.com/office/drawing/2014/main" id="{EAC71BEF-7AF7-4B8B-82EE-C79DBCA1905F}"/>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chemeClr val="tx2"/>
                </a:solidFill>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solidFill>
                  <a:schemeClr val="tx2"/>
                </a:solidFill>
              </a:defRPr>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vmlDrawing" Target="../drawings/vmlDrawing1.v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heme" Target="../theme/theme1.xml"/><Relationship Id="rId88"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5"/>
            </p:custDataLst>
            <p:extLst>
              <p:ext uri="{D42A27DB-BD31-4B8C-83A1-F6EECF244321}">
                <p14:modId xmlns:p14="http://schemas.microsoft.com/office/powerpoint/2010/main" val="8167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7" imgW="270" imgH="270" progId="TCLayout.ActiveDocument.1">
                  <p:embed/>
                </p:oleObj>
              </mc:Choice>
              <mc:Fallback>
                <p:oleObj name="think-cell Slide" r:id="rId87" imgW="270" imgH="270" progId="TCLayout.ActiveDocument.1">
                  <p:embed/>
                  <p:pic>
                    <p:nvPicPr>
                      <p:cNvPr id="0" name=""/>
                      <p:cNvPicPr/>
                      <p:nvPr/>
                    </p:nvPicPr>
                    <p:blipFill>
                      <a:blip r:embed="rId88"/>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BEFBF3A-05EA-4502-B66F-8E5CF10C7199}"/>
              </a:ext>
            </a:extLst>
          </p:cNvPr>
          <p:cNvSpPr/>
          <p:nvPr userDrawn="1">
            <p:custDataLst>
              <p:tags r:id="rId8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186" r:id="rId3"/>
    <p:sldLayoutId id="2147485187" r:id="rId4"/>
    <p:sldLayoutId id="2147485188" r:id="rId5"/>
    <p:sldLayoutId id="2147485189" r:id="rId6"/>
    <p:sldLayoutId id="2147485086" r:id="rId7"/>
    <p:sldLayoutId id="2147485192" r:id="rId8"/>
    <p:sldLayoutId id="2147485183" r:id="rId9"/>
    <p:sldLayoutId id="2147485158" r:id="rId10"/>
    <p:sldLayoutId id="2147485113" r:id="rId11"/>
    <p:sldLayoutId id="2147485114" r:id="rId12"/>
    <p:sldLayoutId id="2147485154" r:id="rId13"/>
    <p:sldLayoutId id="2147485162" r:id="rId14"/>
    <p:sldLayoutId id="2147485149" r:id="rId15"/>
    <p:sldLayoutId id="2147485087" r:id="rId16"/>
    <p:sldLayoutId id="2147485112" r:id="rId17"/>
    <p:sldLayoutId id="2147485155" r:id="rId18"/>
    <p:sldLayoutId id="2147485164" r:id="rId19"/>
    <p:sldLayoutId id="2147485109" r:id="rId20"/>
    <p:sldLayoutId id="2147485165" r:id="rId21"/>
    <p:sldLayoutId id="2147485110" r:id="rId22"/>
    <p:sldLayoutId id="2147485166" r:id="rId23"/>
    <p:sldLayoutId id="2147485156" r:id="rId24"/>
    <p:sldLayoutId id="2147485167" r:id="rId25"/>
    <p:sldLayoutId id="2147485108" r:id="rId26"/>
    <p:sldLayoutId id="2147485107" r:id="rId27"/>
    <p:sldLayoutId id="2147485106" r:id="rId28"/>
    <p:sldLayoutId id="2147485090" r:id="rId29"/>
    <p:sldLayoutId id="2147485091" r:id="rId30"/>
    <p:sldLayoutId id="2147485092" r:id="rId31"/>
    <p:sldLayoutId id="2147485093" r:id="rId32"/>
    <p:sldLayoutId id="2147485116" r:id="rId33"/>
    <p:sldLayoutId id="2147485191" r:id="rId34"/>
    <p:sldLayoutId id="2147485161" r:id="rId35"/>
    <p:sldLayoutId id="2147485159" r:id="rId36"/>
    <p:sldLayoutId id="2147485194" r:id="rId37"/>
    <p:sldLayoutId id="2147485195" r:id="rId38"/>
    <p:sldLayoutId id="2147485196" r:id="rId39"/>
    <p:sldLayoutId id="2147485197" r:id="rId40"/>
    <p:sldLayoutId id="2147485198" r:id="rId41"/>
    <p:sldLayoutId id="2147485119" r:id="rId42"/>
    <p:sldLayoutId id="2147485193" r:id="rId43"/>
    <p:sldLayoutId id="2147485184" r:id="rId44"/>
    <p:sldLayoutId id="2147485137" r:id="rId45"/>
    <p:sldLayoutId id="2147485120" r:id="rId46"/>
    <p:sldLayoutId id="2147485121" r:id="rId47"/>
    <p:sldLayoutId id="2147485141" r:id="rId48"/>
    <p:sldLayoutId id="2147485163" r:id="rId49"/>
    <p:sldLayoutId id="2147485139" r:id="rId50"/>
    <p:sldLayoutId id="2147485140" r:id="rId51"/>
    <p:sldLayoutId id="2147485122" r:id="rId52"/>
    <p:sldLayoutId id="2147485123" r:id="rId53"/>
    <p:sldLayoutId id="2147485151" r:id="rId54"/>
    <p:sldLayoutId id="2147485168" r:id="rId55"/>
    <p:sldLayoutId id="2147485127" r:id="rId56"/>
    <p:sldLayoutId id="2147485169" r:id="rId57"/>
    <p:sldLayoutId id="2147485126" r:id="rId58"/>
    <p:sldLayoutId id="2147485170" r:id="rId59"/>
    <p:sldLayoutId id="2147485153" r:id="rId60"/>
    <p:sldLayoutId id="2147485171" r:id="rId61"/>
    <p:sldLayoutId id="2147485128" r:id="rId62"/>
    <p:sldLayoutId id="2147485129" r:id="rId63"/>
    <p:sldLayoutId id="2147485130" r:id="rId64"/>
    <p:sldLayoutId id="2147485131" r:id="rId65"/>
    <p:sldLayoutId id="2147485145" r:id="rId66"/>
    <p:sldLayoutId id="2147485133" r:id="rId67"/>
    <p:sldLayoutId id="2147485144" r:id="rId68"/>
    <p:sldLayoutId id="2147485134" r:id="rId69"/>
    <p:sldLayoutId id="2147485146" r:id="rId70"/>
    <p:sldLayoutId id="2147485190" r:id="rId71"/>
    <p:sldLayoutId id="2147485160" r:id="rId72"/>
    <p:sldLayoutId id="2147485172" r:id="rId73"/>
    <p:sldLayoutId id="2147485173" r:id="rId74"/>
    <p:sldLayoutId id="2147485174" r:id="rId75"/>
    <p:sldLayoutId id="2147485175" r:id="rId76"/>
    <p:sldLayoutId id="2147485176" r:id="rId77"/>
    <p:sldLayoutId id="2147485177" r:id="rId78"/>
    <p:sldLayoutId id="2147485178" r:id="rId79"/>
    <p:sldLayoutId id="2147485179" r:id="rId80"/>
    <p:sldLayoutId id="2147485180" r:id="rId81"/>
    <p:sldLayoutId id="2147485199" r:id="rId8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81.xml"/><Relationship Id="rId7" Type="http://schemas.openxmlformats.org/officeDocument/2006/relationships/oleObject" Target="../embeddings/oleObject78.bin"/><Relationship Id="rId2" Type="http://schemas.openxmlformats.org/officeDocument/2006/relationships/tags" Target="../tags/tag180.xml"/><Relationship Id="rId1" Type="http://schemas.openxmlformats.org/officeDocument/2006/relationships/vmlDrawing" Target="../drawings/vmlDrawing78.vml"/><Relationship Id="rId6" Type="http://schemas.openxmlformats.org/officeDocument/2006/relationships/notesSlide" Target="../notesSlides/notesSlide1.xml"/><Relationship Id="rId11" Type="http://schemas.openxmlformats.org/officeDocument/2006/relationships/image" Target="../media/image20.png"/><Relationship Id="rId5" Type="http://schemas.openxmlformats.org/officeDocument/2006/relationships/slideLayout" Target="../slideLayouts/slideLayout2.xml"/><Relationship Id="rId10" Type="http://schemas.openxmlformats.org/officeDocument/2006/relationships/image" Target="../media/image19.jpeg"/><Relationship Id="rId4" Type="http://schemas.openxmlformats.org/officeDocument/2006/relationships/tags" Target="../tags/tag182.xml"/><Relationship Id="rId9" Type="http://schemas.openxmlformats.org/officeDocument/2006/relationships/image" Target="../media/image18.png"/></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5.svg"/></Relationships>
</file>

<file path=ppt/slides/_rels/slide1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6.png"/><Relationship Id="rId7"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8.png"/><Relationship Id="rId7" Type="http://schemas.openxmlformats.org/officeDocument/2006/relationships/image" Target="../media/image39.sv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52.png"/></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16.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18" Type="http://schemas.openxmlformats.org/officeDocument/2006/relationships/image" Target="../media/image65.png"/><Relationship Id="rId3" Type="http://schemas.openxmlformats.org/officeDocument/2006/relationships/diagramData" Target="../diagrams/data2.xml"/><Relationship Id="rId21" Type="http://schemas.openxmlformats.org/officeDocument/2006/relationships/image" Target="../media/image68.svg"/><Relationship Id="rId7" Type="http://schemas.microsoft.com/office/2007/relationships/diagramDrawing" Target="../diagrams/drawing2.xml"/><Relationship Id="rId12" Type="http://schemas.openxmlformats.org/officeDocument/2006/relationships/image" Target="../media/image59.png"/><Relationship Id="rId17" Type="http://schemas.openxmlformats.org/officeDocument/2006/relationships/image" Target="../media/image64.svg"/><Relationship Id="rId2" Type="http://schemas.openxmlformats.org/officeDocument/2006/relationships/notesSlide" Target="../notesSlides/notesSlide16.xml"/><Relationship Id="rId16" Type="http://schemas.openxmlformats.org/officeDocument/2006/relationships/image" Target="../media/image63.png"/><Relationship Id="rId20" Type="http://schemas.openxmlformats.org/officeDocument/2006/relationships/image" Target="../media/image67.png"/><Relationship Id="rId1" Type="http://schemas.openxmlformats.org/officeDocument/2006/relationships/slideLayout" Target="../slideLayouts/slideLayout9.xml"/><Relationship Id="rId6" Type="http://schemas.openxmlformats.org/officeDocument/2006/relationships/diagramColors" Target="../diagrams/colors2.xml"/><Relationship Id="rId11" Type="http://schemas.openxmlformats.org/officeDocument/2006/relationships/image" Target="../media/image58.svg"/><Relationship Id="rId5" Type="http://schemas.openxmlformats.org/officeDocument/2006/relationships/diagramQuickStyle" Target="../diagrams/quickStyle2.xml"/><Relationship Id="rId15" Type="http://schemas.openxmlformats.org/officeDocument/2006/relationships/image" Target="../media/image62.svg"/><Relationship Id="rId10" Type="http://schemas.openxmlformats.org/officeDocument/2006/relationships/image" Target="../media/image57.png"/><Relationship Id="rId19" Type="http://schemas.openxmlformats.org/officeDocument/2006/relationships/image" Target="../media/image66.svg"/><Relationship Id="rId4" Type="http://schemas.openxmlformats.org/officeDocument/2006/relationships/diagramLayout" Target="../diagrams/layout2.xml"/><Relationship Id="rId9" Type="http://schemas.openxmlformats.org/officeDocument/2006/relationships/image" Target="../media/image56.svg"/><Relationship Id="rId14" Type="http://schemas.openxmlformats.org/officeDocument/2006/relationships/image" Target="../media/image61.png"/></Relationships>
</file>

<file path=ppt/slides/_rels/slide17.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193.xml"/><Relationship Id="rId7" Type="http://schemas.openxmlformats.org/officeDocument/2006/relationships/oleObject" Target="../embeddings/oleObject80.bin"/><Relationship Id="rId2" Type="http://schemas.openxmlformats.org/officeDocument/2006/relationships/tags" Target="../tags/tag192.xml"/><Relationship Id="rId1" Type="http://schemas.openxmlformats.org/officeDocument/2006/relationships/vmlDrawing" Target="../drawings/vmlDrawing80.vml"/><Relationship Id="rId6" Type="http://schemas.openxmlformats.org/officeDocument/2006/relationships/notesSlide" Target="../notesSlides/notesSlide17.xml"/><Relationship Id="rId5" Type="http://schemas.openxmlformats.org/officeDocument/2006/relationships/slideLayout" Target="../slideLayouts/slideLayout12.xml"/><Relationship Id="rId4" Type="http://schemas.openxmlformats.org/officeDocument/2006/relationships/tags" Target="../tags/tag194.xml"/></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9.xml"/><Relationship Id="rId5" Type="http://schemas.openxmlformats.org/officeDocument/2006/relationships/image" Target="../media/image72.png"/><Relationship Id="rId4" Type="http://schemas.openxmlformats.org/officeDocument/2006/relationships/image" Target="../media/image71.png"/></Relationships>
</file>

<file path=ppt/slides/_rels/slide1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9.xml"/><Relationship Id="rId5" Type="http://schemas.openxmlformats.org/officeDocument/2006/relationships/image" Target="../media/image76.png"/><Relationship Id="rId4" Type="http://schemas.openxmlformats.org/officeDocument/2006/relationships/image" Target="../media/image75.png"/></Relationships>
</file>

<file path=ppt/slides/_rels/slide2.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oleObject" Target="../embeddings/oleObject79.bin"/><Relationship Id="rId18" Type="http://schemas.openxmlformats.org/officeDocument/2006/relationships/image" Target="../media/image25.jpeg"/><Relationship Id="rId3" Type="http://schemas.openxmlformats.org/officeDocument/2006/relationships/tags" Target="../tags/tag184.xml"/><Relationship Id="rId21" Type="http://schemas.openxmlformats.org/officeDocument/2006/relationships/image" Target="../media/image19.jpeg"/><Relationship Id="rId7" Type="http://schemas.openxmlformats.org/officeDocument/2006/relationships/tags" Target="../tags/tag188.xml"/><Relationship Id="rId12" Type="http://schemas.openxmlformats.org/officeDocument/2006/relationships/notesSlide" Target="../notesSlides/notesSlide2.xml"/><Relationship Id="rId17" Type="http://schemas.openxmlformats.org/officeDocument/2006/relationships/image" Target="../media/image24.jpeg"/><Relationship Id="rId2" Type="http://schemas.openxmlformats.org/officeDocument/2006/relationships/tags" Target="../tags/tag183.xml"/><Relationship Id="rId16" Type="http://schemas.openxmlformats.org/officeDocument/2006/relationships/image" Target="../media/image23.jpeg"/><Relationship Id="rId20" Type="http://schemas.openxmlformats.org/officeDocument/2006/relationships/image" Target="../media/image27.jpeg"/><Relationship Id="rId1" Type="http://schemas.openxmlformats.org/officeDocument/2006/relationships/vmlDrawing" Target="../drawings/vmlDrawing79.vml"/><Relationship Id="rId6" Type="http://schemas.openxmlformats.org/officeDocument/2006/relationships/tags" Target="../tags/tag187.xml"/><Relationship Id="rId11" Type="http://schemas.openxmlformats.org/officeDocument/2006/relationships/slideLayout" Target="../slideLayouts/slideLayout67.xml"/><Relationship Id="rId5" Type="http://schemas.openxmlformats.org/officeDocument/2006/relationships/tags" Target="../tags/tag186.xml"/><Relationship Id="rId15" Type="http://schemas.openxmlformats.org/officeDocument/2006/relationships/image" Target="../media/image22.png"/><Relationship Id="rId10" Type="http://schemas.openxmlformats.org/officeDocument/2006/relationships/tags" Target="../tags/tag191.xml"/><Relationship Id="rId19" Type="http://schemas.openxmlformats.org/officeDocument/2006/relationships/image" Target="../media/image26.jpeg"/><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9.xml"/><Relationship Id="rId4" Type="http://schemas.openxmlformats.org/officeDocument/2006/relationships/image" Target="../media/image87.png"/></Relationships>
</file>

<file path=ppt/slides/_rels/slide2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32.png"/><Relationship Id="rId7" Type="http://schemas.openxmlformats.org/officeDocument/2006/relationships/image" Target="../media/image91.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33.svg"/></Relationships>
</file>

<file path=ppt/slides/_rels/slide27.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32.png"/><Relationship Id="rId7" Type="http://schemas.openxmlformats.org/officeDocument/2006/relationships/image" Target="../media/image95.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33.svg"/></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99.jpe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33.svg"/></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101.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40.jpeg"/><Relationship Id="rId5" Type="http://schemas.openxmlformats.org/officeDocument/2006/relationships/image" Target="../media/image100.png"/><Relationship Id="rId4" Type="http://schemas.openxmlformats.org/officeDocument/2006/relationships/image" Target="../media/image33.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95.xml"/><Relationship Id="rId1" Type="http://schemas.openxmlformats.org/officeDocument/2006/relationships/vmlDrawing" Target="../drawings/vmlDrawing81.vml"/><Relationship Id="rId6" Type="http://schemas.openxmlformats.org/officeDocument/2006/relationships/image" Target="../media/image114.png"/><Relationship Id="rId5" Type="http://schemas.openxmlformats.org/officeDocument/2006/relationships/image" Target="../media/image21.emf"/><Relationship Id="rId4" Type="http://schemas.openxmlformats.org/officeDocument/2006/relationships/oleObject" Target="../embeddings/oleObject81.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96.xml"/><Relationship Id="rId1" Type="http://schemas.openxmlformats.org/officeDocument/2006/relationships/vmlDrawing" Target="../drawings/vmlDrawing82.vml"/><Relationship Id="rId5" Type="http://schemas.openxmlformats.org/officeDocument/2006/relationships/image" Target="../media/image21.emf"/><Relationship Id="rId4" Type="http://schemas.openxmlformats.org/officeDocument/2006/relationships/oleObject" Target="../embeddings/oleObject82.bin"/></Relationships>
</file>

<file path=ppt/slides/_rels/slide4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97.xml"/><Relationship Id="rId1" Type="http://schemas.openxmlformats.org/officeDocument/2006/relationships/vmlDrawing" Target="../drawings/vmlDrawing83.vml"/><Relationship Id="rId5" Type="http://schemas.openxmlformats.org/officeDocument/2006/relationships/image" Target="../media/image21.emf"/><Relationship Id="rId4" Type="http://schemas.openxmlformats.org/officeDocument/2006/relationships/oleObject" Target="../embeddings/oleObject83.bin"/></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52.png"/><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21.emf"/><Relationship Id="rId2" Type="http://schemas.openxmlformats.org/officeDocument/2006/relationships/tags" Target="../tags/tag198.xml"/><Relationship Id="rId1" Type="http://schemas.openxmlformats.org/officeDocument/2006/relationships/vmlDrawing" Target="../drawings/vmlDrawing84.vml"/><Relationship Id="rId6" Type="http://schemas.openxmlformats.org/officeDocument/2006/relationships/oleObject" Target="../embeddings/oleObject84.bin"/><Relationship Id="rId5" Type="http://schemas.openxmlformats.org/officeDocument/2006/relationships/notesSlide" Target="../notesSlides/notesSlide22.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slides/_rels/slide50.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21.emf"/><Relationship Id="rId2" Type="http://schemas.openxmlformats.org/officeDocument/2006/relationships/tags" Target="../tags/tag200.xml"/><Relationship Id="rId1" Type="http://schemas.openxmlformats.org/officeDocument/2006/relationships/vmlDrawing" Target="../drawings/vmlDrawing85.vml"/><Relationship Id="rId6" Type="http://schemas.openxmlformats.org/officeDocument/2006/relationships/oleObject" Target="../embeddings/oleObject85.bin"/><Relationship Id="rId5" Type="http://schemas.openxmlformats.org/officeDocument/2006/relationships/notesSlide" Target="../notesSlides/notesSlide23.xml"/><Relationship Id="rId4"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21.emf"/><Relationship Id="rId2" Type="http://schemas.openxmlformats.org/officeDocument/2006/relationships/tags" Target="../tags/tag202.xml"/><Relationship Id="rId1" Type="http://schemas.openxmlformats.org/officeDocument/2006/relationships/vmlDrawing" Target="../drawings/vmlDrawing86.vml"/><Relationship Id="rId6" Type="http://schemas.openxmlformats.org/officeDocument/2006/relationships/oleObject" Target="../embeddings/oleObject86.bin"/><Relationship Id="rId5" Type="http://schemas.openxmlformats.org/officeDocument/2006/relationships/notesSlide" Target="../notesSlides/notesSlide24.xml"/><Relationship Id="rId4"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tags" Target="../tags/tag205.xml"/><Relationship Id="rId7" Type="http://schemas.openxmlformats.org/officeDocument/2006/relationships/image" Target="../media/image21.emf"/><Relationship Id="rId2" Type="http://schemas.openxmlformats.org/officeDocument/2006/relationships/tags" Target="../tags/tag204.xml"/><Relationship Id="rId1" Type="http://schemas.openxmlformats.org/officeDocument/2006/relationships/vmlDrawing" Target="../drawings/vmlDrawing87.vml"/><Relationship Id="rId6" Type="http://schemas.openxmlformats.org/officeDocument/2006/relationships/oleObject" Target="../embeddings/oleObject87.bin"/><Relationship Id="rId5" Type="http://schemas.openxmlformats.org/officeDocument/2006/relationships/notesSlide" Target="../notesSlides/notesSlide25.xml"/><Relationship Id="rId4"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hyperlink" Target="https://www.gminsights.com/industry-analysis/video-conferencing-market" TargetMode="Externa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6.xml"/><Relationship Id="rId1" Type="http://schemas.openxmlformats.org/officeDocument/2006/relationships/slideLayout" Target="../slideLayouts/slideLayout82.xml"/><Relationship Id="rId6" Type="http://schemas.openxmlformats.org/officeDocument/2006/relationships/hyperlink" Target="https://www.gartner.com/en/newsroom/press-releases/2020-04-03-gartner-cfo-surey-reveals-74-percent-of-organizations-to-shift-some-employees-to-remote-work-permanently2" TargetMode="External"/><Relationship Id="rId5" Type="http://schemas.openxmlformats.org/officeDocument/2006/relationships/hyperlink" Target="https://www.techrepublic.com/article/consumer-tech-spending-to-top-2-trillion-by-2023-thanks-to-smart-home-devices-and-on-demand-services/" TargetMode="External"/><Relationship Id="rId4" Type="http://schemas.openxmlformats.org/officeDocument/2006/relationships/image" Target="../media/image120.png"/></Relationships>
</file>

<file path=ppt/slides/_rels/slide5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7.xml"/><Relationship Id="rId1" Type="http://schemas.openxmlformats.org/officeDocument/2006/relationships/slideLayout" Target="../slideLayouts/slideLayout82.xml"/><Relationship Id="rId6" Type="http://schemas.openxmlformats.org/officeDocument/2006/relationships/hyperlink" Target="https://strategicmanagementinsight.com/swot-analyses/apple-swot-analysis.html" TargetMode="External"/><Relationship Id="rId5" Type="http://schemas.openxmlformats.org/officeDocument/2006/relationships/hyperlink" Target="https://www.security.org/resources/data-tech-companies-have/" TargetMode="External"/><Relationship Id="rId4" Type="http://schemas.openxmlformats.org/officeDocument/2006/relationships/image" Target="../media/image122.png"/></Relationships>
</file>

<file path=ppt/slides/_rels/slide56.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21.emf"/><Relationship Id="rId2" Type="http://schemas.openxmlformats.org/officeDocument/2006/relationships/tags" Target="../tags/tag206.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notesSlide" Target="../notesSlides/notesSlide28.xml"/><Relationship Id="rId4"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21.emf"/><Relationship Id="rId2" Type="http://schemas.openxmlformats.org/officeDocument/2006/relationships/tags" Target="../tags/tag208.xml"/><Relationship Id="rId1" Type="http://schemas.openxmlformats.org/officeDocument/2006/relationships/vmlDrawing" Target="../drawings/vmlDrawing89.vml"/><Relationship Id="rId6" Type="http://schemas.openxmlformats.org/officeDocument/2006/relationships/oleObject" Target="../embeddings/oleObject89.bin"/><Relationship Id="rId5" Type="http://schemas.openxmlformats.org/officeDocument/2006/relationships/notesSlide" Target="../notesSlides/notesSlide29.xml"/><Relationship Id="rId4"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tags" Target="../tags/tag211.xml"/><Relationship Id="rId7" Type="http://schemas.openxmlformats.org/officeDocument/2006/relationships/image" Target="../media/image21.emf"/><Relationship Id="rId2" Type="http://schemas.openxmlformats.org/officeDocument/2006/relationships/tags" Target="../tags/tag210.xml"/><Relationship Id="rId1" Type="http://schemas.openxmlformats.org/officeDocument/2006/relationships/vmlDrawing" Target="../drawings/vmlDrawing90.vml"/><Relationship Id="rId6" Type="http://schemas.openxmlformats.org/officeDocument/2006/relationships/oleObject" Target="../embeddings/oleObject90.bin"/><Relationship Id="rId5" Type="http://schemas.openxmlformats.org/officeDocument/2006/relationships/notesSlide" Target="../notesSlides/notesSlide30.xml"/><Relationship Id="rId10" Type="http://schemas.openxmlformats.org/officeDocument/2006/relationships/image" Target="../media/image125.png"/><Relationship Id="rId4" Type="http://schemas.openxmlformats.org/officeDocument/2006/relationships/slideLayout" Target="../slideLayouts/slideLayout7.xml"/><Relationship Id="rId9" Type="http://schemas.openxmlformats.org/officeDocument/2006/relationships/image" Target="../media/image124.png"/></Relationships>
</file>

<file path=ppt/slides/_rels/slide59.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21.emf"/><Relationship Id="rId2" Type="http://schemas.openxmlformats.org/officeDocument/2006/relationships/tags" Target="../tags/tag212.xml"/><Relationship Id="rId1" Type="http://schemas.openxmlformats.org/officeDocument/2006/relationships/vmlDrawing" Target="../drawings/vmlDrawing91.vml"/><Relationship Id="rId6" Type="http://schemas.openxmlformats.org/officeDocument/2006/relationships/oleObject" Target="../embeddings/oleObject91.bin"/><Relationship Id="rId5" Type="http://schemas.openxmlformats.org/officeDocument/2006/relationships/notesSlide" Target="../notesSlides/notesSlide31.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40.jpeg"/><Relationship Id="rId4" Type="http://schemas.openxmlformats.org/officeDocument/2006/relationships/image" Target="../media/image33.svg"/></Relationships>
</file>

<file path=ppt/slides/_rels/slide60.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21.emf"/><Relationship Id="rId2" Type="http://schemas.openxmlformats.org/officeDocument/2006/relationships/tags" Target="../tags/tag214.xml"/><Relationship Id="rId1" Type="http://schemas.openxmlformats.org/officeDocument/2006/relationships/vmlDrawing" Target="../drawings/vmlDrawing92.vml"/><Relationship Id="rId6" Type="http://schemas.openxmlformats.org/officeDocument/2006/relationships/oleObject" Target="../embeddings/oleObject92.bin"/><Relationship Id="rId5" Type="http://schemas.openxmlformats.org/officeDocument/2006/relationships/notesSlide" Target="../notesSlides/notesSlide32.xml"/><Relationship Id="rId4"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21.emf"/><Relationship Id="rId2" Type="http://schemas.openxmlformats.org/officeDocument/2006/relationships/tags" Target="../tags/tag216.xml"/><Relationship Id="rId1" Type="http://schemas.openxmlformats.org/officeDocument/2006/relationships/vmlDrawing" Target="../drawings/vmlDrawing93.vml"/><Relationship Id="rId6" Type="http://schemas.openxmlformats.org/officeDocument/2006/relationships/oleObject" Target="../embeddings/oleObject93.bin"/><Relationship Id="rId5" Type="http://schemas.openxmlformats.org/officeDocument/2006/relationships/notesSlide" Target="../notesSlides/notesSlide33.xml"/><Relationship Id="rId4"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18.xml"/><Relationship Id="rId1" Type="http://schemas.openxmlformats.org/officeDocument/2006/relationships/vmlDrawing" Target="../drawings/vmlDrawing94.vml"/><Relationship Id="rId5" Type="http://schemas.openxmlformats.org/officeDocument/2006/relationships/image" Target="../media/image21.emf"/><Relationship Id="rId4" Type="http://schemas.openxmlformats.org/officeDocument/2006/relationships/oleObject" Target="../embeddings/oleObject94.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19.xml"/><Relationship Id="rId1" Type="http://schemas.openxmlformats.org/officeDocument/2006/relationships/vmlDrawing" Target="../drawings/vmlDrawing95.vml"/><Relationship Id="rId5" Type="http://schemas.openxmlformats.org/officeDocument/2006/relationships/image" Target="../media/image21.emf"/><Relationship Id="rId4" Type="http://schemas.openxmlformats.org/officeDocument/2006/relationships/oleObject" Target="../embeddings/oleObject95.bin"/></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image" Target="../media/image41.png"/><Relationship Id="rId4" Type="http://schemas.openxmlformats.org/officeDocument/2006/relationships/image" Target="../media/image33.sv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42.png"/><Relationship Id="rId4" Type="http://schemas.openxmlformats.org/officeDocument/2006/relationships/image" Target="../media/image33.sv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3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71322D6-8FFD-45A7-8C6B-BF09AD8940A7}"/>
              </a:ext>
            </a:extLst>
          </p:cNvPr>
          <p:cNvGraphicFramePr>
            <a:graphicFrameLocks noChangeAspect="1"/>
          </p:cNvGraphicFramePr>
          <p:nvPr>
            <p:custDataLst>
              <p:tags r:id="rId2"/>
            </p:custDataLst>
            <p:extLst>
              <p:ext uri="{D42A27DB-BD31-4B8C-83A1-F6EECF244321}">
                <p14:modId xmlns:p14="http://schemas.microsoft.com/office/powerpoint/2010/main" val="779185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7" imgW="415" imgH="416" progId="TCLayout.ActiveDocument.1">
                  <p:embed/>
                </p:oleObj>
              </mc:Choice>
              <mc:Fallback>
                <p:oleObj name="think-cell Slide" r:id="rId7" imgW="415" imgH="41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122634B-6CB9-4948-A60A-DD785AA3C005}"/>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itle 6">
            <a:extLst>
              <a:ext uri="{FF2B5EF4-FFF2-40B4-BE49-F238E27FC236}">
                <a16:creationId xmlns:a16="http://schemas.microsoft.com/office/drawing/2014/main" id="{764B447B-A9F2-44E3-9DBB-5092AD87D624}"/>
              </a:ext>
            </a:extLst>
          </p:cNvPr>
          <p:cNvSpPr>
            <a:spLocks noGrp="1"/>
          </p:cNvSpPr>
          <p:nvPr>
            <p:ph type="ctrTitle"/>
          </p:nvPr>
        </p:nvSpPr>
        <p:spPr>
          <a:xfrm>
            <a:off x="719008" y="3873500"/>
            <a:ext cx="6850762" cy="1303020"/>
          </a:xfrm>
        </p:spPr>
        <p:txBody>
          <a:bodyPr vert="horz">
            <a:normAutofit/>
          </a:bodyPr>
          <a:lstStyle/>
          <a:p>
            <a:r>
              <a:rPr lang="en-US" sz="3600"/>
              <a:t>Capstone Project</a:t>
            </a:r>
          </a:p>
        </p:txBody>
      </p:sp>
      <p:sp>
        <p:nvSpPr>
          <p:cNvPr id="8" name="Text Placeholder 7">
            <a:extLst>
              <a:ext uri="{FF2B5EF4-FFF2-40B4-BE49-F238E27FC236}">
                <a16:creationId xmlns:a16="http://schemas.microsoft.com/office/drawing/2014/main" id="{208031C2-5AB3-4A36-898B-7541897BC134}"/>
              </a:ext>
            </a:extLst>
          </p:cNvPr>
          <p:cNvSpPr>
            <a:spLocks noGrp="1"/>
          </p:cNvSpPr>
          <p:nvPr>
            <p:ph type="body" sz="quarter" idx="12"/>
          </p:nvPr>
        </p:nvSpPr>
        <p:spPr>
          <a:xfrm>
            <a:off x="719008" y="6261931"/>
            <a:ext cx="1074012" cy="218971"/>
          </a:xfrm>
        </p:spPr>
        <p:txBody>
          <a:bodyPr/>
          <a:lstStyle/>
          <a:p>
            <a:r>
              <a:rPr lang="en-US">
                <a:solidFill>
                  <a:srgbClr val="29BA74"/>
                </a:solidFill>
              </a:rPr>
              <a:t>13 Jan 2022</a:t>
            </a:r>
          </a:p>
        </p:txBody>
      </p:sp>
      <p:sp>
        <p:nvSpPr>
          <p:cNvPr id="5" name="BcgText 1">
            <a:extLst>
              <a:ext uri="{FF2B5EF4-FFF2-40B4-BE49-F238E27FC236}">
                <a16:creationId xmlns:a16="http://schemas.microsoft.com/office/drawing/2014/main" id="{73C61AC1-8172-4E60-A5C8-BC99B9927A6A}"/>
              </a:ext>
            </a:extLst>
          </p:cNvPr>
          <p:cNvSpPr txBox="1"/>
          <p:nvPr userDrawn="1">
            <p:custDataLst>
              <p:tags r:id="rId4"/>
            </p:custDataLst>
          </p:nvPr>
        </p:nvSpPr>
        <p:spPr>
          <a:xfrm>
            <a:off x="739478" y="4444176"/>
            <a:ext cx="4654765" cy="163361"/>
          </a:xfrm>
          <a:prstGeom prst="rect">
            <a:avLst/>
          </a:prstGeom>
          <a:noFill/>
          <a:ln cap="rnd">
            <a:noFill/>
          </a:ln>
        </p:spPr>
        <p:txBody>
          <a:bodyPr wrap="square" lIns="0" tIns="0" rIns="0" bIns="0" rtlCol="0" anchor="t">
            <a:noAutofit/>
          </a:bodyPr>
          <a:lstStyle/>
          <a:p>
            <a:r>
              <a:rPr lang="en-US" sz="1600">
                <a:solidFill>
                  <a:schemeClr val="bg1"/>
                </a:solidFill>
              </a:rPr>
              <a:t>Presented by: BDA09 Group05 - The Rising Seven</a:t>
            </a:r>
            <a:endParaRPr lang="en-US">
              <a:solidFill>
                <a:schemeClr val="bg1"/>
              </a:solidFill>
            </a:endParaRPr>
          </a:p>
        </p:txBody>
      </p:sp>
      <p:pic>
        <p:nvPicPr>
          <p:cNvPr id="9" name="Picture 8">
            <a:extLst>
              <a:ext uri="{FF2B5EF4-FFF2-40B4-BE49-F238E27FC236}">
                <a16:creationId xmlns:a16="http://schemas.microsoft.com/office/drawing/2014/main" id="{54E14DE8-77B5-4B84-B2B6-99C1E7D93613}"/>
              </a:ext>
            </a:extLst>
          </p:cNvPr>
          <p:cNvPicPr>
            <a:picLocks noChangeAspect="1"/>
          </p:cNvPicPr>
          <p:nvPr/>
        </p:nvPicPr>
        <p:blipFill rotWithShape="1">
          <a:blip r:embed="rId9"/>
          <a:srcRect t="8046" r="108"/>
          <a:stretch/>
        </p:blipFill>
        <p:spPr>
          <a:xfrm>
            <a:off x="6185383" y="2943816"/>
            <a:ext cx="5348823" cy="2361158"/>
          </a:xfrm>
          <a:prstGeom prst="rect">
            <a:avLst/>
          </a:prstGeom>
          <a:ln>
            <a:noFill/>
          </a:ln>
          <a:effectLst>
            <a:softEdge rad="112500"/>
          </a:effectLst>
        </p:spPr>
      </p:pic>
      <p:pic>
        <p:nvPicPr>
          <p:cNvPr id="4" name="Picture 4" descr="Logo, company name&#10;&#10;Description automatically generated">
            <a:extLst>
              <a:ext uri="{FF2B5EF4-FFF2-40B4-BE49-F238E27FC236}">
                <a16:creationId xmlns:a16="http://schemas.microsoft.com/office/drawing/2014/main" id="{3528DC97-F71F-41A9-AB0E-5D9B8CA71B59}"/>
              </a:ext>
            </a:extLst>
          </p:cNvPr>
          <p:cNvPicPr>
            <a:picLocks noChangeAspect="1"/>
          </p:cNvPicPr>
          <p:nvPr/>
        </p:nvPicPr>
        <p:blipFill>
          <a:blip r:embed="rId10"/>
          <a:stretch>
            <a:fillRect/>
          </a:stretch>
        </p:blipFill>
        <p:spPr>
          <a:xfrm>
            <a:off x="11205198" y="113050"/>
            <a:ext cx="831214" cy="8727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Picture 5" descr="Logo&#10;&#10;Description automatically generated">
            <a:extLst>
              <a:ext uri="{FF2B5EF4-FFF2-40B4-BE49-F238E27FC236}">
                <a16:creationId xmlns:a16="http://schemas.microsoft.com/office/drawing/2014/main" id="{10A24290-E732-4617-AA59-875D328AC0B4}"/>
              </a:ext>
            </a:extLst>
          </p:cNvPr>
          <p:cNvPicPr>
            <a:picLocks noChangeAspect="1"/>
          </p:cNvPicPr>
          <p:nvPr/>
        </p:nvPicPr>
        <p:blipFill>
          <a:blip r:embed="rId11"/>
          <a:stretch>
            <a:fillRect/>
          </a:stretch>
        </p:blipFill>
        <p:spPr>
          <a:xfrm>
            <a:off x="10306692" y="4645289"/>
            <a:ext cx="1065089" cy="478431"/>
          </a:xfrm>
          <a:prstGeom prst="rect">
            <a:avLst/>
          </a:prstGeom>
        </p:spPr>
      </p:pic>
    </p:spTree>
    <p:extLst>
      <p:ext uri="{BB962C8B-B14F-4D97-AF65-F5344CB8AC3E}">
        <p14:creationId xmlns:p14="http://schemas.microsoft.com/office/powerpoint/2010/main" val="873372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6793C5A-1FE2-4545-A578-A16C2B6C45C4}"/>
              </a:ext>
            </a:extLst>
          </p:cNvPr>
          <p:cNvSpPr>
            <a:spLocks noGrp="1"/>
          </p:cNvSpPr>
          <p:nvPr>
            <p:ph type="title"/>
          </p:nvPr>
        </p:nvSpPr>
        <p:spPr>
          <a:xfrm>
            <a:off x="630000" y="622800"/>
            <a:ext cx="10188474" cy="470898"/>
          </a:xfrm>
        </p:spPr>
        <p:txBody>
          <a:bodyPr/>
          <a:lstStyle/>
          <a:p>
            <a:r>
              <a:rPr lang="en-US">
                <a:solidFill>
                  <a:srgbClr val="002060"/>
                </a:solidFill>
              </a:rPr>
              <a:t>Feature Selection</a:t>
            </a:r>
            <a:endParaRPr lang="en-US"/>
          </a:p>
        </p:txBody>
      </p:sp>
      <p:sp>
        <p:nvSpPr>
          <p:cNvPr id="17" name="Flowchart: Connector 16">
            <a:extLst>
              <a:ext uri="{FF2B5EF4-FFF2-40B4-BE49-F238E27FC236}">
                <a16:creationId xmlns:a16="http://schemas.microsoft.com/office/drawing/2014/main" id="{BADD6901-4349-466A-837B-49CC2A6BB764}"/>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Feature Engineering</a:t>
            </a:r>
            <a:endParaRPr lang="en-SG">
              <a:solidFill>
                <a:schemeClr val="bg1"/>
              </a:solidFill>
            </a:endParaRPr>
          </a:p>
        </p:txBody>
      </p:sp>
      <p:graphicFrame>
        <p:nvGraphicFramePr>
          <p:cNvPr id="18" name="Diagram 18">
            <a:extLst>
              <a:ext uri="{FF2B5EF4-FFF2-40B4-BE49-F238E27FC236}">
                <a16:creationId xmlns:a16="http://schemas.microsoft.com/office/drawing/2014/main" id="{2289CFB1-4EE4-43EC-A8B5-4E5FC402B3C5}"/>
              </a:ext>
            </a:extLst>
          </p:cNvPr>
          <p:cNvGraphicFramePr/>
          <p:nvPr>
            <p:extLst>
              <p:ext uri="{D42A27DB-BD31-4B8C-83A1-F6EECF244321}">
                <p14:modId xmlns:p14="http://schemas.microsoft.com/office/powerpoint/2010/main" val="1349353684"/>
              </p:ext>
            </p:extLst>
          </p:nvPr>
        </p:nvGraphicFramePr>
        <p:xfrm>
          <a:off x="793424" y="561457"/>
          <a:ext cx="10517420" cy="60855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0" name="Graphic 59" descr="Gears">
            <a:extLst>
              <a:ext uri="{FF2B5EF4-FFF2-40B4-BE49-F238E27FC236}">
                <a16:creationId xmlns:a16="http://schemas.microsoft.com/office/drawing/2014/main" id="{30AA7644-B695-49AF-A4E1-C86E1691F8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385294" y="71325"/>
            <a:ext cx="602586" cy="592289"/>
          </a:xfrm>
          <a:prstGeom prst="rect">
            <a:avLst/>
          </a:prstGeom>
        </p:spPr>
      </p:pic>
    </p:spTree>
    <p:extLst>
      <p:ext uri="{BB962C8B-B14F-4D97-AF65-F5344CB8AC3E}">
        <p14:creationId xmlns:p14="http://schemas.microsoft.com/office/powerpoint/2010/main" val="2256265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5FFC18C-8093-41B4-9A1B-E8868316B7F3}"/>
              </a:ext>
            </a:extLst>
          </p:cNvPr>
          <p:cNvGrpSpPr/>
          <p:nvPr/>
        </p:nvGrpSpPr>
        <p:grpSpPr>
          <a:xfrm>
            <a:off x="10931699" y="-199070"/>
            <a:ext cx="1519721" cy="1519870"/>
            <a:chOff x="10931699" y="-199070"/>
            <a:chExt cx="1519721" cy="1519870"/>
          </a:xfrm>
        </p:grpSpPr>
        <p:sp>
          <p:nvSpPr>
            <p:cNvPr id="6" name="Flowchart: Connector 5">
              <a:extLst>
                <a:ext uri="{FF2B5EF4-FFF2-40B4-BE49-F238E27FC236}">
                  <a16:creationId xmlns:a16="http://schemas.microsoft.com/office/drawing/2014/main" id="{CF9E7E23-E6AE-4EAD-BC81-7763A524FABE}"/>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12" name="Graphic 11" descr="Arrow circle">
              <a:extLst>
                <a:ext uri="{FF2B5EF4-FFF2-40B4-BE49-F238E27FC236}">
                  <a16:creationId xmlns:a16="http://schemas.microsoft.com/office/drawing/2014/main" id="{DFD7E0DD-9A8A-4E18-BA95-743EB51DCC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8667" y="-83187"/>
              <a:ext cx="720089" cy="720089"/>
            </a:xfrm>
            <a:prstGeom prst="rect">
              <a:avLst/>
            </a:prstGeom>
          </p:spPr>
        </p:pic>
        <p:pic>
          <p:nvPicPr>
            <p:cNvPr id="14" name="Graphic 13" descr="Single gear">
              <a:extLst>
                <a:ext uri="{FF2B5EF4-FFF2-40B4-BE49-F238E27FC236}">
                  <a16:creationId xmlns:a16="http://schemas.microsoft.com/office/drawing/2014/main" id="{9E82A69E-4635-4809-8566-FFBDBAB122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04964" y="114594"/>
              <a:ext cx="311754" cy="311754"/>
            </a:xfrm>
            <a:prstGeom prst="rect">
              <a:avLst/>
            </a:prstGeom>
          </p:spPr>
        </p:pic>
      </p:grpSp>
      <p:sp>
        <p:nvSpPr>
          <p:cNvPr id="4" name="Title 1">
            <a:extLst>
              <a:ext uri="{FF2B5EF4-FFF2-40B4-BE49-F238E27FC236}">
                <a16:creationId xmlns:a16="http://schemas.microsoft.com/office/drawing/2014/main" id="{513CAA53-13D7-4313-8D45-14F4147EA5D0}"/>
              </a:ext>
            </a:extLst>
          </p:cNvPr>
          <p:cNvSpPr txBox="1">
            <a:spLocks/>
          </p:cNvSpPr>
          <p:nvPr/>
        </p:nvSpPr>
        <p:spPr>
          <a:xfrm>
            <a:off x="630000" y="622800"/>
            <a:ext cx="10188474" cy="4708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SG">
                <a:ea typeface="+mj-lt"/>
                <a:cs typeface="+mj-lt"/>
              </a:rPr>
              <a:t>Time Series Modelling (SARIMAX)</a:t>
            </a:r>
            <a:endParaRPr lang="en-US">
              <a:ea typeface="+mj-lt"/>
              <a:cs typeface="+mj-lt"/>
            </a:endParaRPr>
          </a:p>
        </p:txBody>
      </p:sp>
      <p:grpSp>
        <p:nvGrpSpPr>
          <p:cNvPr id="33" name="Group 32">
            <a:extLst>
              <a:ext uri="{FF2B5EF4-FFF2-40B4-BE49-F238E27FC236}">
                <a16:creationId xmlns:a16="http://schemas.microsoft.com/office/drawing/2014/main" id="{1A60CE19-5118-4A2B-9381-1DE6CC5D1F64}"/>
              </a:ext>
            </a:extLst>
          </p:cNvPr>
          <p:cNvGrpSpPr/>
          <p:nvPr/>
        </p:nvGrpSpPr>
        <p:grpSpPr>
          <a:xfrm>
            <a:off x="629256" y="5286040"/>
            <a:ext cx="5817255" cy="703033"/>
            <a:chOff x="625810" y="4935633"/>
            <a:chExt cx="5231816" cy="637985"/>
          </a:xfrm>
        </p:grpSpPr>
        <p:pic>
          <p:nvPicPr>
            <p:cNvPr id="18" name="Picture 18">
              <a:extLst>
                <a:ext uri="{FF2B5EF4-FFF2-40B4-BE49-F238E27FC236}">
                  <a16:creationId xmlns:a16="http://schemas.microsoft.com/office/drawing/2014/main" id="{01844450-929B-4C6F-8685-6FF3118F02E2}"/>
                </a:ext>
              </a:extLst>
            </p:cNvPr>
            <p:cNvPicPr>
              <a:picLocks noChangeAspect="1"/>
            </p:cNvPicPr>
            <p:nvPr/>
          </p:nvPicPr>
          <p:blipFill>
            <a:blip r:embed="rId7"/>
            <a:stretch>
              <a:fillRect/>
            </a:stretch>
          </p:blipFill>
          <p:spPr>
            <a:xfrm>
              <a:off x="629989" y="4935633"/>
              <a:ext cx="5227637" cy="63798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7" name="Rectangle 26">
              <a:extLst>
                <a:ext uri="{FF2B5EF4-FFF2-40B4-BE49-F238E27FC236}">
                  <a16:creationId xmlns:a16="http://schemas.microsoft.com/office/drawing/2014/main" id="{1085EEA4-0F74-4601-B0CF-FE2599EB9A10}"/>
                </a:ext>
              </a:extLst>
            </p:cNvPr>
            <p:cNvSpPr/>
            <p:nvPr/>
          </p:nvSpPr>
          <p:spPr>
            <a:xfrm>
              <a:off x="625810" y="4940524"/>
              <a:ext cx="721462" cy="61818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28" name="Rectangle 27">
              <a:extLst>
                <a:ext uri="{FF2B5EF4-FFF2-40B4-BE49-F238E27FC236}">
                  <a16:creationId xmlns:a16="http://schemas.microsoft.com/office/drawing/2014/main" id="{28FDC5A9-3EE3-4145-B1B8-3B46F9314E01}"/>
                </a:ext>
              </a:extLst>
            </p:cNvPr>
            <p:cNvSpPr/>
            <p:nvPr/>
          </p:nvSpPr>
          <p:spPr>
            <a:xfrm>
              <a:off x="4863900" y="4957390"/>
              <a:ext cx="549000" cy="58445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grpSp>
      <p:sp>
        <p:nvSpPr>
          <p:cNvPr id="32" name="TextBox 31">
            <a:extLst>
              <a:ext uri="{FF2B5EF4-FFF2-40B4-BE49-F238E27FC236}">
                <a16:creationId xmlns:a16="http://schemas.microsoft.com/office/drawing/2014/main" id="{41E099E5-F68B-4939-9F7A-B9CC2E5F333A}"/>
              </a:ext>
            </a:extLst>
          </p:cNvPr>
          <p:cNvSpPr txBox="1"/>
          <p:nvPr/>
        </p:nvSpPr>
        <p:spPr>
          <a:xfrm>
            <a:off x="8481507" y="1915100"/>
            <a:ext cx="3316088" cy="2184333"/>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SARIMAX Model was applied to account for seasonal trends and exogenous factors such as rain, holidays and weekends.</a:t>
            </a:r>
            <a:endParaRPr lang="en-SG" sz="1600">
              <a:solidFill>
                <a:srgbClr val="FFFFFF"/>
              </a:solidFill>
            </a:endParaRPr>
          </a:p>
          <a:p>
            <a:endParaRPr lang="en-SG" sz="1600">
              <a:solidFill>
                <a:srgbClr val="002060"/>
              </a:solidFill>
            </a:endParaRPr>
          </a:p>
          <a:p>
            <a:r>
              <a:rPr lang="en-SG" sz="1600">
                <a:solidFill>
                  <a:srgbClr val="002060"/>
                </a:solidFill>
              </a:rPr>
              <a:t>R2 score and Mean Average Percentage Error (MAPE) to determine accuracy of our model</a:t>
            </a:r>
            <a:endParaRPr lang="en-SG" sz="1600">
              <a:solidFill>
                <a:srgbClr val="FFFFFF"/>
              </a:solidFill>
            </a:endParaRPr>
          </a:p>
        </p:txBody>
      </p:sp>
      <p:pic>
        <p:nvPicPr>
          <p:cNvPr id="2" name="Picture 4" descr="Chart, histogram&#10;&#10;Description automatically generated">
            <a:extLst>
              <a:ext uri="{FF2B5EF4-FFF2-40B4-BE49-F238E27FC236}">
                <a16:creationId xmlns:a16="http://schemas.microsoft.com/office/drawing/2014/main" id="{A614BDB2-A87C-4D6E-B961-198BF7854FE2}"/>
              </a:ext>
            </a:extLst>
          </p:cNvPr>
          <p:cNvPicPr>
            <a:picLocks noChangeAspect="1"/>
          </p:cNvPicPr>
          <p:nvPr/>
        </p:nvPicPr>
        <p:blipFill>
          <a:blip r:embed="rId8"/>
          <a:stretch>
            <a:fillRect/>
          </a:stretch>
        </p:blipFill>
        <p:spPr>
          <a:xfrm>
            <a:off x="627101" y="1316157"/>
            <a:ext cx="7623793" cy="37778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6" name="TextBox 35">
            <a:extLst>
              <a:ext uri="{FF2B5EF4-FFF2-40B4-BE49-F238E27FC236}">
                <a16:creationId xmlns:a16="http://schemas.microsoft.com/office/drawing/2014/main" id="{F7D95DB6-AB55-4004-B0F3-E52A8FA9E4EF}"/>
              </a:ext>
            </a:extLst>
          </p:cNvPr>
          <p:cNvSpPr txBox="1"/>
          <p:nvPr/>
        </p:nvSpPr>
        <p:spPr>
          <a:xfrm>
            <a:off x="471002" y="6294153"/>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Tree>
    <p:extLst>
      <p:ext uri="{BB962C8B-B14F-4D97-AF65-F5344CB8AC3E}">
        <p14:creationId xmlns:p14="http://schemas.microsoft.com/office/powerpoint/2010/main" val="4084366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 descr="Chart, line chart&#10;&#10;Description automatically generated">
            <a:extLst>
              <a:ext uri="{FF2B5EF4-FFF2-40B4-BE49-F238E27FC236}">
                <a16:creationId xmlns:a16="http://schemas.microsoft.com/office/drawing/2014/main" id="{BB0FEA3F-D819-4B77-A827-0CADCE750344}"/>
              </a:ext>
            </a:extLst>
          </p:cNvPr>
          <p:cNvPicPr>
            <a:picLocks noChangeAspect="1"/>
          </p:cNvPicPr>
          <p:nvPr/>
        </p:nvPicPr>
        <p:blipFill>
          <a:blip r:embed="rId3"/>
          <a:stretch>
            <a:fillRect/>
          </a:stretch>
        </p:blipFill>
        <p:spPr>
          <a:xfrm>
            <a:off x="141514" y="1212107"/>
            <a:ext cx="6128657" cy="347584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itle 1">
            <a:extLst>
              <a:ext uri="{FF2B5EF4-FFF2-40B4-BE49-F238E27FC236}">
                <a16:creationId xmlns:a16="http://schemas.microsoft.com/office/drawing/2014/main" id="{1CAEE4F4-60D4-46CA-A79F-1CD22235EEA0}"/>
              </a:ext>
            </a:extLst>
          </p:cNvPr>
          <p:cNvSpPr>
            <a:spLocks noGrp="1"/>
          </p:cNvSpPr>
          <p:nvPr>
            <p:ph type="title"/>
          </p:nvPr>
        </p:nvSpPr>
        <p:spPr/>
        <p:txBody>
          <a:bodyPr/>
          <a:lstStyle/>
          <a:p>
            <a:r>
              <a:rPr lang="en-SG"/>
              <a:t>Ridership Predictions for 1st Week of April 2021</a:t>
            </a:r>
          </a:p>
        </p:txBody>
      </p:sp>
      <p:grpSp>
        <p:nvGrpSpPr>
          <p:cNvPr id="8" name="Group 7">
            <a:extLst>
              <a:ext uri="{FF2B5EF4-FFF2-40B4-BE49-F238E27FC236}">
                <a16:creationId xmlns:a16="http://schemas.microsoft.com/office/drawing/2014/main" id="{0BA96E81-F16A-4482-9E7E-049FDFCE8DF3}"/>
              </a:ext>
            </a:extLst>
          </p:cNvPr>
          <p:cNvGrpSpPr/>
          <p:nvPr/>
        </p:nvGrpSpPr>
        <p:grpSpPr>
          <a:xfrm>
            <a:off x="10931699" y="-199070"/>
            <a:ext cx="1519721" cy="1519870"/>
            <a:chOff x="10931699" y="-199070"/>
            <a:chExt cx="1519721" cy="1519870"/>
          </a:xfrm>
        </p:grpSpPr>
        <p:sp>
          <p:nvSpPr>
            <p:cNvPr id="5" name="Flowchart: Connector 4">
              <a:extLst>
                <a:ext uri="{FF2B5EF4-FFF2-40B4-BE49-F238E27FC236}">
                  <a16:creationId xmlns:a16="http://schemas.microsoft.com/office/drawing/2014/main" id="{58610ECC-2FA5-41B3-9408-2BA965E5E0F9}"/>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6" name="Graphic 5" descr="Arrow circle">
              <a:extLst>
                <a:ext uri="{FF2B5EF4-FFF2-40B4-BE49-F238E27FC236}">
                  <a16:creationId xmlns:a16="http://schemas.microsoft.com/office/drawing/2014/main" id="{164B2C9C-3E91-468A-9DAF-AF700534F6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8667" y="-83187"/>
              <a:ext cx="720089" cy="720089"/>
            </a:xfrm>
            <a:prstGeom prst="rect">
              <a:avLst/>
            </a:prstGeom>
          </p:spPr>
        </p:pic>
        <p:pic>
          <p:nvPicPr>
            <p:cNvPr id="7" name="Graphic 6" descr="Single gear">
              <a:extLst>
                <a:ext uri="{FF2B5EF4-FFF2-40B4-BE49-F238E27FC236}">
                  <a16:creationId xmlns:a16="http://schemas.microsoft.com/office/drawing/2014/main" id="{46DD1ED4-CC6A-4C7F-B82E-F28AB15A7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14733" y="114594"/>
              <a:ext cx="311754" cy="311754"/>
            </a:xfrm>
            <a:prstGeom prst="rect">
              <a:avLst/>
            </a:prstGeom>
          </p:spPr>
        </p:pic>
      </p:grpSp>
      <p:sp>
        <p:nvSpPr>
          <p:cNvPr id="4" name="TextBox 3">
            <a:extLst>
              <a:ext uri="{FF2B5EF4-FFF2-40B4-BE49-F238E27FC236}">
                <a16:creationId xmlns:a16="http://schemas.microsoft.com/office/drawing/2014/main" id="{E46E2F92-A159-4912-84AA-DB46BFE3D9EB}"/>
              </a:ext>
            </a:extLst>
          </p:cNvPr>
          <p:cNvSpPr txBox="1"/>
          <p:nvPr/>
        </p:nvSpPr>
        <p:spPr>
          <a:xfrm>
            <a:off x="139241" y="4927266"/>
            <a:ext cx="1927629" cy="337944"/>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Weekly Predictions</a:t>
            </a:r>
            <a:endParaRPr lang="en-US"/>
          </a:p>
        </p:txBody>
      </p:sp>
      <p:sp>
        <p:nvSpPr>
          <p:cNvPr id="13" name="Rectangle 12">
            <a:extLst>
              <a:ext uri="{FF2B5EF4-FFF2-40B4-BE49-F238E27FC236}">
                <a16:creationId xmlns:a16="http://schemas.microsoft.com/office/drawing/2014/main" id="{FBC020E8-35CC-4608-825A-F2C3D7F17A69}"/>
              </a:ext>
            </a:extLst>
          </p:cNvPr>
          <p:cNvSpPr/>
          <p:nvPr/>
        </p:nvSpPr>
        <p:spPr>
          <a:xfrm>
            <a:off x="483727" y="1354255"/>
            <a:ext cx="873317" cy="323286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cxnSp>
        <p:nvCxnSpPr>
          <p:cNvPr id="15" name="Straight Arrow Connector 14">
            <a:extLst>
              <a:ext uri="{FF2B5EF4-FFF2-40B4-BE49-F238E27FC236}">
                <a16:creationId xmlns:a16="http://schemas.microsoft.com/office/drawing/2014/main" id="{2522F95F-F659-4F93-A324-7ADD484F38A6}"/>
              </a:ext>
            </a:extLst>
          </p:cNvPr>
          <p:cNvCxnSpPr/>
          <p:nvPr/>
        </p:nvCxnSpPr>
        <p:spPr>
          <a:xfrm>
            <a:off x="1926218" y="4870608"/>
            <a:ext cx="10099462" cy="786647"/>
          </a:xfrm>
          <a:prstGeom prst="straightConnector1">
            <a:avLst/>
          </a:prstGeom>
          <a:ln w="28575" cap="rnd">
            <a:solidFill>
              <a:srgbClr val="FF8C00"/>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1E24D10-25A9-42F6-B4A4-852E1CB8541C}"/>
              </a:ext>
            </a:extLst>
          </p:cNvPr>
          <p:cNvCxnSpPr>
            <a:cxnSpLocks/>
          </p:cNvCxnSpPr>
          <p:nvPr/>
        </p:nvCxnSpPr>
        <p:spPr>
          <a:xfrm>
            <a:off x="494030" y="4590616"/>
            <a:ext cx="5693607" cy="1088985"/>
          </a:xfrm>
          <a:prstGeom prst="straightConnector1">
            <a:avLst/>
          </a:prstGeom>
          <a:ln w="28575" cap="rnd">
            <a:solidFill>
              <a:srgbClr val="FF8C00"/>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D181DE7-5237-45A4-9F61-2873C0724F7B}"/>
              </a:ext>
            </a:extLst>
          </p:cNvPr>
          <p:cNvSpPr txBox="1"/>
          <p:nvPr/>
        </p:nvSpPr>
        <p:spPr>
          <a:xfrm>
            <a:off x="6200604" y="5853211"/>
            <a:ext cx="2747355" cy="326399"/>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Hourly Prediction for 1 Day</a:t>
            </a:r>
            <a:endParaRPr lang="en-US"/>
          </a:p>
        </p:txBody>
      </p:sp>
      <p:pic>
        <p:nvPicPr>
          <p:cNvPr id="9" name="Picture 9" descr="Chart, line chart&#10;&#10;Description automatically generated">
            <a:extLst>
              <a:ext uri="{FF2B5EF4-FFF2-40B4-BE49-F238E27FC236}">
                <a16:creationId xmlns:a16="http://schemas.microsoft.com/office/drawing/2014/main" id="{4808EF87-719E-4DC9-AB3F-F94B7F635A80}"/>
              </a:ext>
            </a:extLst>
          </p:cNvPr>
          <p:cNvPicPr>
            <a:picLocks noChangeAspect="1"/>
          </p:cNvPicPr>
          <p:nvPr/>
        </p:nvPicPr>
        <p:blipFill>
          <a:blip r:embed="rId8"/>
          <a:stretch>
            <a:fillRect/>
          </a:stretch>
        </p:blipFill>
        <p:spPr>
          <a:xfrm>
            <a:off x="6259285" y="2425512"/>
            <a:ext cx="5725887" cy="33023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Rectangle 13">
            <a:extLst>
              <a:ext uri="{FF2B5EF4-FFF2-40B4-BE49-F238E27FC236}">
                <a16:creationId xmlns:a16="http://schemas.microsoft.com/office/drawing/2014/main" id="{DE96116D-A890-4EBF-BAFB-3F4B23F0096C}"/>
              </a:ext>
            </a:extLst>
          </p:cNvPr>
          <p:cNvSpPr/>
          <p:nvPr/>
        </p:nvSpPr>
        <p:spPr>
          <a:xfrm>
            <a:off x="6204489" y="2385980"/>
            <a:ext cx="5817188" cy="3397505"/>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Tree>
    <p:extLst>
      <p:ext uri="{BB962C8B-B14F-4D97-AF65-F5344CB8AC3E}">
        <p14:creationId xmlns:p14="http://schemas.microsoft.com/office/powerpoint/2010/main" val="1249418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435EA-AD4F-4934-83BC-D5D53AFD93E9}"/>
              </a:ext>
            </a:extLst>
          </p:cNvPr>
          <p:cNvSpPr>
            <a:spLocks noGrp="1"/>
          </p:cNvSpPr>
          <p:nvPr>
            <p:ph type="title"/>
          </p:nvPr>
        </p:nvSpPr>
        <p:spPr>
          <a:xfrm>
            <a:off x="630000" y="201695"/>
            <a:ext cx="10933350" cy="941796"/>
          </a:xfrm>
        </p:spPr>
        <p:txBody>
          <a:bodyPr/>
          <a:lstStyle/>
          <a:p>
            <a:r>
              <a:rPr lang="en-SG">
                <a:ea typeface="+mj-lt"/>
                <a:cs typeface="+mj-lt"/>
              </a:rPr>
              <a:t>Predicted Minimum Bus Frequency Required </a:t>
            </a:r>
            <a:br>
              <a:rPr lang="en-SG">
                <a:ea typeface="+mj-lt"/>
                <a:cs typeface="+mj-lt"/>
              </a:rPr>
            </a:br>
            <a:r>
              <a:rPr lang="en-SG">
                <a:ea typeface="+mj-lt"/>
                <a:cs typeface="+mj-lt"/>
              </a:rPr>
              <a:t>on 1st April 2021</a:t>
            </a:r>
            <a:endParaRPr lang="en-US"/>
          </a:p>
        </p:txBody>
      </p:sp>
      <p:sp>
        <p:nvSpPr>
          <p:cNvPr id="12" name="TextBox 11">
            <a:extLst>
              <a:ext uri="{FF2B5EF4-FFF2-40B4-BE49-F238E27FC236}">
                <a16:creationId xmlns:a16="http://schemas.microsoft.com/office/drawing/2014/main" id="{AAEC2426-37C0-4083-9090-89DDF94F295F}"/>
              </a:ext>
            </a:extLst>
          </p:cNvPr>
          <p:cNvSpPr txBox="1"/>
          <p:nvPr/>
        </p:nvSpPr>
        <p:spPr>
          <a:xfrm>
            <a:off x="9805628" y="1818480"/>
            <a:ext cx="2050025" cy="4356869"/>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Legend</a:t>
            </a:r>
          </a:p>
        </p:txBody>
      </p:sp>
      <p:sp>
        <p:nvSpPr>
          <p:cNvPr id="9" name="TextBox 8">
            <a:extLst>
              <a:ext uri="{FF2B5EF4-FFF2-40B4-BE49-F238E27FC236}">
                <a16:creationId xmlns:a16="http://schemas.microsoft.com/office/drawing/2014/main" id="{E953D56B-E197-4EF3-86AC-EB83FF562830}"/>
              </a:ext>
            </a:extLst>
          </p:cNvPr>
          <p:cNvSpPr txBox="1"/>
          <p:nvPr/>
        </p:nvSpPr>
        <p:spPr>
          <a:xfrm>
            <a:off x="10200085" y="3047195"/>
            <a:ext cx="1530816"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Additional buffer of </a:t>
            </a:r>
            <a:r>
              <a:rPr lang="en-US" sz="1200" b="1">
                <a:solidFill>
                  <a:srgbClr val="1C2449"/>
                </a:solidFill>
              </a:rPr>
              <a:t>16.25% </a:t>
            </a:r>
            <a:r>
              <a:rPr lang="en-US" sz="1200">
                <a:solidFill>
                  <a:srgbClr val="1C2449"/>
                </a:solidFill>
              </a:rPr>
              <a:t>according to MAPE Value in Prediction Model</a:t>
            </a:r>
          </a:p>
        </p:txBody>
      </p:sp>
      <p:sp>
        <p:nvSpPr>
          <p:cNvPr id="10" name="Rectangle 9">
            <a:extLst>
              <a:ext uri="{FF2B5EF4-FFF2-40B4-BE49-F238E27FC236}">
                <a16:creationId xmlns:a16="http://schemas.microsoft.com/office/drawing/2014/main" id="{A949E116-7148-4CA9-A41F-83DB47255D80}"/>
              </a:ext>
            </a:extLst>
          </p:cNvPr>
          <p:cNvSpPr/>
          <p:nvPr/>
        </p:nvSpPr>
        <p:spPr>
          <a:xfrm>
            <a:off x="9984361" y="3117893"/>
            <a:ext cx="224884" cy="568094"/>
          </a:xfrm>
          <a:prstGeom prst="rect">
            <a:avLst/>
          </a:prstGeom>
          <a:solidFill>
            <a:srgbClr val="FF8C00"/>
          </a:solidFill>
          <a:ln w="952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4" name="Picture 4" descr="Chart, line chart&#10;&#10;Description automatically generated">
            <a:extLst>
              <a:ext uri="{FF2B5EF4-FFF2-40B4-BE49-F238E27FC236}">
                <a16:creationId xmlns:a16="http://schemas.microsoft.com/office/drawing/2014/main" id="{A250FD57-6309-4718-A617-85A0EA99B27E}"/>
              </a:ext>
            </a:extLst>
          </p:cNvPr>
          <p:cNvPicPr>
            <a:picLocks noChangeAspect="1"/>
          </p:cNvPicPr>
          <p:nvPr/>
        </p:nvPicPr>
        <p:blipFill>
          <a:blip r:embed="rId3"/>
          <a:stretch>
            <a:fillRect/>
          </a:stretch>
        </p:blipFill>
        <p:spPr>
          <a:xfrm>
            <a:off x="631093" y="1815119"/>
            <a:ext cx="8985738" cy="443914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9" name="TextBox 18">
            <a:extLst>
              <a:ext uri="{FF2B5EF4-FFF2-40B4-BE49-F238E27FC236}">
                <a16:creationId xmlns:a16="http://schemas.microsoft.com/office/drawing/2014/main" id="{3AD73E51-E951-474F-9A5D-F6D82A01A37E}"/>
              </a:ext>
            </a:extLst>
          </p:cNvPr>
          <p:cNvSpPr txBox="1"/>
          <p:nvPr/>
        </p:nvSpPr>
        <p:spPr>
          <a:xfrm>
            <a:off x="10200085" y="2299413"/>
            <a:ext cx="153081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Predicted </a:t>
            </a:r>
            <a:endParaRPr lang="en-US"/>
          </a:p>
          <a:p>
            <a:r>
              <a:rPr lang="en-US" sz="1200">
                <a:solidFill>
                  <a:srgbClr val="1C2449"/>
                </a:solidFill>
              </a:rPr>
              <a:t>Ridership</a:t>
            </a:r>
            <a:endParaRPr lang="en-US"/>
          </a:p>
        </p:txBody>
      </p:sp>
      <p:sp>
        <p:nvSpPr>
          <p:cNvPr id="20" name="Rectangle 19">
            <a:extLst>
              <a:ext uri="{FF2B5EF4-FFF2-40B4-BE49-F238E27FC236}">
                <a16:creationId xmlns:a16="http://schemas.microsoft.com/office/drawing/2014/main" id="{15B8A76D-FA13-4296-BC22-4279F19678FE}"/>
              </a:ext>
            </a:extLst>
          </p:cNvPr>
          <p:cNvSpPr/>
          <p:nvPr/>
        </p:nvSpPr>
        <p:spPr>
          <a:xfrm>
            <a:off x="9984361" y="2295735"/>
            <a:ext cx="224884" cy="568094"/>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Rectangle 20">
            <a:extLst>
              <a:ext uri="{FF2B5EF4-FFF2-40B4-BE49-F238E27FC236}">
                <a16:creationId xmlns:a16="http://schemas.microsoft.com/office/drawing/2014/main" id="{0F3AB545-8B7B-4F3B-BCAB-1B2065C8A613}"/>
              </a:ext>
            </a:extLst>
          </p:cNvPr>
          <p:cNvSpPr/>
          <p:nvPr/>
        </p:nvSpPr>
        <p:spPr>
          <a:xfrm>
            <a:off x="9984360" y="4040313"/>
            <a:ext cx="224884" cy="568094"/>
          </a:xfrm>
          <a:prstGeom prst="rect">
            <a:avLst/>
          </a:prstGeom>
          <a:solidFill>
            <a:srgbClr val="FF0000"/>
          </a:solidFill>
          <a:ln w="952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2" name="TextBox 21">
            <a:extLst>
              <a:ext uri="{FF2B5EF4-FFF2-40B4-BE49-F238E27FC236}">
                <a16:creationId xmlns:a16="http://schemas.microsoft.com/office/drawing/2014/main" id="{F5EDEB65-A697-4CE2-A547-919E61D07AEA}"/>
              </a:ext>
            </a:extLst>
          </p:cNvPr>
          <p:cNvSpPr txBox="1"/>
          <p:nvPr/>
        </p:nvSpPr>
        <p:spPr>
          <a:xfrm>
            <a:off x="10200085" y="4033965"/>
            <a:ext cx="153081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Predicted Minimum Bus Frequency</a:t>
            </a:r>
            <a:endParaRPr lang="en-US"/>
          </a:p>
        </p:txBody>
      </p:sp>
      <p:grpSp>
        <p:nvGrpSpPr>
          <p:cNvPr id="31" name="Group 30">
            <a:extLst>
              <a:ext uri="{FF2B5EF4-FFF2-40B4-BE49-F238E27FC236}">
                <a16:creationId xmlns:a16="http://schemas.microsoft.com/office/drawing/2014/main" id="{76E18740-F22D-4963-BCB7-3EF1ECF50B99}"/>
              </a:ext>
            </a:extLst>
          </p:cNvPr>
          <p:cNvGrpSpPr/>
          <p:nvPr/>
        </p:nvGrpSpPr>
        <p:grpSpPr>
          <a:xfrm>
            <a:off x="1388020" y="1018327"/>
            <a:ext cx="10343258" cy="4477490"/>
            <a:chOff x="1388020" y="1018327"/>
            <a:chExt cx="10343258" cy="4477490"/>
          </a:xfrm>
        </p:grpSpPr>
        <p:cxnSp>
          <p:nvCxnSpPr>
            <p:cNvPr id="11" name="Straight Arrow Connector 10">
              <a:extLst>
                <a:ext uri="{FF2B5EF4-FFF2-40B4-BE49-F238E27FC236}">
                  <a16:creationId xmlns:a16="http://schemas.microsoft.com/office/drawing/2014/main" id="{B100C871-1F8E-44FA-9A22-E49497F4DD19}"/>
                </a:ext>
              </a:extLst>
            </p:cNvPr>
            <p:cNvCxnSpPr>
              <a:cxnSpLocks/>
            </p:cNvCxnSpPr>
            <p:nvPr/>
          </p:nvCxnSpPr>
          <p:spPr>
            <a:xfrm>
              <a:off x="4255546" y="4160392"/>
              <a:ext cx="1836820" cy="2005"/>
            </a:xfrm>
            <a:prstGeom prst="straightConnector1">
              <a:avLst/>
            </a:prstGeom>
            <a:ln w="57150">
              <a:solidFill>
                <a:schemeClr val="accent3"/>
              </a:solidFill>
              <a:tailEnd type="none"/>
            </a:ln>
          </p:spPr>
          <p:style>
            <a:lnRef idx="2">
              <a:schemeClr val="accent3"/>
            </a:lnRef>
            <a:fillRef idx="0">
              <a:schemeClr val="accent3"/>
            </a:fillRef>
            <a:effectRef idx="1">
              <a:schemeClr val="accent3"/>
            </a:effectRef>
            <a:fontRef idx="minor">
              <a:schemeClr val="tx1"/>
            </a:fontRef>
          </p:style>
        </p:cxnSp>
        <p:cxnSp>
          <p:nvCxnSpPr>
            <p:cNvPr id="13" name="Straight Arrow Connector 12">
              <a:extLst>
                <a:ext uri="{FF2B5EF4-FFF2-40B4-BE49-F238E27FC236}">
                  <a16:creationId xmlns:a16="http://schemas.microsoft.com/office/drawing/2014/main" id="{CFBA535F-E821-437D-8FB9-B7C83F0FE8CA}"/>
                </a:ext>
              </a:extLst>
            </p:cNvPr>
            <p:cNvCxnSpPr>
              <a:cxnSpLocks/>
            </p:cNvCxnSpPr>
            <p:nvPr/>
          </p:nvCxnSpPr>
          <p:spPr>
            <a:xfrm>
              <a:off x="6561597" y="4922391"/>
              <a:ext cx="2338135" cy="2005"/>
            </a:xfrm>
            <a:prstGeom prst="straightConnector1">
              <a:avLst/>
            </a:prstGeom>
            <a:ln w="57150">
              <a:solidFill>
                <a:schemeClr val="accent3"/>
              </a:solidFill>
              <a:tailEnd type="none"/>
            </a:ln>
          </p:spPr>
          <p:style>
            <a:lnRef idx="2">
              <a:schemeClr val="accent3"/>
            </a:lnRef>
            <a:fillRef idx="0">
              <a:schemeClr val="accent3"/>
            </a:fillRef>
            <a:effectRef idx="1">
              <a:schemeClr val="accent3"/>
            </a:effectRef>
            <a:fontRef idx="minor">
              <a:schemeClr val="tx1"/>
            </a:fontRef>
          </p:style>
        </p:cxnSp>
        <p:cxnSp>
          <p:nvCxnSpPr>
            <p:cNvPr id="14" name="Straight Arrow Connector 13">
              <a:extLst>
                <a:ext uri="{FF2B5EF4-FFF2-40B4-BE49-F238E27FC236}">
                  <a16:creationId xmlns:a16="http://schemas.microsoft.com/office/drawing/2014/main" id="{93D321C6-8EC7-46E9-B13D-F842EC617678}"/>
                </a:ext>
              </a:extLst>
            </p:cNvPr>
            <p:cNvCxnSpPr>
              <a:cxnSpLocks/>
            </p:cNvCxnSpPr>
            <p:nvPr/>
          </p:nvCxnSpPr>
          <p:spPr>
            <a:xfrm>
              <a:off x="6090361" y="4140338"/>
              <a:ext cx="483267" cy="804109"/>
            </a:xfrm>
            <a:prstGeom prst="straightConnector1">
              <a:avLst/>
            </a:prstGeom>
            <a:ln w="57150">
              <a:solidFill>
                <a:schemeClr val="accent3"/>
              </a:solidFill>
              <a:tailEnd type="none"/>
            </a:ln>
          </p:spPr>
          <p:style>
            <a:lnRef idx="2">
              <a:schemeClr val="accent3"/>
            </a:lnRef>
            <a:fillRef idx="0">
              <a:schemeClr val="accent3"/>
            </a:fillRef>
            <a:effectRef idx="1">
              <a:schemeClr val="accent3"/>
            </a:effectRef>
            <a:fontRef idx="minor">
              <a:schemeClr val="tx1"/>
            </a:fontRef>
          </p:style>
        </p:cxnSp>
        <p:cxnSp>
          <p:nvCxnSpPr>
            <p:cNvPr id="15" name="Straight Arrow Connector 14">
              <a:extLst>
                <a:ext uri="{FF2B5EF4-FFF2-40B4-BE49-F238E27FC236}">
                  <a16:creationId xmlns:a16="http://schemas.microsoft.com/office/drawing/2014/main" id="{0F061DD2-0F3A-4495-B4F4-9E94EF93F1CE}"/>
                </a:ext>
              </a:extLst>
            </p:cNvPr>
            <p:cNvCxnSpPr>
              <a:cxnSpLocks/>
            </p:cNvCxnSpPr>
            <p:nvPr/>
          </p:nvCxnSpPr>
          <p:spPr>
            <a:xfrm flipH="1">
              <a:off x="3766260" y="4140338"/>
              <a:ext cx="499311" cy="804109"/>
            </a:xfrm>
            <a:prstGeom prst="straightConnector1">
              <a:avLst/>
            </a:prstGeom>
            <a:ln w="57150">
              <a:solidFill>
                <a:schemeClr val="accent3"/>
              </a:solidFill>
              <a:tailEnd type="none"/>
            </a:ln>
          </p:spPr>
          <p:style>
            <a:lnRef idx="2">
              <a:schemeClr val="accent3"/>
            </a:lnRef>
            <a:fillRef idx="0">
              <a:schemeClr val="accent3"/>
            </a:fillRef>
            <a:effectRef idx="1">
              <a:schemeClr val="accent3"/>
            </a:effectRef>
            <a:fontRef idx="minor">
              <a:schemeClr val="tx1"/>
            </a:fontRef>
          </p:style>
        </p:cxnSp>
        <p:sp>
          <p:nvSpPr>
            <p:cNvPr id="17" name="Oval 16">
              <a:extLst>
                <a:ext uri="{FF2B5EF4-FFF2-40B4-BE49-F238E27FC236}">
                  <a16:creationId xmlns:a16="http://schemas.microsoft.com/office/drawing/2014/main" id="{6FDF350C-C97C-400B-B87D-6901DDEB82E0}"/>
                </a:ext>
              </a:extLst>
            </p:cNvPr>
            <p:cNvSpPr/>
            <p:nvPr/>
          </p:nvSpPr>
          <p:spPr>
            <a:xfrm>
              <a:off x="4250533" y="2180194"/>
              <a:ext cx="914400" cy="914400"/>
            </a:xfrm>
            <a:prstGeom prst="ellipse">
              <a:avLst/>
            </a:prstGeom>
            <a:noFill/>
            <a:ln w="57150"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Oval 17">
              <a:extLst>
                <a:ext uri="{FF2B5EF4-FFF2-40B4-BE49-F238E27FC236}">
                  <a16:creationId xmlns:a16="http://schemas.microsoft.com/office/drawing/2014/main" id="{3C4A1E42-C144-4D19-AD56-DC9E3BC28DA6}"/>
                </a:ext>
              </a:extLst>
            </p:cNvPr>
            <p:cNvSpPr/>
            <p:nvPr/>
          </p:nvSpPr>
          <p:spPr>
            <a:xfrm>
              <a:off x="6095375" y="2902088"/>
              <a:ext cx="914400" cy="914400"/>
            </a:xfrm>
            <a:prstGeom prst="ellipse">
              <a:avLst/>
            </a:prstGeom>
            <a:noFill/>
            <a:ln w="57150"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3" name="TextBox 22">
              <a:extLst>
                <a:ext uri="{FF2B5EF4-FFF2-40B4-BE49-F238E27FC236}">
                  <a16:creationId xmlns:a16="http://schemas.microsoft.com/office/drawing/2014/main" id="{41AFB02C-DB44-4F3C-812B-7D52A88090A6}"/>
                </a:ext>
              </a:extLst>
            </p:cNvPr>
            <p:cNvSpPr txBox="1"/>
            <p:nvPr/>
          </p:nvSpPr>
          <p:spPr>
            <a:xfrm>
              <a:off x="10200462" y="4849486"/>
              <a:ext cx="1530816"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Actual Bus Frequency (Derived from EDA)</a:t>
              </a:r>
              <a:endParaRPr lang="en-US"/>
            </a:p>
          </p:txBody>
        </p:sp>
        <p:sp>
          <p:nvSpPr>
            <p:cNvPr id="24" name="Rectangle 23">
              <a:extLst>
                <a:ext uri="{FF2B5EF4-FFF2-40B4-BE49-F238E27FC236}">
                  <a16:creationId xmlns:a16="http://schemas.microsoft.com/office/drawing/2014/main" id="{C02F7E63-1F01-4B53-821F-57BEDFD3D2A7}"/>
                </a:ext>
              </a:extLst>
            </p:cNvPr>
            <p:cNvSpPr/>
            <p:nvPr/>
          </p:nvSpPr>
          <p:spPr>
            <a:xfrm>
              <a:off x="9984738" y="4888009"/>
              <a:ext cx="224884" cy="568094"/>
            </a:xfrm>
            <a:prstGeom prst="rect">
              <a:avLst/>
            </a:prstGeom>
            <a:solidFill>
              <a:schemeClr val="accent3"/>
            </a:solid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5" name="Straight Arrow Connector 24">
              <a:extLst>
                <a:ext uri="{FF2B5EF4-FFF2-40B4-BE49-F238E27FC236}">
                  <a16:creationId xmlns:a16="http://schemas.microsoft.com/office/drawing/2014/main" id="{86C75B88-0208-4015-B9DF-BF70E495BB7A}"/>
                </a:ext>
              </a:extLst>
            </p:cNvPr>
            <p:cNvCxnSpPr/>
            <p:nvPr/>
          </p:nvCxnSpPr>
          <p:spPr>
            <a:xfrm flipV="1">
              <a:off x="5147889" y="1495397"/>
              <a:ext cx="1586162" cy="900363"/>
            </a:xfrm>
            <a:prstGeom prst="straightConnector1">
              <a:avLst/>
            </a:prstGeom>
            <a:ln w="57150" cap="rnd">
              <a:solidFill>
                <a:schemeClr val="accent3"/>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4264CA08-D5C3-4CB2-AD5C-F07158DF5983}"/>
                </a:ext>
              </a:extLst>
            </p:cNvPr>
            <p:cNvCxnSpPr>
              <a:cxnSpLocks/>
            </p:cNvCxnSpPr>
            <p:nvPr/>
          </p:nvCxnSpPr>
          <p:spPr>
            <a:xfrm flipV="1">
              <a:off x="6601706" y="1495399"/>
              <a:ext cx="152398" cy="1371597"/>
            </a:xfrm>
            <a:prstGeom prst="straightConnector1">
              <a:avLst/>
            </a:prstGeom>
            <a:ln w="57150" cap="rnd">
              <a:solidFill>
                <a:schemeClr val="accent3"/>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CFD4D3C-02DB-4109-AE1E-9B21315DB83D}"/>
                </a:ext>
              </a:extLst>
            </p:cNvPr>
            <p:cNvSpPr txBox="1"/>
            <p:nvPr/>
          </p:nvSpPr>
          <p:spPr>
            <a:xfrm>
              <a:off x="6782679" y="1018327"/>
              <a:ext cx="4477752"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Actual bus frequency is not able to support the peaks in demand</a:t>
              </a:r>
            </a:p>
          </p:txBody>
        </p:sp>
        <p:cxnSp>
          <p:nvCxnSpPr>
            <p:cNvPr id="5" name="Straight Arrow Connector 4">
              <a:extLst>
                <a:ext uri="{FF2B5EF4-FFF2-40B4-BE49-F238E27FC236}">
                  <a16:creationId xmlns:a16="http://schemas.microsoft.com/office/drawing/2014/main" id="{42CC447C-FCA3-4440-AFAC-074CA9387369}"/>
                </a:ext>
              </a:extLst>
            </p:cNvPr>
            <p:cNvCxnSpPr/>
            <p:nvPr/>
          </p:nvCxnSpPr>
          <p:spPr>
            <a:xfrm flipV="1">
              <a:off x="1388020" y="4924397"/>
              <a:ext cx="2428372" cy="18047"/>
            </a:xfrm>
            <a:prstGeom prst="straightConnector1">
              <a:avLst/>
            </a:prstGeom>
            <a:ln w="57150">
              <a:solidFill>
                <a:schemeClr val="accent3"/>
              </a:solidFill>
              <a:tailEnd type="none"/>
            </a:ln>
          </p:spPr>
          <p:style>
            <a:lnRef idx="2">
              <a:schemeClr val="accent3"/>
            </a:lnRef>
            <a:fillRef idx="0">
              <a:schemeClr val="accent3"/>
            </a:fillRef>
            <a:effectRef idx="1">
              <a:schemeClr val="accent3"/>
            </a:effectRef>
            <a:fontRef idx="minor">
              <a:schemeClr val="tx1"/>
            </a:fontRef>
          </p:style>
        </p:cxnSp>
      </p:grpSp>
    </p:spTree>
    <p:extLst>
      <p:ext uri="{BB962C8B-B14F-4D97-AF65-F5344CB8AC3E}">
        <p14:creationId xmlns:p14="http://schemas.microsoft.com/office/powerpoint/2010/main" val="4159389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3C0B427-9E9D-47EC-AFD8-3D8F22D59FE9}"/>
              </a:ext>
            </a:extLst>
          </p:cNvPr>
          <p:cNvSpPr txBox="1"/>
          <p:nvPr/>
        </p:nvSpPr>
        <p:spPr>
          <a:xfrm>
            <a:off x="10196933" y="1482254"/>
            <a:ext cx="1652387" cy="1053127"/>
          </a:xfrm>
          <a:prstGeom prst="rect">
            <a:avLst/>
          </a:prstGeom>
          <a:noFill/>
          <a:ln w="12700" cap="rnd">
            <a:solidFill>
              <a:srgbClr val="002060"/>
            </a:solidFill>
            <a:prstDash val="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400" b="1">
                <a:solidFill>
                  <a:srgbClr val="002060"/>
                </a:solidFill>
              </a:rPr>
              <a:t>Addresses customer pain points in waiting for their buses. </a:t>
            </a:r>
            <a:endParaRPr lang="en-SG" sz="1400">
              <a:solidFill>
                <a:srgbClr val="002060"/>
              </a:solidFill>
            </a:endParaRPr>
          </a:p>
        </p:txBody>
      </p:sp>
      <p:pic>
        <p:nvPicPr>
          <p:cNvPr id="2" name="Picture 3" descr="Graphical user interface, application&#10;&#10;Description automatically generated">
            <a:extLst>
              <a:ext uri="{FF2B5EF4-FFF2-40B4-BE49-F238E27FC236}">
                <a16:creationId xmlns:a16="http://schemas.microsoft.com/office/drawing/2014/main" id="{AEC58EF5-F1D5-4E20-B8B5-7FD65E79DF0C}"/>
              </a:ext>
            </a:extLst>
          </p:cNvPr>
          <p:cNvPicPr>
            <a:picLocks noChangeAspect="1"/>
          </p:cNvPicPr>
          <p:nvPr/>
        </p:nvPicPr>
        <p:blipFill>
          <a:blip r:embed="rId3"/>
          <a:stretch>
            <a:fillRect/>
          </a:stretch>
        </p:blipFill>
        <p:spPr>
          <a:xfrm>
            <a:off x="442587" y="1486043"/>
            <a:ext cx="9536892" cy="47686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Title 1">
            <a:extLst>
              <a:ext uri="{FF2B5EF4-FFF2-40B4-BE49-F238E27FC236}">
                <a16:creationId xmlns:a16="http://schemas.microsoft.com/office/drawing/2014/main" id="{EA512C5C-B61E-4EDE-A2CD-308BFA2920DA}"/>
              </a:ext>
            </a:extLst>
          </p:cNvPr>
          <p:cNvSpPr>
            <a:spLocks noGrp="1"/>
          </p:cNvSpPr>
          <p:nvPr>
            <p:ph type="title"/>
          </p:nvPr>
        </p:nvSpPr>
        <p:spPr>
          <a:xfrm>
            <a:off x="630000" y="622800"/>
            <a:ext cx="10933350" cy="747897"/>
          </a:xfrm>
        </p:spPr>
        <p:txBody>
          <a:bodyPr/>
          <a:lstStyle/>
          <a:p>
            <a:r>
              <a:rPr lang="en-SG"/>
              <a:t>Adding features in existing Sentosa App</a:t>
            </a:r>
            <a:br>
              <a:rPr lang="en-SG"/>
            </a:br>
            <a:r>
              <a:rPr lang="en-US" sz="2000">
                <a:solidFill>
                  <a:srgbClr val="002060"/>
                </a:solidFill>
                <a:ea typeface="+mj-lt"/>
                <a:cs typeface="+mj-lt"/>
              </a:rPr>
              <a:t>Provide real time bus arrival and occupancy information</a:t>
            </a:r>
            <a:endParaRPr lang="en-US" sz="2000"/>
          </a:p>
        </p:txBody>
      </p:sp>
      <p:pic>
        <p:nvPicPr>
          <p:cNvPr id="17" name="Picture 16" descr="Graphical user interface, application&#10;&#10;Description automatically generated">
            <a:extLst>
              <a:ext uri="{FF2B5EF4-FFF2-40B4-BE49-F238E27FC236}">
                <a16:creationId xmlns:a16="http://schemas.microsoft.com/office/drawing/2014/main" id="{B8401525-B70B-4EFA-8C14-01EE9116C492}"/>
              </a:ext>
            </a:extLst>
          </p:cNvPr>
          <p:cNvPicPr>
            <a:picLocks noChangeAspect="1"/>
          </p:cNvPicPr>
          <p:nvPr/>
        </p:nvPicPr>
        <p:blipFill>
          <a:blip r:embed="rId4"/>
          <a:stretch>
            <a:fillRect/>
          </a:stretch>
        </p:blipFill>
        <p:spPr>
          <a:xfrm>
            <a:off x="10195249" y="2801450"/>
            <a:ext cx="1805380" cy="34352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9" name="TextBox 18">
            <a:extLst>
              <a:ext uri="{FF2B5EF4-FFF2-40B4-BE49-F238E27FC236}">
                <a16:creationId xmlns:a16="http://schemas.microsoft.com/office/drawing/2014/main" id="{950C64E7-6661-4AEA-8068-716AD3707128}"/>
              </a:ext>
            </a:extLst>
          </p:cNvPr>
          <p:cNvSpPr txBox="1"/>
          <p:nvPr/>
        </p:nvSpPr>
        <p:spPr>
          <a:xfrm>
            <a:off x="10477585" y="5658899"/>
            <a:ext cx="1270751" cy="259678"/>
          </a:xfrm>
          <a:prstGeom prst="rect">
            <a:avLst/>
          </a:prstGeom>
          <a:solidFill>
            <a:srgbClr val="FF8C00"/>
          </a:solid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200" b="1">
                <a:solidFill>
                  <a:srgbClr val="FFFFFF"/>
                </a:solidFill>
              </a:rPr>
              <a:t>Current Design</a:t>
            </a:r>
          </a:p>
        </p:txBody>
      </p:sp>
      <p:sp>
        <p:nvSpPr>
          <p:cNvPr id="20" name="Oval 19">
            <a:extLst>
              <a:ext uri="{FF2B5EF4-FFF2-40B4-BE49-F238E27FC236}">
                <a16:creationId xmlns:a16="http://schemas.microsoft.com/office/drawing/2014/main" id="{64A6A166-6CE6-41F0-99B2-FC47AF50CD6C}"/>
              </a:ext>
            </a:extLst>
          </p:cNvPr>
          <p:cNvSpPr/>
          <p:nvPr/>
        </p:nvSpPr>
        <p:spPr>
          <a:xfrm>
            <a:off x="1471990" y="6366933"/>
            <a:ext cx="339877" cy="361043"/>
          </a:xfrm>
          <a:prstGeom prst="ellipse">
            <a:avLst/>
          </a:prstGeom>
          <a:solidFill>
            <a:srgbClr val="FF8C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1</a:t>
            </a:r>
          </a:p>
        </p:txBody>
      </p:sp>
      <p:sp>
        <p:nvSpPr>
          <p:cNvPr id="22" name="Oval 21">
            <a:extLst>
              <a:ext uri="{FF2B5EF4-FFF2-40B4-BE49-F238E27FC236}">
                <a16:creationId xmlns:a16="http://schemas.microsoft.com/office/drawing/2014/main" id="{31E2D2F4-E28C-4B52-9C47-E50AD68240D1}"/>
              </a:ext>
            </a:extLst>
          </p:cNvPr>
          <p:cNvSpPr/>
          <p:nvPr/>
        </p:nvSpPr>
        <p:spPr>
          <a:xfrm>
            <a:off x="3884988" y="6365420"/>
            <a:ext cx="339877" cy="361043"/>
          </a:xfrm>
          <a:prstGeom prst="ellipse">
            <a:avLst/>
          </a:prstGeom>
          <a:solidFill>
            <a:srgbClr val="FF8C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2</a:t>
            </a:r>
          </a:p>
        </p:txBody>
      </p:sp>
      <p:sp>
        <p:nvSpPr>
          <p:cNvPr id="23" name="Oval 22">
            <a:extLst>
              <a:ext uri="{FF2B5EF4-FFF2-40B4-BE49-F238E27FC236}">
                <a16:creationId xmlns:a16="http://schemas.microsoft.com/office/drawing/2014/main" id="{2E06316D-D669-4187-8235-1A4EE0D9868B}"/>
              </a:ext>
            </a:extLst>
          </p:cNvPr>
          <p:cNvSpPr/>
          <p:nvPr/>
        </p:nvSpPr>
        <p:spPr>
          <a:xfrm>
            <a:off x="6234186" y="6365419"/>
            <a:ext cx="339877" cy="361043"/>
          </a:xfrm>
          <a:prstGeom prst="ellipse">
            <a:avLst/>
          </a:prstGeom>
          <a:solidFill>
            <a:srgbClr val="FF8C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3</a:t>
            </a:r>
          </a:p>
        </p:txBody>
      </p:sp>
      <p:sp>
        <p:nvSpPr>
          <p:cNvPr id="24" name="Oval 23">
            <a:extLst>
              <a:ext uri="{FF2B5EF4-FFF2-40B4-BE49-F238E27FC236}">
                <a16:creationId xmlns:a16="http://schemas.microsoft.com/office/drawing/2014/main" id="{CEFC4E90-FB9D-4E3E-86B1-5712D705BC99}"/>
              </a:ext>
            </a:extLst>
          </p:cNvPr>
          <p:cNvSpPr/>
          <p:nvPr/>
        </p:nvSpPr>
        <p:spPr>
          <a:xfrm>
            <a:off x="8725502" y="6365418"/>
            <a:ext cx="339877" cy="361043"/>
          </a:xfrm>
          <a:prstGeom prst="ellipse">
            <a:avLst/>
          </a:prstGeom>
          <a:solidFill>
            <a:srgbClr val="FF8C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4</a:t>
            </a:r>
          </a:p>
        </p:txBody>
      </p:sp>
    </p:spTree>
    <p:extLst>
      <p:ext uri="{BB962C8B-B14F-4D97-AF65-F5344CB8AC3E}">
        <p14:creationId xmlns:p14="http://schemas.microsoft.com/office/powerpoint/2010/main" val="3531645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81280F0F-FE44-494C-A80A-92667A5E77F5}"/>
              </a:ext>
            </a:extLst>
          </p:cNvPr>
          <p:cNvSpPr/>
          <p:nvPr/>
        </p:nvSpPr>
        <p:spPr>
          <a:xfrm>
            <a:off x="631227" y="4122936"/>
            <a:ext cx="10922618" cy="2137274"/>
          </a:xfrm>
          <a:prstGeom prst="rect">
            <a:avLst/>
          </a:prstGeom>
          <a:noFill/>
          <a:ln w="12700" cap="flat" cmpd="sng" algn="ctr">
            <a:solidFill>
              <a:srgbClr val="00206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1200">
              <a:ea typeface="+mn-lt"/>
              <a:cs typeface="+mn-lt"/>
            </a:endParaRPr>
          </a:p>
          <a:p>
            <a:pPr marL="342900" indent="-342900">
              <a:lnSpc>
                <a:spcPct val="150000"/>
              </a:lnSpc>
              <a:buAutoNum type="arabicParenR"/>
            </a:pPr>
            <a:endParaRPr lang="en-US" sz="1200">
              <a:solidFill>
                <a:srgbClr val="002060"/>
              </a:solidFill>
              <a:latin typeface="Trebuchet MS"/>
              <a:ea typeface="+mn-lt"/>
              <a:cs typeface="Segoe UI"/>
            </a:endParaRPr>
          </a:p>
          <a:p>
            <a:pPr marL="342900" indent="-342900">
              <a:lnSpc>
                <a:spcPct val="150000"/>
              </a:lnSpc>
              <a:buAutoNum type="arabicParenR"/>
            </a:pPr>
            <a:r>
              <a:rPr lang="en-US" sz="1600">
                <a:solidFill>
                  <a:srgbClr val="002060"/>
                </a:solidFill>
                <a:latin typeface="Trebuchet MS"/>
                <a:ea typeface="+mn-lt"/>
                <a:cs typeface="Segoe UI"/>
              </a:rPr>
              <a:t>Predictive approach to deploy buses </a:t>
            </a:r>
            <a:endParaRPr lang="en-US" sz="1600">
              <a:solidFill>
                <a:srgbClr val="FFFFFF"/>
              </a:solidFill>
              <a:latin typeface="Trebuchet MS"/>
              <a:ea typeface="+mn-lt"/>
              <a:cs typeface="Segoe UI"/>
            </a:endParaRPr>
          </a:p>
          <a:p>
            <a:pPr marL="342900" indent="-342900">
              <a:lnSpc>
                <a:spcPct val="150000"/>
              </a:lnSpc>
              <a:buAutoNum type="arabicParenR"/>
            </a:pPr>
            <a:r>
              <a:rPr lang="en-US" sz="1600">
                <a:solidFill>
                  <a:srgbClr val="002060"/>
                </a:solidFill>
                <a:latin typeface="Trebuchet MS"/>
                <a:ea typeface="+mn-lt"/>
                <a:cs typeface="Segoe UI"/>
              </a:rPr>
              <a:t>Reduce operation costs for non-peak period</a:t>
            </a:r>
            <a:endParaRPr lang="en-US" sz="1600">
              <a:ea typeface="+mn-lt"/>
              <a:cs typeface="+mn-lt"/>
            </a:endParaRPr>
          </a:p>
          <a:p>
            <a:pPr marL="342900" indent="-342900">
              <a:lnSpc>
                <a:spcPct val="150000"/>
              </a:lnSpc>
              <a:buAutoNum type="arabicParenR"/>
            </a:pPr>
            <a:r>
              <a:rPr lang="en-US" sz="1600">
                <a:solidFill>
                  <a:srgbClr val="002060"/>
                </a:solidFill>
                <a:latin typeface="Trebuchet MS"/>
                <a:ea typeface="Segoe UI"/>
                <a:cs typeface="Segoe UI"/>
              </a:rPr>
              <a:t>Improve visitor experience </a:t>
            </a:r>
            <a:endParaRPr lang="en-US" sz="1600">
              <a:solidFill>
                <a:srgbClr val="FFFFFF"/>
              </a:solidFill>
              <a:latin typeface="Trebuchet MS"/>
              <a:ea typeface="Segoe UI"/>
              <a:cs typeface="Segoe UI"/>
            </a:endParaRPr>
          </a:p>
          <a:p>
            <a:pPr marL="342900" indent="-342900">
              <a:lnSpc>
                <a:spcPct val="150000"/>
              </a:lnSpc>
              <a:buAutoNum type="arabicParenR"/>
            </a:pPr>
            <a:r>
              <a:rPr lang="en-US" sz="1600">
                <a:solidFill>
                  <a:srgbClr val="002060"/>
                </a:solidFill>
                <a:latin typeface="Trebuchet MS"/>
                <a:ea typeface="Segoe UI"/>
                <a:cs typeface="Segoe UI"/>
              </a:rPr>
              <a:t>Increase the number of users using the Sentosa App</a:t>
            </a:r>
            <a:endParaRPr lang="en-US" sz="1600">
              <a:solidFill>
                <a:srgbClr val="002060"/>
              </a:solidFill>
              <a:cs typeface="Segoe UI"/>
            </a:endParaRPr>
          </a:p>
        </p:txBody>
      </p:sp>
      <p:sp>
        <p:nvSpPr>
          <p:cNvPr id="11" name="Rectangle 10">
            <a:extLst>
              <a:ext uri="{FF2B5EF4-FFF2-40B4-BE49-F238E27FC236}">
                <a16:creationId xmlns:a16="http://schemas.microsoft.com/office/drawing/2014/main" id="{48FA4A77-CB38-4FAD-81FC-6F8B79C30622}"/>
              </a:ext>
            </a:extLst>
          </p:cNvPr>
          <p:cNvSpPr/>
          <p:nvPr/>
        </p:nvSpPr>
        <p:spPr>
          <a:xfrm>
            <a:off x="631227" y="1390621"/>
            <a:ext cx="10922621" cy="2565919"/>
          </a:xfrm>
          <a:prstGeom prst="rect">
            <a:avLst/>
          </a:prstGeom>
          <a:noFill/>
          <a:ln w="12700" cap="flat" cmpd="sng" algn="ctr">
            <a:solidFill>
              <a:srgbClr val="00206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nSpc>
                <a:spcPct val="150000"/>
              </a:lnSpc>
            </a:pPr>
            <a:r>
              <a:rPr lang="en-US" sz="2000" b="1">
                <a:solidFill>
                  <a:srgbClr val="002060"/>
                </a:solidFill>
                <a:cs typeface="Segoe UI"/>
              </a:rPr>
              <a:t>Bus Route</a:t>
            </a:r>
            <a:endParaRPr lang="en-US" sz="2000">
              <a:ea typeface="+mn-lt"/>
              <a:cs typeface="+mn-lt"/>
            </a:endParaRPr>
          </a:p>
          <a:p>
            <a:r>
              <a:rPr lang="en-US" sz="1600">
                <a:solidFill>
                  <a:srgbClr val="002060"/>
                </a:solidFill>
                <a:cs typeface="Segoe UI"/>
              </a:rPr>
              <a:t>A bus prediction model to iterate ridership volume and hourly bus frequency to allow SDC Ops to allocate bus in a dynamic manner instead of the fixed frequency. </a:t>
            </a:r>
            <a:r>
              <a:rPr lang="en-US" sz="1600">
                <a:cs typeface="Segoe UI"/>
              </a:rPr>
              <a:t> </a:t>
            </a:r>
          </a:p>
          <a:p>
            <a:endParaRPr lang="en-US" sz="2000">
              <a:cs typeface="Segoe UI"/>
            </a:endParaRPr>
          </a:p>
          <a:p>
            <a:pPr>
              <a:lnSpc>
                <a:spcPct val="150000"/>
              </a:lnSpc>
            </a:pPr>
            <a:r>
              <a:rPr lang="en-US" sz="2000" b="1">
                <a:solidFill>
                  <a:srgbClr val="002060"/>
                </a:solidFill>
                <a:cs typeface="Segoe UI"/>
              </a:rPr>
              <a:t>Bus stop</a:t>
            </a:r>
            <a:endParaRPr lang="en-US" sz="2000">
              <a:ea typeface="+mn-lt"/>
              <a:cs typeface="+mn-lt"/>
            </a:endParaRPr>
          </a:p>
          <a:p>
            <a:r>
              <a:rPr lang="en-US" sz="1600">
                <a:solidFill>
                  <a:srgbClr val="002060"/>
                </a:solidFill>
                <a:cs typeface="Segoe UI"/>
              </a:rPr>
              <a:t>Sharing of real time bus information (Arrival time, available capacity) through:</a:t>
            </a:r>
            <a:r>
              <a:rPr lang="en-US" sz="1600">
                <a:cs typeface="Segoe UI"/>
              </a:rPr>
              <a:t> </a:t>
            </a:r>
            <a:endParaRPr lang="en-US" sz="1600">
              <a:ea typeface="+mn-lt"/>
              <a:cs typeface="+mn-lt"/>
            </a:endParaRPr>
          </a:p>
          <a:p>
            <a:pPr marL="342900" indent="-342900">
              <a:buAutoNum type="alphaLcParenR"/>
            </a:pPr>
            <a:r>
              <a:rPr lang="en-US" sz="1600">
                <a:solidFill>
                  <a:srgbClr val="002060"/>
                </a:solidFill>
                <a:cs typeface="Segoe UI"/>
              </a:rPr>
              <a:t>Addition of new features in existing Sentosa App</a:t>
            </a:r>
            <a:r>
              <a:rPr lang="en-US" sz="1600">
                <a:cs typeface="Segoe UI"/>
              </a:rPr>
              <a:t> </a:t>
            </a:r>
            <a:endParaRPr lang="en-US" sz="1600">
              <a:ea typeface="+mn-lt"/>
              <a:cs typeface="+mn-lt"/>
            </a:endParaRPr>
          </a:p>
          <a:p>
            <a:pPr marL="342900" indent="-342900">
              <a:buAutoNum type="alphaLcParenR"/>
            </a:pPr>
            <a:r>
              <a:rPr lang="en-US" sz="1600">
                <a:solidFill>
                  <a:srgbClr val="002060"/>
                </a:solidFill>
                <a:cs typeface="Segoe UI"/>
              </a:rPr>
              <a:t>Digital signboards at popular bus stops such as </a:t>
            </a:r>
            <a:r>
              <a:rPr lang="en-US" sz="1600" err="1">
                <a:solidFill>
                  <a:srgbClr val="002060"/>
                </a:solidFill>
                <a:cs typeface="Segoe UI"/>
              </a:rPr>
              <a:t>Imbah</a:t>
            </a:r>
            <a:r>
              <a:rPr lang="en-US" sz="1600">
                <a:solidFill>
                  <a:srgbClr val="002060"/>
                </a:solidFill>
                <a:cs typeface="Segoe UI"/>
              </a:rPr>
              <a:t> lookout</a:t>
            </a:r>
            <a:endParaRPr lang="en-US" sz="1600">
              <a:ea typeface="+mn-lt"/>
              <a:cs typeface="+mn-lt"/>
            </a:endParaRPr>
          </a:p>
          <a:p>
            <a:endParaRPr lang="en-US" sz="2000">
              <a:cs typeface="Segoe UI"/>
            </a:endParaRPr>
          </a:p>
        </p:txBody>
      </p:sp>
      <p:sp>
        <p:nvSpPr>
          <p:cNvPr id="9" name="Title 1">
            <a:extLst>
              <a:ext uri="{FF2B5EF4-FFF2-40B4-BE49-F238E27FC236}">
                <a16:creationId xmlns:a16="http://schemas.microsoft.com/office/drawing/2014/main" id="{D11E5A33-11CE-4654-94DA-ADBE91E56528}"/>
              </a:ext>
            </a:extLst>
          </p:cNvPr>
          <p:cNvSpPr txBox="1">
            <a:spLocks/>
          </p:cNvSpPr>
          <p:nvPr/>
        </p:nvSpPr>
        <p:spPr>
          <a:xfrm>
            <a:off x="632139" y="825465"/>
            <a:ext cx="4524274"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solidFill>
                <a:latin typeface="+mj-lt"/>
                <a:ea typeface="+mj-ea"/>
                <a:cs typeface="+mj-cs"/>
                <a:sym typeface="Trebuchet MS" panose="020B0603020202020204" pitchFamily="34" charset="0"/>
              </a:defRPr>
            </a:lvl1pPr>
          </a:lstStyle>
          <a:p>
            <a:r>
              <a:rPr lang="en-US">
                <a:solidFill>
                  <a:srgbClr val="002060"/>
                </a:solidFill>
              </a:rPr>
              <a:t>Our Recommendations</a:t>
            </a:r>
            <a:endParaRPr lang="en-US"/>
          </a:p>
        </p:txBody>
      </p:sp>
      <p:sp>
        <p:nvSpPr>
          <p:cNvPr id="13" name="Title 1">
            <a:extLst>
              <a:ext uri="{FF2B5EF4-FFF2-40B4-BE49-F238E27FC236}">
                <a16:creationId xmlns:a16="http://schemas.microsoft.com/office/drawing/2014/main" id="{30AA57D7-C548-4A67-A676-80F9FD59520F}"/>
              </a:ext>
            </a:extLst>
          </p:cNvPr>
          <p:cNvSpPr txBox="1">
            <a:spLocks/>
          </p:cNvSpPr>
          <p:nvPr/>
        </p:nvSpPr>
        <p:spPr>
          <a:xfrm>
            <a:off x="784539" y="4268254"/>
            <a:ext cx="4524274"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solidFill>
                <a:latin typeface="+mj-lt"/>
                <a:ea typeface="+mj-ea"/>
                <a:cs typeface="+mj-cs"/>
                <a:sym typeface="Trebuchet MS" panose="020B0603020202020204" pitchFamily="34" charset="0"/>
              </a:defRPr>
            </a:lvl1pPr>
          </a:lstStyle>
          <a:p>
            <a:r>
              <a:rPr lang="en-US" sz="2400">
                <a:solidFill>
                  <a:srgbClr val="002060"/>
                </a:solidFill>
              </a:rPr>
              <a:t>Value &amp; Impact</a:t>
            </a:r>
            <a:endParaRPr lang="en-US" sz="2400"/>
          </a:p>
        </p:txBody>
      </p:sp>
      <p:pic>
        <p:nvPicPr>
          <p:cNvPr id="39" name="Graphic 39" descr="Marker with solid fill">
            <a:extLst>
              <a:ext uri="{FF2B5EF4-FFF2-40B4-BE49-F238E27FC236}">
                <a16:creationId xmlns:a16="http://schemas.microsoft.com/office/drawing/2014/main" id="{6D100E40-F0A0-4C81-AFE6-66AAB66A84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39686" y="1393370"/>
            <a:ext cx="522516" cy="555173"/>
          </a:xfrm>
          <a:prstGeom prst="rect">
            <a:avLst/>
          </a:prstGeom>
        </p:spPr>
      </p:pic>
      <p:pic>
        <p:nvPicPr>
          <p:cNvPr id="42" name="Graphic 1727" descr="Bus with solid fill">
            <a:extLst>
              <a:ext uri="{FF2B5EF4-FFF2-40B4-BE49-F238E27FC236}">
                <a16:creationId xmlns:a16="http://schemas.microsoft.com/office/drawing/2014/main" id="{EEF785FC-B0A1-4C7B-971D-1AC4D6CB007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39535" y="2523438"/>
            <a:ext cx="652704" cy="647203"/>
          </a:xfrm>
          <a:prstGeom prst="rect">
            <a:avLst/>
          </a:prstGeom>
        </p:spPr>
      </p:pic>
    </p:spTree>
    <p:extLst>
      <p:ext uri="{BB962C8B-B14F-4D97-AF65-F5344CB8AC3E}">
        <p14:creationId xmlns:p14="http://schemas.microsoft.com/office/powerpoint/2010/main" val="2652119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Diagram 3">
            <a:extLst>
              <a:ext uri="{FF2B5EF4-FFF2-40B4-BE49-F238E27FC236}">
                <a16:creationId xmlns:a16="http://schemas.microsoft.com/office/drawing/2014/main" id="{9D58B7B4-DE29-4DDF-BB8A-729D2B705659}"/>
              </a:ext>
            </a:extLst>
          </p:cNvPr>
          <p:cNvGraphicFramePr/>
          <p:nvPr>
            <p:extLst>
              <p:ext uri="{D42A27DB-BD31-4B8C-83A1-F6EECF244321}">
                <p14:modId xmlns:p14="http://schemas.microsoft.com/office/powerpoint/2010/main" val="1823216182"/>
              </p:ext>
            </p:extLst>
          </p:nvPr>
        </p:nvGraphicFramePr>
        <p:xfrm>
          <a:off x="3138466" y="-84932"/>
          <a:ext cx="8486460" cy="39697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7" name="Rectangle 46">
            <a:extLst>
              <a:ext uri="{FF2B5EF4-FFF2-40B4-BE49-F238E27FC236}">
                <a16:creationId xmlns:a16="http://schemas.microsoft.com/office/drawing/2014/main" id="{B72F6C48-B470-4163-9AC9-2982A10656DA}"/>
              </a:ext>
            </a:extLst>
          </p:cNvPr>
          <p:cNvSpPr/>
          <p:nvPr/>
        </p:nvSpPr>
        <p:spPr>
          <a:xfrm>
            <a:off x="412787" y="453725"/>
            <a:ext cx="11140335" cy="2897568"/>
          </a:xfrm>
          <a:prstGeom prst="rect">
            <a:avLst/>
          </a:prstGeom>
          <a:noFill/>
          <a:ln w="12700" cap="flat" cmpd="sng" algn="ctr">
            <a:solidFill>
              <a:srgbClr val="00206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75757"/>
              </a:solidFill>
            </a:endParaRPr>
          </a:p>
        </p:txBody>
      </p:sp>
      <p:sp>
        <p:nvSpPr>
          <p:cNvPr id="49" name="Title 1">
            <a:extLst>
              <a:ext uri="{FF2B5EF4-FFF2-40B4-BE49-F238E27FC236}">
                <a16:creationId xmlns:a16="http://schemas.microsoft.com/office/drawing/2014/main" id="{1A40ECD8-EC71-4C0D-A629-C5042C9FBE1B}"/>
              </a:ext>
            </a:extLst>
          </p:cNvPr>
          <p:cNvSpPr txBox="1">
            <a:spLocks/>
          </p:cNvSpPr>
          <p:nvPr/>
        </p:nvSpPr>
        <p:spPr>
          <a:xfrm>
            <a:off x="723579" y="1353785"/>
            <a:ext cx="2441474"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solidFill>
                <a:latin typeface="+mj-lt"/>
                <a:ea typeface="+mj-ea"/>
                <a:cs typeface="+mj-cs"/>
                <a:sym typeface="Trebuchet MS" panose="020B0603020202020204" pitchFamily="34" charset="0"/>
              </a:defRPr>
            </a:lvl1pPr>
          </a:lstStyle>
          <a:p>
            <a:r>
              <a:rPr lang="en-US">
                <a:solidFill>
                  <a:srgbClr val="002060"/>
                </a:solidFill>
              </a:rPr>
              <a:t>Next steps</a:t>
            </a:r>
          </a:p>
        </p:txBody>
      </p:sp>
      <p:sp>
        <p:nvSpPr>
          <p:cNvPr id="124" name="TextBox 123">
            <a:extLst>
              <a:ext uri="{FF2B5EF4-FFF2-40B4-BE49-F238E27FC236}">
                <a16:creationId xmlns:a16="http://schemas.microsoft.com/office/drawing/2014/main" id="{C91A31F3-23FB-421F-8BC0-FD3F5F868D91}"/>
              </a:ext>
            </a:extLst>
          </p:cNvPr>
          <p:cNvSpPr txBox="1"/>
          <p:nvPr/>
        </p:nvSpPr>
        <p:spPr>
          <a:xfrm>
            <a:off x="639324" y="1795796"/>
            <a:ext cx="3742542"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rgbClr val="002060"/>
                </a:solidFill>
              </a:rPr>
              <a:t>Time frame: 6  -9 months</a:t>
            </a:r>
          </a:p>
        </p:txBody>
      </p:sp>
      <p:sp>
        <p:nvSpPr>
          <p:cNvPr id="160" name="Rectangle 159">
            <a:extLst>
              <a:ext uri="{FF2B5EF4-FFF2-40B4-BE49-F238E27FC236}">
                <a16:creationId xmlns:a16="http://schemas.microsoft.com/office/drawing/2014/main" id="{129EBF9C-3DCE-40EC-8CFB-1CB201B252BE}"/>
              </a:ext>
            </a:extLst>
          </p:cNvPr>
          <p:cNvSpPr/>
          <p:nvPr/>
        </p:nvSpPr>
        <p:spPr>
          <a:xfrm>
            <a:off x="411279" y="3548607"/>
            <a:ext cx="5572466" cy="2717494"/>
          </a:xfrm>
          <a:prstGeom prst="rect">
            <a:avLst/>
          </a:prstGeom>
          <a:noFill/>
          <a:ln w="12700" cap="flat" cmpd="sng" algn="ctr">
            <a:solidFill>
              <a:srgbClr val="00206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28600" indent="-228600">
              <a:lnSpc>
                <a:spcPct val="150000"/>
              </a:lnSpc>
              <a:buAutoNum type="arabicPeriod"/>
            </a:pPr>
            <a:endParaRPr lang="en-US" sz="1200">
              <a:solidFill>
                <a:srgbClr val="002060"/>
              </a:solidFill>
            </a:endParaRPr>
          </a:p>
          <a:p>
            <a:pPr marL="228600" indent="-228600">
              <a:lnSpc>
                <a:spcPct val="150000"/>
              </a:lnSpc>
              <a:buAutoNum type="arabicPeriod"/>
            </a:pPr>
            <a:endParaRPr lang="en-US" sz="1200">
              <a:solidFill>
                <a:srgbClr val="002060"/>
              </a:solidFill>
            </a:endParaRPr>
          </a:p>
          <a:p>
            <a:pPr marL="228600" indent="-228600">
              <a:lnSpc>
                <a:spcPct val="150000"/>
              </a:lnSpc>
              <a:buAutoNum type="arabicPeriod"/>
            </a:pPr>
            <a:r>
              <a:rPr lang="en-US" sz="1200">
                <a:solidFill>
                  <a:srgbClr val="002060"/>
                </a:solidFill>
              </a:rPr>
              <a:t>Total rider coming in and out are the same number. </a:t>
            </a:r>
            <a:endParaRPr lang="en-US"/>
          </a:p>
          <a:p>
            <a:pPr marL="228600" indent="-228600">
              <a:lnSpc>
                <a:spcPct val="150000"/>
              </a:lnSpc>
              <a:buAutoNum type="arabicPeriod"/>
            </a:pPr>
            <a:r>
              <a:rPr lang="en-US" sz="1200">
                <a:solidFill>
                  <a:srgbClr val="002060"/>
                </a:solidFill>
              </a:rPr>
              <a:t>Priority in providing a good prediction model to </a:t>
            </a:r>
            <a:r>
              <a:rPr lang="en-US" sz="1200" err="1">
                <a:solidFill>
                  <a:srgbClr val="002060"/>
                </a:solidFill>
              </a:rPr>
              <a:t>optimise</a:t>
            </a:r>
            <a:r>
              <a:rPr lang="en-US" sz="1200">
                <a:solidFill>
                  <a:srgbClr val="002060"/>
                </a:solidFill>
              </a:rPr>
              <a:t> the bus frequency instead of focusing on business operations.</a:t>
            </a:r>
          </a:p>
          <a:p>
            <a:pPr marL="228600" indent="-228600">
              <a:lnSpc>
                <a:spcPct val="150000"/>
              </a:lnSpc>
              <a:buAutoNum type="arabicPeriod"/>
            </a:pPr>
            <a:r>
              <a:rPr lang="en-US" sz="1200">
                <a:solidFill>
                  <a:srgbClr val="002060"/>
                </a:solidFill>
              </a:rPr>
              <a:t>No key events or promotions during the period of data provided (Jan – Mar 2021) due to COVID-19 SMM measures.</a:t>
            </a:r>
            <a:endParaRPr lang="en-US">
              <a:solidFill>
                <a:srgbClr val="FFFFFF"/>
              </a:solidFill>
            </a:endParaRPr>
          </a:p>
          <a:p>
            <a:pPr marL="228600" indent="-228600">
              <a:lnSpc>
                <a:spcPct val="150000"/>
              </a:lnSpc>
              <a:buAutoNum type="arabicPeriod"/>
            </a:pPr>
            <a:r>
              <a:rPr lang="en-US" sz="1200">
                <a:solidFill>
                  <a:srgbClr val="002060"/>
                </a:solidFill>
              </a:rPr>
              <a:t>Maximum bus capacity reduced from 88 to 50 pax due to COVID-19 SMM measures.</a:t>
            </a:r>
            <a:endParaRPr lang="en-US"/>
          </a:p>
        </p:txBody>
      </p:sp>
      <p:sp>
        <p:nvSpPr>
          <p:cNvPr id="229" name="Rectangle 228">
            <a:extLst>
              <a:ext uri="{FF2B5EF4-FFF2-40B4-BE49-F238E27FC236}">
                <a16:creationId xmlns:a16="http://schemas.microsoft.com/office/drawing/2014/main" id="{8CB63044-5013-4EFC-B813-E8D7A72DE7FF}"/>
              </a:ext>
            </a:extLst>
          </p:cNvPr>
          <p:cNvSpPr/>
          <p:nvPr/>
        </p:nvSpPr>
        <p:spPr>
          <a:xfrm>
            <a:off x="6191915" y="3548606"/>
            <a:ext cx="5402872" cy="2717944"/>
          </a:xfrm>
          <a:prstGeom prst="rect">
            <a:avLst/>
          </a:prstGeom>
          <a:noFill/>
          <a:ln w="12700" cap="flat" cmpd="sng" algn="ctr">
            <a:solidFill>
              <a:srgbClr val="00206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nSpc>
                <a:spcPct val="150000"/>
              </a:lnSpc>
            </a:pPr>
            <a:endParaRPr lang="en-US" sz="2400">
              <a:solidFill>
                <a:srgbClr val="002060"/>
              </a:solidFill>
            </a:endParaRPr>
          </a:p>
          <a:p>
            <a:pPr marL="228600" indent="-228600">
              <a:lnSpc>
                <a:spcPct val="150000"/>
              </a:lnSpc>
              <a:buAutoNum type="arabicPeriod"/>
            </a:pPr>
            <a:r>
              <a:rPr lang="en-US" sz="1200">
                <a:solidFill>
                  <a:srgbClr val="002060"/>
                </a:solidFill>
              </a:rPr>
              <a:t>Time series model requires a longer time data (at least 1 year) in order to give more accurate predictions (current data is only 3 months).</a:t>
            </a:r>
            <a:endParaRPr lang="en-US" sz="1200">
              <a:ea typeface="+mn-lt"/>
              <a:cs typeface="+mn-lt"/>
            </a:endParaRPr>
          </a:p>
          <a:p>
            <a:pPr marL="228600" indent="-228600">
              <a:lnSpc>
                <a:spcPct val="150000"/>
              </a:lnSpc>
              <a:buAutoNum type="arabicPeriod"/>
            </a:pPr>
            <a:r>
              <a:rPr lang="en-US" sz="1200">
                <a:solidFill>
                  <a:srgbClr val="002060"/>
                </a:solidFill>
              </a:rPr>
              <a:t>Bus </a:t>
            </a:r>
            <a:r>
              <a:rPr lang="en-US" sz="1200">
                <a:solidFill>
                  <a:srgbClr val="002060"/>
                </a:solidFill>
                <a:ea typeface="+mn-lt"/>
                <a:cs typeface="+mn-lt"/>
              </a:rPr>
              <a:t>detection system unable to accurately detect actual count (Total In &amp; Total Out does not match).</a:t>
            </a:r>
            <a:endParaRPr lang="en-SG" sz="1200">
              <a:solidFill>
                <a:srgbClr val="002060"/>
              </a:solidFill>
              <a:ea typeface="+mn-lt"/>
              <a:cs typeface="+mn-lt"/>
            </a:endParaRPr>
          </a:p>
          <a:p>
            <a:pPr marL="228600" indent="-228600">
              <a:lnSpc>
                <a:spcPct val="150000"/>
              </a:lnSpc>
              <a:buAutoNum type="arabicPeriod"/>
            </a:pPr>
            <a:r>
              <a:rPr lang="en-US" sz="1200">
                <a:solidFill>
                  <a:srgbClr val="002060"/>
                </a:solidFill>
              </a:rPr>
              <a:t>Bus stops and bus routes cannot be removed. </a:t>
            </a:r>
            <a:endParaRPr lang="en-US" sz="1200">
              <a:ea typeface="+mn-lt"/>
              <a:cs typeface="+mn-lt"/>
            </a:endParaRPr>
          </a:p>
          <a:p>
            <a:pPr marL="228600" indent="-228600">
              <a:lnSpc>
                <a:spcPct val="150000"/>
              </a:lnSpc>
              <a:buAutoNum type="arabicPeriod"/>
            </a:pPr>
            <a:r>
              <a:rPr lang="en-US" sz="1200">
                <a:solidFill>
                  <a:srgbClr val="002060"/>
                </a:solidFill>
              </a:rPr>
              <a:t>Baseline on customer satisfaction rating is unknown.</a:t>
            </a:r>
            <a:endParaRPr lang="en-US" sz="1200">
              <a:ea typeface="+mn-lt"/>
              <a:cs typeface="+mn-lt"/>
            </a:endParaRPr>
          </a:p>
        </p:txBody>
      </p:sp>
      <p:pic>
        <p:nvPicPr>
          <p:cNvPr id="1727" name="Graphic 1727" descr="Bus with solid fill">
            <a:extLst>
              <a:ext uri="{FF2B5EF4-FFF2-40B4-BE49-F238E27FC236}">
                <a16:creationId xmlns:a16="http://schemas.microsoft.com/office/drawing/2014/main" id="{4F4925B4-226E-4CE5-9A48-DF473BE5B5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29935" y="553123"/>
            <a:ext cx="968388" cy="941117"/>
          </a:xfrm>
          <a:prstGeom prst="rect">
            <a:avLst/>
          </a:prstGeom>
        </p:spPr>
      </p:pic>
      <p:sp>
        <p:nvSpPr>
          <p:cNvPr id="3097" name="Freeform 11">
            <a:extLst>
              <a:ext uri="{FF2B5EF4-FFF2-40B4-BE49-F238E27FC236}">
                <a16:creationId xmlns:a16="http://schemas.microsoft.com/office/drawing/2014/main" id="{B43BCD4D-C119-4545-A18A-03EFECDDCAC1}"/>
              </a:ext>
            </a:extLst>
          </p:cNvPr>
          <p:cNvSpPr>
            <a:spLocks noChangeArrowheads="1"/>
          </p:cNvSpPr>
          <p:nvPr/>
        </p:nvSpPr>
        <p:spPr bwMode="auto">
          <a:xfrm>
            <a:off x="2908454" y="3716688"/>
            <a:ext cx="651268" cy="278527"/>
          </a:xfrm>
          <a:custGeom>
            <a:avLst/>
            <a:gdLst>
              <a:gd name="connsiteX0" fmla="*/ 101600 w 1271588"/>
              <a:gd name="connsiteY0" fmla="*/ 225425 h 565150"/>
              <a:gd name="connsiteX1" fmla="*/ 41275 w 1271588"/>
              <a:gd name="connsiteY1" fmla="*/ 285750 h 565150"/>
              <a:gd name="connsiteX2" fmla="*/ 101600 w 1271588"/>
              <a:gd name="connsiteY2" fmla="*/ 346075 h 565150"/>
              <a:gd name="connsiteX3" fmla="*/ 161925 w 1271588"/>
              <a:gd name="connsiteY3" fmla="*/ 285750 h 565150"/>
              <a:gd name="connsiteX4" fmla="*/ 101600 w 1271588"/>
              <a:gd name="connsiteY4" fmla="*/ 225425 h 565150"/>
              <a:gd name="connsiteX5" fmla="*/ 512763 w 1271588"/>
              <a:gd name="connsiteY5" fmla="*/ 217488 h 565150"/>
              <a:gd name="connsiteX6" fmla="*/ 640543 w 1271588"/>
              <a:gd name="connsiteY6" fmla="*/ 217488 h 565150"/>
              <a:gd name="connsiteX7" fmla="*/ 691940 w 1271588"/>
              <a:gd name="connsiteY7" fmla="*/ 281190 h 565150"/>
              <a:gd name="connsiteX8" fmla="*/ 818292 w 1271588"/>
              <a:gd name="connsiteY8" fmla="*/ 281190 h 565150"/>
              <a:gd name="connsiteX9" fmla="*/ 869689 w 1271588"/>
              <a:gd name="connsiteY9" fmla="*/ 243971 h 565150"/>
              <a:gd name="connsiteX10" fmla="*/ 928225 w 1271588"/>
              <a:gd name="connsiteY10" fmla="*/ 243971 h 565150"/>
              <a:gd name="connsiteX11" fmla="*/ 956779 w 1271588"/>
              <a:gd name="connsiteY11" fmla="*/ 286916 h 565150"/>
              <a:gd name="connsiteX12" fmla="*/ 1107402 w 1271588"/>
              <a:gd name="connsiteY12" fmla="*/ 286916 h 565150"/>
              <a:gd name="connsiteX13" fmla="*/ 1180215 w 1271588"/>
              <a:gd name="connsiteY13" fmla="*/ 241108 h 565150"/>
              <a:gd name="connsiteX14" fmla="*/ 1271588 w 1271588"/>
              <a:gd name="connsiteY14" fmla="*/ 301231 h 565150"/>
              <a:gd name="connsiteX15" fmla="*/ 1230185 w 1271588"/>
              <a:gd name="connsiteY15" fmla="*/ 341313 h 565150"/>
              <a:gd name="connsiteX16" fmla="*/ 513477 w 1271588"/>
              <a:gd name="connsiteY16" fmla="*/ 341313 h 565150"/>
              <a:gd name="connsiteX17" fmla="*/ 518474 w 1271588"/>
              <a:gd name="connsiteY17" fmla="*/ 282622 h 565150"/>
              <a:gd name="connsiteX18" fmla="*/ 512763 w 1271588"/>
              <a:gd name="connsiteY18" fmla="*/ 217488 h 565150"/>
              <a:gd name="connsiteX19" fmla="*/ 243682 w 1271588"/>
              <a:gd name="connsiteY19" fmla="*/ 0 h 565150"/>
              <a:gd name="connsiteX20" fmla="*/ 487364 w 1271588"/>
              <a:gd name="connsiteY20" fmla="*/ 282575 h 565150"/>
              <a:gd name="connsiteX21" fmla="*/ 243682 w 1271588"/>
              <a:gd name="connsiteY21" fmla="*/ 565150 h 565150"/>
              <a:gd name="connsiteX22" fmla="*/ 0 w 1271588"/>
              <a:gd name="connsiteY22" fmla="*/ 282575 h 565150"/>
              <a:gd name="connsiteX23" fmla="*/ 243682 w 1271588"/>
              <a:gd name="connsiteY23" fmla="*/ 0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588" h="565150">
                <a:moveTo>
                  <a:pt x="101600" y="225425"/>
                </a:moveTo>
                <a:cubicBezTo>
                  <a:pt x="68283" y="225425"/>
                  <a:pt x="41275" y="252433"/>
                  <a:pt x="41275" y="285750"/>
                </a:cubicBezTo>
                <a:cubicBezTo>
                  <a:pt x="41275" y="319067"/>
                  <a:pt x="68283" y="346075"/>
                  <a:pt x="101600" y="346075"/>
                </a:cubicBezTo>
                <a:cubicBezTo>
                  <a:pt x="134917" y="346075"/>
                  <a:pt x="161925" y="319067"/>
                  <a:pt x="161925" y="285750"/>
                </a:cubicBezTo>
                <a:cubicBezTo>
                  <a:pt x="161925" y="252433"/>
                  <a:pt x="134917" y="225425"/>
                  <a:pt x="101600" y="225425"/>
                </a:cubicBezTo>
                <a:close/>
                <a:moveTo>
                  <a:pt x="512763" y="217488"/>
                </a:moveTo>
                <a:cubicBezTo>
                  <a:pt x="512763" y="217488"/>
                  <a:pt x="512763" y="217488"/>
                  <a:pt x="640543" y="217488"/>
                </a:cubicBezTo>
                <a:cubicBezTo>
                  <a:pt x="640543" y="217488"/>
                  <a:pt x="640543" y="217488"/>
                  <a:pt x="691940" y="281190"/>
                </a:cubicBezTo>
                <a:cubicBezTo>
                  <a:pt x="691940" y="281190"/>
                  <a:pt x="691940" y="281190"/>
                  <a:pt x="818292" y="281190"/>
                </a:cubicBezTo>
                <a:cubicBezTo>
                  <a:pt x="818292" y="281190"/>
                  <a:pt x="818292" y="281190"/>
                  <a:pt x="869689" y="243971"/>
                </a:cubicBezTo>
                <a:cubicBezTo>
                  <a:pt x="869689" y="243971"/>
                  <a:pt x="869689" y="243971"/>
                  <a:pt x="928225" y="243971"/>
                </a:cubicBezTo>
                <a:cubicBezTo>
                  <a:pt x="928225" y="243971"/>
                  <a:pt x="928225" y="243971"/>
                  <a:pt x="956779" y="286916"/>
                </a:cubicBezTo>
                <a:cubicBezTo>
                  <a:pt x="956779" y="286916"/>
                  <a:pt x="956779" y="286916"/>
                  <a:pt x="1107402" y="286916"/>
                </a:cubicBezTo>
                <a:cubicBezTo>
                  <a:pt x="1107402" y="286916"/>
                  <a:pt x="1107402" y="286916"/>
                  <a:pt x="1180215" y="241108"/>
                </a:cubicBezTo>
                <a:cubicBezTo>
                  <a:pt x="1180215" y="241108"/>
                  <a:pt x="1180215" y="241108"/>
                  <a:pt x="1271588" y="301231"/>
                </a:cubicBezTo>
                <a:cubicBezTo>
                  <a:pt x="1271588" y="301231"/>
                  <a:pt x="1271588" y="301231"/>
                  <a:pt x="1230185" y="341313"/>
                </a:cubicBezTo>
                <a:cubicBezTo>
                  <a:pt x="1230185" y="341313"/>
                  <a:pt x="1230185" y="341313"/>
                  <a:pt x="513477" y="341313"/>
                </a:cubicBezTo>
                <a:cubicBezTo>
                  <a:pt x="517046" y="321988"/>
                  <a:pt x="518474" y="302663"/>
                  <a:pt x="518474" y="282622"/>
                </a:cubicBezTo>
                <a:cubicBezTo>
                  <a:pt x="518474" y="260433"/>
                  <a:pt x="516333" y="238961"/>
                  <a:pt x="512763" y="217488"/>
                </a:cubicBezTo>
                <a:close/>
                <a:moveTo>
                  <a:pt x="243682" y="0"/>
                </a:moveTo>
                <a:cubicBezTo>
                  <a:pt x="378264" y="0"/>
                  <a:pt x="487364" y="126513"/>
                  <a:pt x="487364" y="282575"/>
                </a:cubicBezTo>
                <a:cubicBezTo>
                  <a:pt x="487364" y="438637"/>
                  <a:pt x="378264" y="565150"/>
                  <a:pt x="243682" y="565150"/>
                </a:cubicBezTo>
                <a:cubicBezTo>
                  <a:pt x="109100" y="565150"/>
                  <a:pt x="0" y="438637"/>
                  <a:pt x="0" y="282575"/>
                </a:cubicBezTo>
                <a:cubicBezTo>
                  <a:pt x="0" y="126513"/>
                  <a:pt x="109100" y="0"/>
                  <a:pt x="243682" y="0"/>
                </a:cubicBezTo>
                <a:close/>
              </a:path>
            </a:pathLst>
          </a:custGeom>
          <a:solidFill>
            <a:srgbClr val="FF8C00"/>
          </a:solidFill>
          <a:ln>
            <a:noFill/>
          </a:ln>
        </p:spPr>
        <p:txBody>
          <a:bodyPr vert="horz" wrap="square" lIns="91440" tIns="45720" rIns="91440" bIns="45720" numCol="1" anchor="t" anchorCtr="0" compatLnSpc="1">
            <a:prstTxWarp prst="textNoShape">
              <a:avLst/>
            </a:prstTxWarp>
            <a:noAutofit/>
          </a:bodyPr>
          <a:lstStyle/>
          <a:p>
            <a:endParaRPr lang="en-US"/>
          </a:p>
        </p:txBody>
      </p:sp>
      <p:grpSp>
        <p:nvGrpSpPr>
          <p:cNvPr id="417" name="Group 416">
            <a:extLst>
              <a:ext uri="{FF2B5EF4-FFF2-40B4-BE49-F238E27FC236}">
                <a16:creationId xmlns:a16="http://schemas.microsoft.com/office/drawing/2014/main" id="{3422634B-E74A-464E-8891-948490F63923}"/>
              </a:ext>
            </a:extLst>
          </p:cNvPr>
          <p:cNvGrpSpPr/>
          <p:nvPr/>
        </p:nvGrpSpPr>
        <p:grpSpPr>
          <a:xfrm>
            <a:off x="4339746" y="454731"/>
            <a:ext cx="608750" cy="640500"/>
            <a:chOff x="4279958" y="337110"/>
            <a:chExt cx="839954" cy="839954"/>
          </a:xfrm>
        </p:grpSpPr>
        <p:pic>
          <p:nvPicPr>
            <p:cNvPr id="3132" name="Graphic 3131" descr="Arrow circle">
              <a:extLst>
                <a:ext uri="{FF2B5EF4-FFF2-40B4-BE49-F238E27FC236}">
                  <a16:creationId xmlns:a16="http://schemas.microsoft.com/office/drawing/2014/main" id="{BA0FB811-9988-4232-A46F-6EF4FC07AD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79958" y="337110"/>
              <a:ext cx="839954" cy="839954"/>
            </a:xfrm>
            <a:prstGeom prst="rect">
              <a:avLst/>
            </a:prstGeom>
          </p:spPr>
        </p:pic>
        <p:pic>
          <p:nvPicPr>
            <p:cNvPr id="3133" name="Graphic 3132" descr="Single gear">
              <a:extLst>
                <a:ext uri="{FF2B5EF4-FFF2-40B4-BE49-F238E27FC236}">
                  <a16:creationId xmlns:a16="http://schemas.microsoft.com/office/drawing/2014/main" id="{01E138E9-826C-4F51-97A8-242CE7FFD6D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03173" y="531709"/>
              <a:ext cx="436137" cy="460275"/>
            </a:xfrm>
            <a:prstGeom prst="rect">
              <a:avLst/>
            </a:prstGeom>
          </p:spPr>
        </p:pic>
      </p:grpSp>
      <p:sp>
        <p:nvSpPr>
          <p:cNvPr id="211" name="TextBox 210">
            <a:extLst>
              <a:ext uri="{FF2B5EF4-FFF2-40B4-BE49-F238E27FC236}">
                <a16:creationId xmlns:a16="http://schemas.microsoft.com/office/drawing/2014/main" id="{BE8EF75F-4A8F-4CC0-B3A0-4689491D690B}"/>
              </a:ext>
            </a:extLst>
          </p:cNvPr>
          <p:cNvSpPr txBox="1"/>
          <p:nvPr/>
        </p:nvSpPr>
        <p:spPr>
          <a:xfrm>
            <a:off x="448983" y="3646677"/>
            <a:ext cx="274320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400">
                <a:solidFill>
                  <a:srgbClr val="002060"/>
                </a:solidFill>
              </a:rPr>
              <a:t>Key Assumptions</a:t>
            </a:r>
            <a:endParaRPr lang="en-US" sz="2400"/>
          </a:p>
        </p:txBody>
      </p:sp>
      <p:sp>
        <p:nvSpPr>
          <p:cNvPr id="218" name="TextBox 217">
            <a:extLst>
              <a:ext uri="{FF2B5EF4-FFF2-40B4-BE49-F238E27FC236}">
                <a16:creationId xmlns:a16="http://schemas.microsoft.com/office/drawing/2014/main" id="{3F919807-BA2C-40C1-9C13-9C7C88B0617F}"/>
              </a:ext>
            </a:extLst>
          </p:cNvPr>
          <p:cNvSpPr txBox="1"/>
          <p:nvPr/>
        </p:nvSpPr>
        <p:spPr>
          <a:xfrm>
            <a:off x="6235906" y="3646676"/>
            <a:ext cx="274320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400">
                <a:solidFill>
                  <a:srgbClr val="002060"/>
                </a:solidFill>
              </a:rPr>
              <a:t>Limitations</a:t>
            </a:r>
            <a:endParaRPr lang="en-US"/>
          </a:p>
        </p:txBody>
      </p:sp>
      <p:pic>
        <p:nvPicPr>
          <p:cNvPr id="248" name="Graphic 248" descr="Gauge with solid fill">
            <a:extLst>
              <a:ext uri="{FF2B5EF4-FFF2-40B4-BE49-F238E27FC236}">
                <a16:creationId xmlns:a16="http://schemas.microsoft.com/office/drawing/2014/main" id="{135B6FD8-8BD5-4DF6-A276-BDEEDFD924A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65109" y="3451849"/>
            <a:ext cx="702039" cy="714531"/>
          </a:xfrm>
          <a:prstGeom prst="rect">
            <a:avLst/>
          </a:prstGeom>
        </p:spPr>
      </p:pic>
      <p:pic>
        <p:nvPicPr>
          <p:cNvPr id="107" name="Graphic 107" descr="Tools with solid fill">
            <a:extLst>
              <a:ext uri="{FF2B5EF4-FFF2-40B4-BE49-F238E27FC236}">
                <a16:creationId xmlns:a16="http://schemas.microsoft.com/office/drawing/2014/main" id="{02601E91-3DEE-4781-ACC9-2A3154DCC85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289040" y="2559530"/>
            <a:ext cx="365760" cy="375920"/>
          </a:xfrm>
          <a:prstGeom prst="rect">
            <a:avLst/>
          </a:prstGeom>
        </p:spPr>
      </p:pic>
      <p:pic>
        <p:nvPicPr>
          <p:cNvPr id="108" name="Graphic 108" descr="Users with solid fill">
            <a:extLst>
              <a:ext uri="{FF2B5EF4-FFF2-40B4-BE49-F238E27FC236}">
                <a16:creationId xmlns:a16="http://schemas.microsoft.com/office/drawing/2014/main" id="{590458A9-D7D6-4978-B569-22D281AE5CF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006080" y="550220"/>
            <a:ext cx="558800" cy="508000"/>
          </a:xfrm>
          <a:prstGeom prst="rect">
            <a:avLst/>
          </a:prstGeom>
        </p:spPr>
      </p:pic>
      <p:pic>
        <p:nvPicPr>
          <p:cNvPr id="127" name="Graphic 127" descr="Send with solid fill">
            <a:extLst>
              <a:ext uri="{FF2B5EF4-FFF2-40B4-BE49-F238E27FC236}">
                <a16:creationId xmlns:a16="http://schemas.microsoft.com/office/drawing/2014/main" id="{50C2EFDE-AE92-48A3-8F2F-DEC4BC51895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875520" y="2521373"/>
            <a:ext cx="447040" cy="436880"/>
          </a:xfrm>
          <a:prstGeom prst="rect">
            <a:avLst/>
          </a:prstGeom>
        </p:spPr>
      </p:pic>
    </p:spTree>
    <p:extLst>
      <p:ext uri="{BB962C8B-B14F-4D97-AF65-F5344CB8AC3E}">
        <p14:creationId xmlns:p14="http://schemas.microsoft.com/office/powerpoint/2010/main" val="3391215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0D89B7-B51B-4806-86F9-1B4EA9464B10}"/>
              </a:ext>
            </a:extLst>
          </p:cNvPr>
          <p:cNvGraphicFramePr>
            <a:graphicFrameLocks noChangeAspect="1"/>
          </p:cNvGraphicFramePr>
          <p:nvPr>
            <p:custDataLst>
              <p:tags r:id="rId3"/>
            </p:custDataLst>
            <p:extLst>
              <p:ext uri="{D42A27DB-BD31-4B8C-83A1-F6EECF244321}">
                <p14:modId xmlns:p14="http://schemas.microsoft.com/office/powerpoint/2010/main" val="1040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7" imgW="351" imgH="351" progId="TCLayout.ActiveDocument.1">
                  <p:embed/>
                </p:oleObj>
              </mc:Choice>
              <mc:Fallback>
                <p:oleObj name="think-cell Slide" r:id="rId7" imgW="351" imgH="351" progId="TCLayout.ActiveDocument.1">
                  <p:embed/>
                  <p:pic>
                    <p:nvPicPr>
                      <p:cNvPr id="9" name="Object 8" hidden="1">
                        <a:extLst>
                          <a:ext uri="{FF2B5EF4-FFF2-40B4-BE49-F238E27FC236}">
                            <a16:creationId xmlns:a16="http://schemas.microsoft.com/office/drawing/2014/main" id="{050D89B7-B51B-4806-86F9-1B4EA9464B1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BcgText 1"/>
          <p:cNvSpPr txBox="1"/>
          <p:nvPr userDrawn="1">
            <p:custDataLst>
              <p:tags r:id="rId4"/>
            </p:custDataLst>
          </p:nvPr>
        </p:nvSpPr>
        <p:spPr>
          <a:xfrm>
            <a:off x="639248" y="3040042"/>
            <a:ext cx="7180497" cy="548640"/>
          </a:xfrm>
          <a:prstGeom prst="rect">
            <a:avLst/>
          </a:prstGeom>
          <a:noFill/>
          <a:ln cap="rnd">
            <a:noFill/>
          </a:ln>
        </p:spPr>
        <p:txBody>
          <a:bodyPr wrap="square" lIns="0" tIns="0" rIns="0" bIns="0" rtlCol="0" anchor="b">
            <a:noAutofit/>
          </a:bodyPr>
          <a:lstStyle/>
          <a:p>
            <a:r>
              <a:rPr lang="en-US" sz="2000">
                <a:solidFill>
                  <a:schemeClr val="bg1"/>
                </a:solidFill>
              </a:rPr>
              <a:t>Appendix</a:t>
            </a:r>
          </a:p>
        </p:txBody>
      </p:sp>
    </p:spTree>
    <p:custDataLst>
      <p:tags r:id="rId2"/>
    </p:custDataLst>
    <p:extLst>
      <p:ext uri="{BB962C8B-B14F-4D97-AF65-F5344CB8AC3E}">
        <p14:creationId xmlns:p14="http://schemas.microsoft.com/office/powerpoint/2010/main" val="1771006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p:txBody>
          <a:bodyPr/>
          <a:lstStyle/>
          <a:p>
            <a:r>
              <a:rPr lang="en-US"/>
              <a:t>Modelling Appendix(Daily)</a:t>
            </a:r>
          </a:p>
        </p:txBody>
      </p:sp>
      <p:pic>
        <p:nvPicPr>
          <p:cNvPr id="4" name="Picture 4">
            <a:extLst>
              <a:ext uri="{FF2B5EF4-FFF2-40B4-BE49-F238E27FC236}">
                <a16:creationId xmlns:a16="http://schemas.microsoft.com/office/drawing/2014/main" id="{A0243221-DFB5-465E-ADC6-F46920AB8BAD}"/>
              </a:ext>
            </a:extLst>
          </p:cNvPr>
          <p:cNvPicPr>
            <a:picLocks noChangeAspect="1"/>
          </p:cNvPicPr>
          <p:nvPr/>
        </p:nvPicPr>
        <p:blipFill>
          <a:blip r:embed="rId2"/>
          <a:stretch>
            <a:fillRect/>
          </a:stretch>
        </p:blipFill>
        <p:spPr>
          <a:xfrm>
            <a:off x="515257" y="1833266"/>
            <a:ext cx="4134152" cy="3965562"/>
          </a:xfrm>
          <a:prstGeom prst="rect">
            <a:avLst/>
          </a:prstGeom>
        </p:spPr>
      </p:pic>
      <p:sp>
        <p:nvSpPr>
          <p:cNvPr id="5" name="TextBox 4">
            <a:extLst>
              <a:ext uri="{FF2B5EF4-FFF2-40B4-BE49-F238E27FC236}">
                <a16:creationId xmlns:a16="http://schemas.microsoft.com/office/drawing/2014/main" id="{09C603B1-83E3-40C7-AD23-240A45A6713E}"/>
              </a:ext>
            </a:extLst>
          </p:cNvPr>
          <p:cNvSpPr txBox="1"/>
          <p:nvPr/>
        </p:nvSpPr>
        <p:spPr>
          <a:xfrm>
            <a:off x="1374019" y="1454239"/>
            <a:ext cx="2743200"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TS's ACF &amp; PACF</a:t>
            </a:r>
          </a:p>
        </p:txBody>
      </p:sp>
      <p:pic>
        <p:nvPicPr>
          <p:cNvPr id="6" name="Picture 6">
            <a:extLst>
              <a:ext uri="{FF2B5EF4-FFF2-40B4-BE49-F238E27FC236}">
                <a16:creationId xmlns:a16="http://schemas.microsoft.com/office/drawing/2014/main" id="{0A4441F9-3BF1-4F69-A316-B658D09F3EE0}"/>
              </a:ext>
            </a:extLst>
          </p:cNvPr>
          <p:cNvPicPr>
            <a:picLocks noChangeAspect="1"/>
          </p:cNvPicPr>
          <p:nvPr/>
        </p:nvPicPr>
        <p:blipFill>
          <a:blip r:embed="rId3"/>
          <a:stretch>
            <a:fillRect/>
          </a:stretch>
        </p:blipFill>
        <p:spPr>
          <a:xfrm>
            <a:off x="5014686" y="2142449"/>
            <a:ext cx="6903961" cy="867674"/>
          </a:xfrm>
          <a:prstGeom prst="rect">
            <a:avLst/>
          </a:prstGeom>
        </p:spPr>
      </p:pic>
      <p:pic>
        <p:nvPicPr>
          <p:cNvPr id="7" name="Picture 7" descr="Graphical user interface&#10;&#10;Description automatically generated">
            <a:extLst>
              <a:ext uri="{FF2B5EF4-FFF2-40B4-BE49-F238E27FC236}">
                <a16:creationId xmlns:a16="http://schemas.microsoft.com/office/drawing/2014/main" id="{BAACB8E4-69DD-479F-80D3-67E0293AB487}"/>
              </a:ext>
            </a:extLst>
          </p:cNvPr>
          <p:cNvPicPr>
            <a:picLocks noChangeAspect="1"/>
          </p:cNvPicPr>
          <p:nvPr/>
        </p:nvPicPr>
        <p:blipFill>
          <a:blip r:embed="rId4"/>
          <a:stretch>
            <a:fillRect/>
          </a:stretch>
        </p:blipFill>
        <p:spPr>
          <a:xfrm>
            <a:off x="6296781" y="3108113"/>
            <a:ext cx="4484915" cy="3605107"/>
          </a:xfrm>
          <a:prstGeom prst="rect">
            <a:avLst/>
          </a:prstGeom>
        </p:spPr>
      </p:pic>
      <p:pic>
        <p:nvPicPr>
          <p:cNvPr id="8" name="Picture 8">
            <a:extLst>
              <a:ext uri="{FF2B5EF4-FFF2-40B4-BE49-F238E27FC236}">
                <a16:creationId xmlns:a16="http://schemas.microsoft.com/office/drawing/2014/main" id="{2D9F6303-CB72-4F30-934B-2477D027F983}"/>
              </a:ext>
            </a:extLst>
          </p:cNvPr>
          <p:cNvPicPr>
            <a:picLocks noChangeAspect="1"/>
          </p:cNvPicPr>
          <p:nvPr/>
        </p:nvPicPr>
        <p:blipFill>
          <a:blip r:embed="rId5"/>
          <a:stretch>
            <a:fillRect/>
          </a:stretch>
        </p:blipFill>
        <p:spPr>
          <a:xfrm>
            <a:off x="5014686" y="1297621"/>
            <a:ext cx="7037010" cy="767235"/>
          </a:xfrm>
          <a:prstGeom prst="rect">
            <a:avLst/>
          </a:prstGeom>
        </p:spPr>
      </p:pic>
      <p:sp>
        <p:nvSpPr>
          <p:cNvPr id="9" name="TextBox 8">
            <a:extLst>
              <a:ext uri="{FF2B5EF4-FFF2-40B4-BE49-F238E27FC236}">
                <a16:creationId xmlns:a16="http://schemas.microsoft.com/office/drawing/2014/main" id="{3179ADB1-85CE-4DE6-A4AE-524B8EB2D41D}"/>
              </a:ext>
            </a:extLst>
          </p:cNvPr>
          <p:cNvSpPr txBox="1"/>
          <p:nvPr/>
        </p:nvSpPr>
        <p:spPr>
          <a:xfrm>
            <a:off x="6756400" y="771453"/>
            <a:ext cx="4146247"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TS with Difference Technique &amp; Stationarity Test</a:t>
            </a:r>
          </a:p>
        </p:txBody>
      </p:sp>
    </p:spTree>
    <p:extLst>
      <p:ext uri="{BB962C8B-B14F-4D97-AF65-F5344CB8AC3E}">
        <p14:creationId xmlns:p14="http://schemas.microsoft.com/office/powerpoint/2010/main" val="1240857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p:txBody>
          <a:bodyPr/>
          <a:lstStyle/>
          <a:p>
            <a:r>
              <a:rPr lang="en-US"/>
              <a:t>Modelling Appendix(Daily)</a:t>
            </a:r>
          </a:p>
        </p:txBody>
      </p:sp>
      <p:sp>
        <p:nvSpPr>
          <p:cNvPr id="5" name="TextBox 4">
            <a:extLst>
              <a:ext uri="{FF2B5EF4-FFF2-40B4-BE49-F238E27FC236}">
                <a16:creationId xmlns:a16="http://schemas.microsoft.com/office/drawing/2014/main" id="{09C603B1-83E3-40C7-AD23-240A45A6713E}"/>
              </a:ext>
            </a:extLst>
          </p:cNvPr>
          <p:cNvSpPr txBox="1"/>
          <p:nvPr/>
        </p:nvSpPr>
        <p:spPr>
          <a:xfrm>
            <a:off x="1374019" y="1454239"/>
            <a:ext cx="2743200"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TS Log Diff's ACF &amp; PACF</a:t>
            </a:r>
          </a:p>
        </p:txBody>
      </p:sp>
      <p:sp>
        <p:nvSpPr>
          <p:cNvPr id="9" name="TextBox 8">
            <a:extLst>
              <a:ext uri="{FF2B5EF4-FFF2-40B4-BE49-F238E27FC236}">
                <a16:creationId xmlns:a16="http://schemas.microsoft.com/office/drawing/2014/main" id="{3179ADB1-85CE-4DE6-A4AE-524B8EB2D41D}"/>
              </a:ext>
            </a:extLst>
          </p:cNvPr>
          <p:cNvSpPr txBox="1"/>
          <p:nvPr/>
        </p:nvSpPr>
        <p:spPr>
          <a:xfrm>
            <a:off x="6756400" y="771453"/>
            <a:ext cx="4146247"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TS Log Transformed with Difference Technique &amp; Stationarity Test</a:t>
            </a:r>
          </a:p>
        </p:txBody>
      </p:sp>
      <p:pic>
        <p:nvPicPr>
          <p:cNvPr id="3" name="Picture 9">
            <a:extLst>
              <a:ext uri="{FF2B5EF4-FFF2-40B4-BE49-F238E27FC236}">
                <a16:creationId xmlns:a16="http://schemas.microsoft.com/office/drawing/2014/main" id="{F490B9E4-E4C6-44FE-92D7-DFF88C9C04E8}"/>
              </a:ext>
            </a:extLst>
          </p:cNvPr>
          <p:cNvPicPr>
            <a:picLocks noChangeAspect="1"/>
          </p:cNvPicPr>
          <p:nvPr/>
        </p:nvPicPr>
        <p:blipFill>
          <a:blip r:embed="rId2"/>
          <a:stretch>
            <a:fillRect/>
          </a:stretch>
        </p:blipFill>
        <p:spPr>
          <a:xfrm>
            <a:off x="503162" y="1917041"/>
            <a:ext cx="3952723" cy="4475348"/>
          </a:xfrm>
          <a:prstGeom prst="rect">
            <a:avLst/>
          </a:prstGeom>
        </p:spPr>
      </p:pic>
      <p:pic>
        <p:nvPicPr>
          <p:cNvPr id="10" name="Picture 10" descr="Text&#10;&#10;Description automatically generated">
            <a:extLst>
              <a:ext uri="{FF2B5EF4-FFF2-40B4-BE49-F238E27FC236}">
                <a16:creationId xmlns:a16="http://schemas.microsoft.com/office/drawing/2014/main" id="{A4589F60-54A0-4840-83C8-3CA2E9115C9D}"/>
              </a:ext>
            </a:extLst>
          </p:cNvPr>
          <p:cNvPicPr>
            <a:picLocks noChangeAspect="1"/>
          </p:cNvPicPr>
          <p:nvPr/>
        </p:nvPicPr>
        <p:blipFill>
          <a:blip r:embed="rId3"/>
          <a:stretch>
            <a:fillRect/>
          </a:stretch>
        </p:blipFill>
        <p:spPr>
          <a:xfrm>
            <a:off x="6574973" y="1413101"/>
            <a:ext cx="4049486" cy="753987"/>
          </a:xfrm>
          <a:prstGeom prst="rect">
            <a:avLst/>
          </a:prstGeom>
        </p:spPr>
      </p:pic>
      <p:pic>
        <p:nvPicPr>
          <p:cNvPr id="11" name="Picture 11" descr="Graphical user interface&#10;&#10;Description automatically generated">
            <a:extLst>
              <a:ext uri="{FF2B5EF4-FFF2-40B4-BE49-F238E27FC236}">
                <a16:creationId xmlns:a16="http://schemas.microsoft.com/office/drawing/2014/main" id="{CF98E824-4F82-4929-9719-C647B13D1C49}"/>
              </a:ext>
            </a:extLst>
          </p:cNvPr>
          <p:cNvPicPr>
            <a:picLocks noChangeAspect="1"/>
          </p:cNvPicPr>
          <p:nvPr/>
        </p:nvPicPr>
        <p:blipFill>
          <a:blip r:embed="rId4"/>
          <a:stretch>
            <a:fillRect/>
          </a:stretch>
        </p:blipFill>
        <p:spPr>
          <a:xfrm>
            <a:off x="6925733" y="3071590"/>
            <a:ext cx="3347961" cy="3617676"/>
          </a:xfrm>
          <a:prstGeom prst="rect">
            <a:avLst/>
          </a:prstGeom>
        </p:spPr>
      </p:pic>
      <p:pic>
        <p:nvPicPr>
          <p:cNvPr id="12" name="Picture 12">
            <a:extLst>
              <a:ext uri="{FF2B5EF4-FFF2-40B4-BE49-F238E27FC236}">
                <a16:creationId xmlns:a16="http://schemas.microsoft.com/office/drawing/2014/main" id="{D9BB96CA-1C75-4A6B-89BF-583AD774395E}"/>
              </a:ext>
            </a:extLst>
          </p:cNvPr>
          <p:cNvPicPr>
            <a:picLocks noChangeAspect="1"/>
          </p:cNvPicPr>
          <p:nvPr/>
        </p:nvPicPr>
        <p:blipFill>
          <a:blip r:embed="rId5"/>
          <a:stretch>
            <a:fillRect/>
          </a:stretch>
        </p:blipFill>
        <p:spPr>
          <a:xfrm>
            <a:off x="5135638" y="2168224"/>
            <a:ext cx="6746723" cy="743552"/>
          </a:xfrm>
          <a:prstGeom prst="rect">
            <a:avLst/>
          </a:prstGeom>
        </p:spPr>
      </p:pic>
    </p:spTree>
    <p:extLst>
      <p:ext uri="{BB962C8B-B14F-4D97-AF65-F5344CB8AC3E}">
        <p14:creationId xmlns:p14="http://schemas.microsoft.com/office/powerpoint/2010/main" val="1435943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0D89B7-B51B-4806-86F9-1B4EA9464B10}"/>
              </a:ext>
            </a:extLst>
          </p:cNvPr>
          <p:cNvGraphicFramePr>
            <a:graphicFrameLocks noChangeAspect="1"/>
          </p:cNvGraphicFramePr>
          <p:nvPr>
            <p:custDataLst>
              <p:tags r:id="rId3"/>
            </p:custDataLst>
            <p:extLst>
              <p:ext uri="{D42A27DB-BD31-4B8C-83A1-F6EECF244321}">
                <p14:modId xmlns:p14="http://schemas.microsoft.com/office/powerpoint/2010/main" val="150947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13" imgW="351" imgH="351" progId="TCLayout.ActiveDocument.1">
                  <p:embed/>
                </p:oleObj>
              </mc:Choice>
              <mc:Fallback>
                <p:oleObj name="think-cell Slide" r:id="rId13" imgW="351" imgH="351"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BcgText 1"/>
          <p:cNvSpPr txBox="1"/>
          <p:nvPr userDrawn="1">
            <p:custDataLst>
              <p:tags r:id="rId4"/>
            </p:custDataLst>
          </p:nvPr>
        </p:nvSpPr>
        <p:spPr>
          <a:xfrm>
            <a:off x="1264259" y="2038310"/>
            <a:ext cx="7180497" cy="548640"/>
          </a:xfrm>
          <a:prstGeom prst="rect">
            <a:avLst/>
          </a:prstGeom>
          <a:noFill/>
          <a:ln cap="rnd">
            <a:noFill/>
          </a:ln>
        </p:spPr>
        <p:txBody>
          <a:bodyPr wrap="square" lIns="0" tIns="0" rIns="0" bIns="0" rtlCol="0" anchor="b">
            <a:noAutofit/>
          </a:bodyPr>
          <a:lstStyle/>
          <a:p>
            <a:r>
              <a:rPr lang="en-US" sz="2800">
                <a:solidFill>
                  <a:schemeClr val="bg1"/>
                </a:solidFill>
              </a:rPr>
              <a:t>Introducing the team</a:t>
            </a:r>
          </a:p>
        </p:txBody>
      </p:sp>
      <p:pic>
        <p:nvPicPr>
          <p:cNvPr id="3" name="Picture 4">
            <a:extLst>
              <a:ext uri="{FF2B5EF4-FFF2-40B4-BE49-F238E27FC236}">
                <a16:creationId xmlns:a16="http://schemas.microsoft.com/office/drawing/2014/main" id="{804F2B0B-ED4F-467E-9926-F4EC1DD49056}"/>
              </a:ext>
            </a:extLst>
          </p:cNvPr>
          <p:cNvPicPr>
            <a:picLocks noChangeAspect="1"/>
          </p:cNvPicPr>
          <p:nvPr/>
        </p:nvPicPr>
        <p:blipFill>
          <a:blip r:embed="rId15"/>
          <a:stretch>
            <a:fillRect/>
          </a:stretch>
        </p:blipFill>
        <p:spPr>
          <a:xfrm>
            <a:off x="6142232" y="2965993"/>
            <a:ext cx="1356189" cy="13112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5" descr="A picture containing person, wearing, red, headdress&#10;&#10;Description automatically generated">
            <a:extLst>
              <a:ext uri="{FF2B5EF4-FFF2-40B4-BE49-F238E27FC236}">
                <a16:creationId xmlns:a16="http://schemas.microsoft.com/office/drawing/2014/main" id="{4BAFD948-10DC-4430-A8AC-8AE437412611}"/>
              </a:ext>
            </a:extLst>
          </p:cNvPr>
          <p:cNvPicPr>
            <a:picLocks noChangeAspect="1"/>
          </p:cNvPicPr>
          <p:nvPr/>
        </p:nvPicPr>
        <p:blipFill>
          <a:blip r:embed="rId16"/>
          <a:stretch>
            <a:fillRect/>
          </a:stretch>
        </p:blipFill>
        <p:spPr>
          <a:xfrm>
            <a:off x="4488092" y="2963379"/>
            <a:ext cx="1407561" cy="131652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Picture 6" descr="A picture containing person, outdoor&#10;&#10;Description automatically generated">
            <a:extLst>
              <a:ext uri="{FF2B5EF4-FFF2-40B4-BE49-F238E27FC236}">
                <a16:creationId xmlns:a16="http://schemas.microsoft.com/office/drawing/2014/main" id="{EE43B572-DDFD-4C4B-AB03-5EE52E5EB7FB}"/>
              </a:ext>
            </a:extLst>
          </p:cNvPr>
          <p:cNvPicPr>
            <a:picLocks noChangeAspect="1"/>
          </p:cNvPicPr>
          <p:nvPr/>
        </p:nvPicPr>
        <p:blipFill rotWithShape="1">
          <a:blip r:embed="rId17"/>
          <a:srcRect l="2427" t="15582" r="8738" b="2487"/>
          <a:stretch/>
        </p:blipFill>
        <p:spPr>
          <a:xfrm>
            <a:off x="2833953" y="2965362"/>
            <a:ext cx="1408059" cy="13300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10" descr="A picture containing building, outdoor, person, ground&#10;&#10;Description automatically generated">
            <a:extLst>
              <a:ext uri="{FF2B5EF4-FFF2-40B4-BE49-F238E27FC236}">
                <a16:creationId xmlns:a16="http://schemas.microsoft.com/office/drawing/2014/main" id="{053AF5C6-7FC0-46E6-B5BA-F0683AF77DCB}"/>
              </a:ext>
            </a:extLst>
          </p:cNvPr>
          <p:cNvPicPr>
            <a:picLocks noChangeAspect="1"/>
          </p:cNvPicPr>
          <p:nvPr/>
        </p:nvPicPr>
        <p:blipFill>
          <a:blip r:embed="rId18"/>
          <a:stretch>
            <a:fillRect/>
          </a:stretch>
        </p:blipFill>
        <p:spPr>
          <a:xfrm>
            <a:off x="1265431" y="2966878"/>
            <a:ext cx="1321943" cy="132665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1">
            <a:extLst>
              <a:ext uri="{FF2B5EF4-FFF2-40B4-BE49-F238E27FC236}">
                <a16:creationId xmlns:a16="http://schemas.microsoft.com/office/drawing/2014/main" id="{ECC8B3C5-5AC5-4541-B6FA-4BAA9C482CFB}"/>
              </a:ext>
            </a:extLst>
          </p:cNvPr>
          <p:cNvPicPr>
            <a:picLocks noChangeAspect="1"/>
          </p:cNvPicPr>
          <p:nvPr/>
        </p:nvPicPr>
        <p:blipFill>
          <a:blip r:embed="rId19"/>
          <a:stretch>
            <a:fillRect/>
          </a:stretch>
        </p:blipFill>
        <p:spPr>
          <a:xfrm>
            <a:off x="7745001" y="2931990"/>
            <a:ext cx="1407561" cy="1379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 name="Picture 6">
            <a:extLst>
              <a:ext uri="{FF2B5EF4-FFF2-40B4-BE49-F238E27FC236}">
                <a16:creationId xmlns:a16="http://schemas.microsoft.com/office/drawing/2014/main" id="{D8796368-9D34-4AC4-8189-AB55CD9C2B0E}"/>
              </a:ext>
            </a:extLst>
          </p:cNvPr>
          <p:cNvPicPr>
            <a:picLocks noChangeAspect="1"/>
          </p:cNvPicPr>
          <p:nvPr/>
        </p:nvPicPr>
        <p:blipFill rotWithShape="1">
          <a:blip r:embed="rId20"/>
          <a:srcRect l="6286" t="11236" r="13143" b="7865"/>
          <a:stretch/>
        </p:blipFill>
        <p:spPr>
          <a:xfrm>
            <a:off x="9399141" y="2934164"/>
            <a:ext cx="1347502" cy="13726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BcgText 1">
            <a:extLst>
              <a:ext uri="{FF2B5EF4-FFF2-40B4-BE49-F238E27FC236}">
                <a16:creationId xmlns:a16="http://schemas.microsoft.com/office/drawing/2014/main" id="{37DA543D-B133-4F70-B151-E0C93A1C5ADF}"/>
              </a:ext>
            </a:extLst>
          </p:cNvPr>
          <p:cNvSpPr txBox="1"/>
          <p:nvPr userDrawn="1">
            <p:custDataLst>
              <p:tags r:id="rId5"/>
            </p:custDataLst>
          </p:nvPr>
        </p:nvSpPr>
        <p:spPr>
          <a:xfrm>
            <a:off x="1264258" y="4606851"/>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Lee Kin Nam</a:t>
            </a:r>
            <a:endParaRPr lang="en-US" sz="1100">
              <a:solidFill>
                <a:schemeClr val="bg1"/>
              </a:solidFill>
            </a:endParaRPr>
          </a:p>
        </p:txBody>
      </p:sp>
      <p:sp>
        <p:nvSpPr>
          <p:cNvPr id="13" name="BcgText 1">
            <a:extLst>
              <a:ext uri="{FF2B5EF4-FFF2-40B4-BE49-F238E27FC236}">
                <a16:creationId xmlns:a16="http://schemas.microsoft.com/office/drawing/2014/main" id="{52252D29-3884-4754-9392-2D155BE052CD}"/>
              </a:ext>
            </a:extLst>
          </p:cNvPr>
          <p:cNvSpPr txBox="1"/>
          <p:nvPr userDrawn="1">
            <p:custDataLst>
              <p:tags r:id="rId6"/>
            </p:custDataLst>
          </p:nvPr>
        </p:nvSpPr>
        <p:spPr>
          <a:xfrm>
            <a:off x="2865314" y="4606850"/>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Poon Wei Yuan</a:t>
            </a:r>
            <a:endParaRPr lang="en-US">
              <a:solidFill>
                <a:schemeClr val="bg1"/>
              </a:solidFill>
            </a:endParaRPr>
          </a:p>
        </p:txBody>
      </p:sp>
      <p:sp>
        <p:nvSpPr>
          <p:cNvPr id="15" name="BcgText 1">
            <a:extLst>
              <a:ext uri="{FF2B5EF4-FFF2-40B4-BE49-F238E27FC236}">
                <a16:creationId xmlns:a16="http://schemas.microsoft.com/office/drawing/2014/main" id="{67F13DD4-6F7F-44DD-A68B-3743A70775AB}"/>
              </a:ext>
            </a:extLst>
          </p:cNvPr>
          <p:cNvSpPr txBox="1"/>
          <p:nvPr userDrawn="1">
            <p:custDataLst>
              <p:tags r:id="rId7"/>
            </p:custDataLst>
          </p:nvPr>
        </p:nvSpPr>
        <p:spPr>
          <a:xfrm>
            <a:off x="4526303" y="4606850"/>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Koh Lay Hon (Jac)</a:t>
            </a:r>
            <a:endParaRPr lang="en-US">
              <a:solidFill>
                <a:schemeClr val="bg1"/>
              </a:solidFill>
            </a:endParaRPr>
          </a:p>
        </p:txBody>
      </p:sp>
      <p:sp>
        <p:nvSpPr>
          <p:cNvPr id="16" name="BcgText 1">
            <a:extLst>
              <a:ext uri="{FF2B5EF4-FFF2-40B4-BE49-F238E27FC236}">
                <a16:creationId xmlns:a16="http://schemas.microsoft.com/office/drawing/2014/main" id="{841ADB1C-AB88-4B94-91BE-A97DA5598591}"/>
              </a:ext>
            </a:extLst>
          </p:cNvPr>
          <p:cNvSpPr txBox="1"/>
          <p:nvPr userDrawn="1">
            <p:custDataLst>
              <p:tags r:id="rId8"/>
            </p:custDataLst>
          </p:nvPr>
        </p:nvSpPr>
        <p:spPr>
          <a:xfrm>
            <a:off x="6144482" y="4606850"/>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Wesley Teo</a:t>
            </a:r>
          </a:p>
        </p:txBody>
      </p:sp>
      <p:sp>
        <p:nvSpPr>
          <p:cNvPr id="14" name="BcgText 1">
            <a:extLst>
              <a:ext uri="{FF2B5EF4-FFF2-40B4-BE49-F238E27FC236}">
                <a16:creationId xmlns:a16="http://schemas.microsoft.com/office/drawing/2014/main" id="{9BEFA604-250B-4E75-9CF4-E7E7980BEFD3}"/>
              </a:ext>
            </a:extLst>
          </p:cNvPr>
          <p:cNvSpPr txBox="1"/>
          <p:nvPr userDrawn="1">
            <p:custDataLst>
              <p:tags r:id="rId9"/>
            </p:custDataLst>
          </p:nvPr>
        </p:nvSpPr>
        <p:spPr>
          <a:xfrm>
            <a:off x="7771223" y="4623974"/>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Wong Yong Lin</a:t>
            </a:r>
            <a:endParaRPr lang="en-US"/>
          </a:p>
        </p:txBody>
      </p:sp>
      <p:sp>
        <p:nvSpPr>
          <p:cNvPr id="17" name="BcgText 1">
            <a:extLst>
              <a:ext uri="{FF2B5EF4-FFF2-40B4-BE49-F238E27FC236}">
                <a16:creationId xmlns:a16="http://schemas.microsoft.com/office/drawing/2014/main" id="{17B6372D-A32F-41D9-821E-C756C31DE30B}"/>
              </a:ext>
            </a:extLst>
          </p:cNvPr>
          <p:cNvSpPr txBox="1"/>
          <p:nvPr userDrawn="1">
            <p:custDataLst>
              <p:tags r:id="rId10"/>
            </p:custDataLst>
          </p:nvPr>
        </p:nvSpPr>
        <p:spPr>
          <a:xfrm>
            <a:off x="9397964" y="4623973"/>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Evelyn Yong</a:t>
            </a:r>
            <a:endParaRPr lang="en-US"/>
          </a:p>
        </p:txBody>
      </p:sp>
      <p:pic>
        <p:nvPicPr>
          <p:cNvPr id="7" name="Picture 4" descr="Logo, company name&#10;&#10;Description automatically generated">
            <a:extLst>
              <a:ext uri="{FF2B5EF4-FFF2-40B4-BE49-F238E27FC236}">
                <a16:creationId xmlns:a16="http://schemas.microsoft.com/office/drawing/2014/main" id="{9CE2C089-17DF-4333-8536-34FFD388E0EB}"/>
              </a:ext>
            </a:extLst>
          </p:cNvPr>
          <p:cNvPicPr>
            <a:picLocks noChangeAspect="1"/>
          </p:cNvPicPr>
          <p:nvPr/>
        </p:nvPicPr>
        <p:blipFill>
          <a:blip r:embed="rId21"/>
          <a:stretch>
            <a:fillRect/>
          </a:stretch>
        </p:blipFill>
        <p:spPr>
          <a:xfrm>
            <a:off x="11205198" y="113050"/>
            <a:ext cx="831214" cy="8727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ustDataLst>
      <p:tags r:id="rId2"/>
    </p:custDataLst>
    <p:extLst>
      <p:ext uri="{BB962C8B-B14F-4D97-AF65-F5344CB8AC3E}">
        <p14:creationId xmlns:p14="http://schemas.microsoft.com/office/powerpoint/2010/main" val="2023673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p:txBody>
          <a:bodyPr/>
          <a:lstStyle/>
          <a:p>
            <a:r>
              <a:rPr lang="en-US"/>
              <a:t>Modelling Appendix(Daily)</a:t>
            </a:r>
          </a:p>
        </p:txBody>
      </p:sp>
      <p:sp>
        <p:nvSpPr>
          <p:cNvPr id="5" name="TextBox 4">
            <a:extLst>
              <a:ext uri="{FF2B5EF4-FFF2-40B4-BE49-F238E27FC236}">
                <a16:creationId xmlns:a16="http://schemas.microsoft.com/office/drawing/2014/main" id="{09C603B1-83E3-40C7-AD23-240A45A6713E}"/>
              </a:ext>
            </a:extLst>
          </p:cNvPr>
          <p:cNvSpPr txBox="1"/>
          <p:nvPr/>
        </p:nvSpPr>
        <p:spPr>
          <a:xfrm>
            <a:off x="1374019" y="1454239"/>
            <a:ext cx="2743200"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TS Diff's ACF &amp; PACF</a:t>
            </a:r>
          </a:p>
        </p:txBody>
      </p:sp>
      <p:sp>
        <p:nvSpPr>
          <p:cNvPr id="9" name="TextBox 8">
            <a:extLst>
              <a:ext uri="{FF2B5EF4-FFF2-40B4-BE49-F238E27FC236}">
                <a16:creationId xmlns:a16="http://schemas.microsoft.com/office/drawing/2014/main" id="{3179ADB1-85CE-4DE6-A4AE-524B8EB2D41D}"/>
              </a:ext>
            </a:extLst>
          </p:cNvPr>
          <p:cNvSpPr txBox="1"/>
          <p:nvPr/>
        </p:nvSpPr>
        <p:spPr>
          <a:xfrm>
            <a:off x="6756400" y="1001263"/>
            <a:ext cx="4146247"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R Model with TS Diff(No </a:t>
            </a:r>
            <a:r>
              <a:rPr lang="en-US" err="1">
                <a:solidFill>
                  <a:schemeClr val="tx1"/>
                </a:solidFill>
              </a:rPr>
              <a:t>Exog</a:t>
            </a:r>
            <a:r>
              <a:rPr lang="en-US">
                <a:solidFill>
                  <a:schemeClr val="tx1"/>
                </a:solidFill>
              </a:rPr>
              <a:t> Parameters)</a:t>
            </a:r>
          </a:p>
        </p:txBody>
      </p:sp>
      <p:pic>
        <p:nvPicPr>
          <p:cNvPr id="4" name="Picture 5" descr="Chart, line chart&#10;&#10;Description automatically generated">
            <a:extLst>
              <a:ext uri="{FF2B5EF4-FFF2-40B4-BE49-F238E27FC236}">
                <a16:creationId xmlns:a16="http://schemas.microsoft.com/office/drawing/2014/main" id="{71974ED0-949D-4F9C-98BF-F953E32EC188}"/>
              </a:ext>
            </a:extLst>
          </p:cNvPr>
          <p:cNvPicPr>
            <a:picLocks noChangeAspect="1"/>
          </p:cNvPicPr>
          <p:nvPr/>
        </p:nvPicPr>
        <p:blipFill>
          <a:blip r:embed="rId2"/>
          <a:stretch>
            <a:fillRect/>
          </a:stretch>
        </p:blipFill>
        <p:spPr>
          <a:xfrm>
            <a:off x="6357257" y="1779209"/>
            <a:ext cx="4944533" cy="3868057"/>
          </a:xfrm>
          <a:prstGeom prst="rect">
            <a:avLst/>
          </a:prstGeom>
        </p:spPr>
      </p:pic>
      <p:pic>
        <p:nvPicPr>
          <p:cNvPr id="6" name="Picture 6" descr="Graphical user interface, application&#10;&#10;Description automatically generated">
            <a:extLst>
              <a:ext uri="{FF2B5EF4-FFF2-40B4-BE49-F238E27FC236}">
                <a16:creationId xmlns:a16="http://schemas.microsoft.com/office/drawing/2014/main" id="{E3ADEC42-E3A8-473D-AE75-070A05E47158}"/>
              </a:ext>
            </a:extLst>
          </p:cNvPr>
          <p:cNvPicPr>
            <a:picLocks noChangeAspect="1"/>
          </p:cNvPicPr>
          <p:nvPr/>
        </p:nvPicPr>
        <p:blipFill>
          <a:blip r:embed="rId3"/>
          <a:stretch>
            <a:fillRect/>
          </a:stretch>
        </p:blipFill>
        <p:spPr>
          <a:xfrm>
            <a:off x="345924" y="2195541"/>
            <a:ext cx="5005009" cy="3882062"/>
          </a:xfrm>
          <a:prstGeom prst="rect">
            <a:avLst/>
          </a:prstGeom>
        </p:spPr>
      </p:pic>
    </p:spTree>
    <p:extLst>
      <p:ext uri="{BB962C8B-B14F-4D97-AF65-F5344CB8AC3E}">
        <p14:creationId xmlns:p14="http://schemas.microsoft.com/office/powerpoint/2010/main" val="3116244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p:txBody>
          <a:bodyPr/>
          <a:lstStyle/>
          <a:p>
            <a:r>
              <a:rPr lang="en-US"/>
              <a:t>Modelling Appendix(Daily)</a:t>
            </a:r>
          </a:p>
        </p:txBody>
      </p:sp>
      <p:sp>
        <p:nvSpPr>
          <p:cNvPr id="5" name="TextBox 4">
            <a:extLst>
              <a:ext uri="{FF2B5EF4-FFF2-40B4-BE49-F238E27FC236}">
                <a16:creationId xmlns:a16="http://schemas.microsoft.com/office/drawing/2014/main" id="{09C603B1-83E3-40C7-AD23-240A45A6713E}"/>
              </a:ext>
            </a:extLst>
          </p:cNvPr>
          <p:cNvSpPr txBox="1"/>
          <p:nvPr/>
        </p:nvSpPr>
        <p:spPr>
          <a:xfrm>
            <a:off x="1374019" y="1315740"/>
            <a:ext cx="2743200"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err="1">
                <a:solidFill>
                  <a:schemeClr val="tx1"/>
                </a:solidFill>
              </a:rPr>
              <a:t>Exog</a:t>
            </a:r>
            <a:r>
              <a:rPr lang="en-US">
                <a:solidFill>
                  <a:schemeClr val="tx1"/>
                </a:solidFill>
              </a:rPr>
              <a:t> Variables Tabular Format</a:t>
            </a:r>
          </a:p>
        </p:txBody>
      </p:sp>
      <p:sp>
        <p:nvSpPr>
          <p:cNvPr id="9" name="TextBox 8">
            <a:extLst>
              <a:ext uri="{FF2B5EF4-FFF2-40B4-BE49-F238E27FC236}">
                <a16:creationId xmlns:a16="http://schemas.microsoft.com/office/drawing/2014/main" id="{3179ADB1-85CE-4DE6-A4AE-524B8EB2D41D}"/>
              </a:ext>
            </a:extLst>
          </p:cNvPr>
          <p:cNvSpPr txBox="1"/>
          <p:nvPr/>
        </p:nvSpPr>
        <p:spPr>
          <a:xfrm>
            <a:off x="6393543" y="1388310"/>
            <a:ext cx="4146247"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RMA Model with TS Diff(With </a:t>
            </a:r>
            <a:r>
              <a:rPr lang="en-US" err="1">
                <a:solidFill>
                  <a:schemeClr val="tx1"/>
                </a:solidFill>
              </a:rPr>
              <a:t>Exog</a:t>
            </a:r>
            <a:r>
              <a:rPr lang="en-US">
                <a:solidFill>
                  <a:schemeClr val="tx1"/>
                </a:solidFill>
              </a:rPr>
              <a:t> Parameters)</a:t>
            </a:r>
          </a:p>
        </p:txBody>
      </p:sp>
      <p:pic>
        <p:nvPicPr>
          <p:cNvPr id="3" name="Picture 6" descr="Table&#10;&#10;Description automatically generated">
            <a:extLst>
              <a:ext uri="{FF2B5EF4-FFF2-40B4-BE49-F238E27FC236}">
                <a16:creationId xmlns:a16="http://schemas.microsoft.com/office/drawing/2014/main" id="{92F2F078-2A64-4F81-AAB6-04F45D935590}"/>
              </a:ext>
            </a:extLst>
          </p:cNvPr>
          <p:cNvPicPr>
            <a:picLocks noChangeAspect="1"/>
          </p:cNvPicPr>
          <p:nvPr/>
        </p:nvPicPr>
        <p:blipFill>
          <a:blip r:embed="rId2"/>
          <a:stretch>
            <a:fillRect/>
          </a:stretch>
        </p:blipFill>
        <p:spPr>
          <a:xfrm>
            <a:off x="394304" y="2038333"/>
            <a:ext cx="5125961" cy="3724762"/>
          </a:xfrm>
          <a:prstGeom prst="rect">
            <a:avLst/>
          </a:prstGeom>
        </p:spPr>
      </p:pic>
      <p:pic>
        <p:nvPicPr>
          <p:cNvPr id="7" name="Picture 7" descr="Chart, line chart&#10;&#10;Description automatically generated">
            <a:extLst>
              <a:ext uri="{FF2B5EF4-FFF2-40B4-BE49-F238E27FC236}">
                <a16:creationId xmlns:a16="http://schemas.microsoft.com/office/drawing/2014/main" id="{32A083E4-1136-43B2-AA61-204C83559131}"/>
              </a:ext>
            </a:extLst>
          </p:cNvPr>
          <p:cNvPicPr>
            <a:picLocks noChangeAspect="1"/>
          </p:cNvPicPr>
          <p:nvPr/>
        </p:nvPicPr>
        <p:blipFill>
          <a:blip r:embed="rId3"/>
          <a:stretch>
            <a:fillRect/>
          </a:stretch>
        </p:blipFill>
        <p:spPr>
          <a:xfrm>
            <a:off x="5837161" y="2044114"/>
            <a:ext cx="5005008" cy="3797864"/>
          </a:xfrm>
          <a:prstGeom prst="rect">
            <a:avLst/>
          </a:prstGeom>
        </p:spPr>
      </p:pic>
    </p:spTree>
    <p:extLst>
      <p:ext uri="{BB962C8B-B14F-4D97-AF65-F5344CB8AC3E}">
        <p14:creationId xmlns:p14="http://schemas.microsoft.com/office/powerpoint/2010/main" val="3544593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p:txBody>
          <a:bodyPr/>
          <a:lstStyle/>
          <a:p>
            <a:r>
              <a:rPr lang="en-US"/>
              <a:t>Modelling Appendix(Daily)</a:t>
            </a:r>
          </a:p>
        </p:txBody>
      </p:sp>
      <p:sp>
        <p:nvSpPr>
          <p:cNvPr id="5" name="TextBox 4">
            <a:extLst>
              <a:ext uri="{FF2B5EF4-FFF2-40B4-BE49-F238E27FC236}">
                <a16:creationId xmlns:a16="http://schemas.microsoft.com/office/drawing/2014/main" id="{09C603B1-83E3-40C7-AD23-240A45A6713E}"/>
              </a:ext>
            </a:extLst>
          </p:cNvPr>
          <p:cNvSpPr txBox="1"/>
          <p:nvPr/>
        </p:nvSpPr>
        <p:spPr>
          <a:xfrm>
            <a:off x="1374019" y="1315740"/>
            <a:ext cx="3444723"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MA Model With TS Diff(With </a:t>
            </a:r>
            <a:r>
              <a:rPr lang="en-US" err="1">
                <a:solidFill>
                  <a:schemeClr val="tx1"/>
                </a:solidFill>
              </a:rPr>
              <a:t>Exog</a:t>
            </a:r>
            <a:r>
              <a:rPr lang="en-US">
                <a:solidFill>
                  <a:schemeClr val="tx1"/>
                </a:solidFill>
              </a:rPr>
              <a:t> Parameters)</a:t>
            </a:r>
          </a:p>
        </p:txBody>
      </p:sp>
      <p:sp>
        <p:nvSpPr>
          <p:cNvPr id="9" name="TextBox 8">
            <a:extLst>
              <a:ext uri="{FF2B5EF4-FFF2-40B4-BE49-F238E27FC236}">
                <a16:creationId xmlns:a16="http://schemas.microsoft.com/office/drawing/2014/main" id="{3179ADB1-85CE-4DE6-A4AE-524B8EB2D41D}"/>
              </a:ext>
            </a:extLst>
          </p:cNvPr>
          <p:cNvSpPr txBox="1"/>
          <p:nvPr/>
        </p:nvSpPr>
        <p:spPr>
          <a:xfrm>
            <a:off x="6949924" y="1436691"/>
            <a:ext cx="4146247"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RIMA Model with TS Log(With </a:t>
            </a:r>
            <a:r>
              <a:rPr lang="en-US" err="1">
                <a:solidFill>
                  <a:schemeClr val="tx1"/>
                </a:solidFill>
              </a:rPr>
              <a:t>Exog</a:t>
            </a:r>
            <a:r>
              <a:rPr lang="en-US">
                <a:solidFill>
                  <a:schemeClr val="tx1"/>
                </a:solidFill>
              </a:rPr>
              <a:t> Parameters)</a:t>
            </a:r>
          </a:p>
        </p:txBody>
      </p:sp>
      <p:pic>
        <p:nvPicPr>
          <p:cNvPr id="4" name="Picture 5" descr="Chart, line chart&#10;&#10;Description automatically generated">
            <a:extLst>
              <a:ext uri="{FF2B5EF4-FFF2-40B4-BE49-F238E27FC236}">
                <a16:creationId xmlns:a16="http://schemas.microsoft.com/office/drawing/2014/main" id="{566D1659-13FF-47F8-88C8-68034A0DB9EE}"/>
              </a:ext>
            </a:extLst>
          </p:cNvPr>
          <p:cNvPicPr>
            <a:picLocks noChangeAspect="1"/>
          </p:cNvPicPr>
          <p:nvPr/>
        </p:nvPicPr>
        <p:blipFill>
          <a:blip r:embed="rId2"/>
          <a:stretch>
            <a:fillRect/>
          </a:stretch>
        </p:blipFill>
        <p:spPr>
          <a:xfrm>
            <a:off x="527352" y="2168676"/>
            <a:ext cx="4908247" cy="3742266"/>
          </a:xfrm>
          <a:prstGeom prst="rect">
            <a:avLst/>
          </a:prstGeom>
        </p:spPr>
      </p:pic>
      <p:pic>
        <p:nvPicPr>
          <p:cNvPr id="6" name="Picture 7">
            <a:extLst>
              <a:ext uri="{FF2B5EF4-FFF2-40B4-BE49-F238E27FC236}">
                <a16:creationId xmlns:a16="http://schemas.microsoft.com/office/drawing/2014/main" id="{9A02E292-73CE-41B4-88EF-76B9EA903288}"/>
              </a:ext>
            </a:extLst>
          </p:cNvPr>
          <p:cNvPicPr>
            <a:picLocks noChangeAspect="1"/>
          </p:cNvPicPr>
          <p:nvPr/>
        </p:nvPicPr>
        <p:blipFill>
          <a:blip r:embed="rId3"/>
          <a:stretch>
            <a:fillRect/>
          </a:stretch>
        </p:blipFill>
        <p:spPr>
          <a:xfrm>
            <a:off x="6599162" y="2171126"/>
            <a:ext cx="4690533" cy="3676891"/>
          </a:xfrm>
          <a:prstGeom prst="rect">
            <a:avLst/>
          </a:prstGeom>
        </p:spPr>
      </p:pic>
    </p:spTree>
    <p:extLst>
      <p:ext uri="{BB962C8B-B14F-4D97-AF65-F5344CB8AC3E}">
        <p14:creationId xmlns:p14="http://schemas.microsoft.com/office/powerpoint/2010/main" val="1368706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p:txBody>
          <a:bodyPr/>
          <a:lstStyle/>
          <a:p>
            <a:r>
              <a:rPr lang="en-US"/>
              <a:t>Modelling Appendix(Daily)</a:t>
            </a:r>
          </a:p>
        </p:txBody>
      </p:sp>
      <p:sp>
        <p:nvSpPr>
          <p:cNvPr id="5" name="TextBox 4">
            <a:extLst>
              <a:ext uri="{FF2B5EF4-FFF2-40B4-BE49-F238E27FC236}">
                <a16:creationId xmlns:a16="http://schemas.microsoft.com/office/drawing/2014/main" id="{09C603B1-83E3-40C7-AD23-240A45A6713E}"/>
              </a:ext>
            </a:extLst>
          </p:cNvPr>
          <p:cNvSpPr txBox="1"/>
          <p:nvPr/>
        </p:nvSpPr>
        <p:spPr>
          <a:xfrm>
            <a:off x="1035352" y="1436692"/>
            <a:ext cx="3444723"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uto Arima Model With TS Diff(With </a:t>
            </a:r>
            <a:r>
              <a:rPr lang="en-US" err="1">
                <a:solidFill>
                  <a:schemeClr val="tx1"/>
                </a:solidFill>
              </a:rPr>
              <a:t>Exog</a:t>
            </a:r>
            <a:r>
              <a:rPr lang="en-US">
                <a:solidFill>
                  <a:schemeClr val="tx1"/>
                </a:solidFill>
              </a:rPr>
              <a:t> Parameters)</a:t>
            </a:r>
          </a:p>
        </p:txBody>
      </p:sp>
      <p:sp>
        <p:nvSpPr>
          <p:cNvPr id="9" name="TextBox 8">
            <a:extLst>
              <a:ext uri="{FF2B5EF4-FFF2-40B4-BE49-F238E27FC236}">
                <a16:creationId xmlns:a16="http://schemas.microsoft.com/office/drawing/2014/main" id="{3179ADB1-85CE-4DE6-A4AE-524B8EB2D41D}"/>
              </a:ext>
            </a:extLst>
          </p:cNvPr>
          <p:cNvSpPr txBox="1"/>
          <p:nvPr/>
        </p:nvSpPr>
        <p:spPr>
          <a:xfrm>
            <a:off x="6949924" y="1436691"/>
            <a:ext cx="4146247"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uto Sarima Model with TS Log(With </a:t>
            </a:r>
            <a:r>
              <a:rPr lang="en-US" err="1">
                <a:solidFill>
                  <a:schemeClr val="tx1"/>
                </a:solidFill>
              </a:rPr>
              <a:t>Exog</a:t>
            </a:r>
            <a:r>
              <a:rPr lang="en-US">
                <a:solidFill>
                  <a:schemeClr val="tx1"/>
                </a:solidFill>
              </a:rPr>
              <a:t> Parameters)</a:t>
            </a:r>
          </a:p>
        </p:txBody>
      </p:sp>
      <p:pic>
        <p:nvPicPr>
          <p:cNvPr id="3" name="Picture 6" descr="Chart, line chart&#10;&#10;Description automatically generated">
            <a:extLst>
              <a:ext uri="{FF2B5EF4-FFF2-40B4-BE49-F238E27FC236}">
                <a16:creationId xmlns:a16="http://schemas.microsoft.com/office/drawing/2014/main" id="{3A9AAE25-4049-446E-8E70-55A209C4D22D}"/>
              </a:ext>
            </a:extLst>
          </p:cNvPr>
          <p:cNvPicPr>
            <a:picLocks noChangeAspect="1"/>
          </p:cNvPicPr>
          <p:nvPr/>
        </p:nvPicPr>
        <p:blipFill>
          <a:blip r:embed="rId2"/>
          <a:stretch>
            <a:fillRect/>
          </a:stretch>
        </p:blipFill>
        <p:spPr>
          <a:xfrm>
            <a:off x="587829" y="2233212"/>
            <a:ext cx="4605866" cy="3576908"/>
          </a:xfrm>
          <a:prstGeom prst="rect">
            <a:avLst/>
          </a:prstGeom>
        </p:spPr>
      </p:pic>
      <p:pic>
        <p:nvPicPr>
          <p:cNvPr id="7" name="Picture 7" descr="Chart, line chart&#10;&#10;Description automatically generated">
            <a:extLst>
              <a:ext uri="{FF2B5EF4-FFF2-40B4-BE49-F238E27FC236}">
                <a16:creationId xmlns:a16="http://schemas.microsoft.com/office/drawing/2014/main" id="{501F7DE2-8991-44A1-9009-B56CC32D49AD}"/>
              </a:ext>
            </a:extLst>
          </p:cNvPr>
          <p:cNvPicPr>
            <a:picLocks noChangeAspect="1"/>
          </p:cNvPicPr>
          <p:nvPr/>
        </p:nvPicPr>
        <p:blipFill>
          <a:blip r:embed="rId3"/>
          <a:stretch>
            <a:fillRect/>
          </a:stretch>
        </p:blipFill>
        <p:spPr>
          <a:xfrm>
            <a:off x="6502400" y="2199735"/>
            <a:ext cx="4557485" cy="3571291"/>
          </a:xfrm>
          <a:prstGeom prst="rect">
            <a:avLst/>
          </a:prstGeom>
        </p:spPr>
      </p:pic>
    </p:spTree>
    <p:extLst>
      <p:ext uri="{BB962C8B-B14F-4D97-AF65-F5344CB8AC3E}">
        <p14:creationId xmlns:p14="http://schemas.microsoft.com/office/powerpoint/2010/main" val="3891548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p:txBody>
          <a:bodyPr/>
          <a:lstStyle/>
          <a:p>
            <a:r>
              <a:rPr lang="en-US"/>
              <a:t>Modelling Appendix(Daily)</a:t>
            </a:r>
          </a:p>
        </p:txBody>
      </p:sp>
      <p:sp>
        <p:nvSpPr>
          <p:cNvPr id="5" name="TextBox 4">
            <a:extLst>
              <a:ext uri="{FF2B5EF4-FFF2-40B4-BE49-F238E27FC236}">
                <a16:creationId xmlns:a16="http://schemas.microsoft.com/office/drawing/2014/main" id="{09C603B1-83E3-40C7-AD23-240A45A6713E}"/>
              </a:ext>
            </a:extLst>
          </p:cNvPr>
          <p:cNvSpPr txBox="1"/>
          <p:nvPr/>
        </p:nvSpPr>
        <p:spPr>
          <a:xfrm>
            <a:off x="757162" y="1147003"/>
            <a:ext cx="4714723"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Example of Tune SARIMAX Model With Ts Log, Different Combination of PDQ, Seasonal PDQ(With </a:t>
            </a:r>
            <a:r>
              <a:rPr lang="en-US" err="1">
                <a:solidFill>
                  <a:schemeClr val="tx1"/>
                </a:solidFill>
              </a:rPr>
              <a:t>Exog</a:t>
            </a:r>
            <a:r>
              <a:rPr lang="en-US">
                <a:solidFill>
                  <a:schemeClr val="tx1"/>
                </a:solidFill>
              </a:rPr>
              <a:t> Parameters)</a:t>
            </a:r>
          </a:p>
        </p:txBody>
      </p:sp>
      <p:sp>
        <p:nvSpPr>
          <p:cNvPr id="9" name="TextBox 8">
            <a:extLst>
              <a:ext uri="{FF2B5EF4-FFF2-40B4-BE49-F238E27FC236}">
                <a16:creationId xmlns:a16="http://schemas.microsoft.com/office/drawing/2014/main" id="{3179ADB1-85CE-4DE6-A4AE-524B8EB2D41D}"/>
              </a:ext>
            </a:extLst>
          </p:cNvPr>
          <p:cNvSpPr txBox="1"/>
          <p:nvPr/>
        </p:nvSpPr>
        <p:spPr>
          <a:xfrm>
            <a:off x="6949924" y="1436691"/>
            <a:ext cx="4146247"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Tune Sarima Model with TS Log(With </a:t>
            </a:r>
            <a:r>
              <a:rPr lang="en-US" err="1">
                <a:solidFill>
                  <a:schemeClr val="tx1"/>
                </a:solidFill>
              </a:rPr>
              <a:t>Exog</a:t>
            </a:r>
            <a:r>
              <a:rPr lang="en-US">
                <a:solidFill>
                  <a:schemeClr val="tx1"/>
                </a:solidFill>
              </a:rPr>
              <a:t> Parameters)</a:t>
            </a:r>
          </a:p>
        </p:txBody>
      </p:sp>
      <p:pic>
        <p:nvPicPr>
          <p:cNvPr id="4" name="Picture 5" descr="Graphical user interface, text, application&#10;&#10;Description automatically generated">
            <a:extLst>
              <a:ext uri="{FF2B5EF4-FFF2-40B4-BE49-F238E27FC236}">
                <a16:creationId xmlns:a16="http://schemas.microsoft.com/office/drawing/2014/main" id="{79B30297-A01B-430C-8EB8-745A3D069B7F}"/>
              </a:ext>
            </a:extLst>
          </p:cNvPr>
          <p:cNvPicPr>
            <a:picLocks noChangeAspect="1"/>
          </p:cNvPicPr>
          <p:nvPr/>
        </p:nvPicPr>
        <p:blipFill>
          <a:blip r:embed="rId2"/>
          <a:stretch>
            <a:fillRect/>
          </a:stretch>
        </p:blipFill>
        <p:spPr>
          <a:xfrm>
            <a:off x="430590" y="4004401"/>
            <a:ext cx="5186438" cy="2538244"/>
          </a:xfrm>
          <a:prstGeom prst="rect">
            <a:avLst/>
          </a:prstGeom>
        </p:spPr>
      </p:pic>
      <p:pic>
        <p:nvPicPr>
          <p:cNvPr id="6" name="Picture 7">
            <a:extLst>
              <a:ext uri="{FF2B5EF4-FFF2-40B4-BE49-F238E27FC236}">
                <a16:creationId xmlns:a16="http://schemas.microsoft.com/office/drawing/2014/main" id="{4A08CA56-0F2C-4842-8FB2-31B02C4CC1C2}"/>
              </a:ext>
            </a:extLst>
          </p:cNvPr>
          <p:cNvPicPr>
            <a:picLocks noChangeAspect="1"/>
          </p:cNvPicPr>
          <p:nvPr/>
        </p:nvPicPr>
        <p:blipFill>
          <a:blip r:embed="rId3"/>
          <a:stretch>
            <a:fillRect/>
          </a:stretch>
        </p:blipFill>
        <p:spPr>
          <a:xfrm>
            <a:off x="696685" y="2071915"/>
            <a:ext cx="4714723" cy="1915885"/>
          </a:xfrm>
          <a:prstGeom prst="rect">
            <a:avLst/>
          </a:prstGeom>
        </p:spPr>
      </p:pic>
      <p:pic>
        <p:nvPicPr>
          <p:cNvPr id="8" name="Picture 9" descr="Chart, line chart&#10;&#10;Description automatically generated">
            <a:extLst>
              <a:ext uri="{FF2B5EF4-FFF2-40B4-BE49-F238E27FC236}">
                <a16:creationId xmlns:a16="http://schemas.microsoft.com/office/drawing/2014/main" id="{6CC0388A-2FEB-46B2-970B-B498ED898DF7}"/>
              </a:ext>
            </a:extLst>
          </p:cNvPr>
          <p:cNvPicPr>
            <a:picLocks noChangeAspect="1"/>
          </p:cNvPicPr>
          <p:nvPr/>
        </p:nvPicPr>
        <p:blipFill>
          <a:blip r:embed="rId4"/>
          <a:stretch>
            <a:fillRect/>
          </a:stretch>
        </p:blipFill>
        <p:spPr>
          <a:xfrm>
            <a:off x="5849257" y="2140671"/>
            <a:ext cx="5476723" cy="4330467"/>
          </a:xfrm>
          <a:prstGeom prst="rect">
            <a:avLst/>
          </a:prstGeom>
        </p:spPr>
      </p:pic>
    </p:spTree>
    <p:extLst>
      <p:ext uri="{BB962C8B-B14F-4D97-AF65-F5344CB8AC3E}">
        <p14:creationId xmlns:p14="http://schemas.microsoft.com/office/powerpoint/2010/main" val="495325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p:txBody>
          <a:bodyPr/>
          <a:lstStyle/>
          <a:p>
            <a:r>
              <a:rPr lang="en-US"/>
              <a:t>Modelling Appendix(Daily)</a:t>
            </a:r>
          </a:p>
        </p:txBody>
      </p:sp>
      <p:sp>
        <p:nvSpPr>
          <p:cNvPr id="9" name="TextBox 8">
            <a:extLst>
              <a:ext uri="{FF2B5EF4-FFF2-40B4-BE49-F238E27FC236}">
                <a16:creationId xmlns:a16="http://schemas.microsoft.com/office/drawing/2014/main" id="{3179ADB1-85CE-4DE6-A4AE-524B8EB2D41D}"/>
              </a:ext>
            </a:extLst>
          </p:cNvPr>
          <p:cNvSpPr txBox="1"/>
          <p:nvPr/>
        </p:nvSpPr>
        <p:spPr>
          <a:xfrm>
            <a:off x="3260876" y="1472977"/>
            <a:ext cx="4146247"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err="1">
                <a:solidFill>
                  <a:schemeClr val="tx1"/>
                </a:solidFill>
              </a:rPr>
              <a:t>Sarimax</a:t>
            </a:r>
            <a:r>
              <a:rPr lang="en-US">
                <a:solidFill>
                  <a:schemeClr val="tx1"/>
                </a:solidFill>
              </a:rPr>
              <a:t> Model with TS Log(With </a:t>
            </a:r>
            <a:r>
              <a:rPr lang="en-US" err="1">
                <a:solidFill>
                  <a:schemeClr val="tx1"/>
                </a:solidFill>
              </a:rPr>
              <a:t>Exog</a:t>
            </a:r>
            <a:r>
              <a:rPr lang="en-US">
                <a:solidFill>
                  <a:schemeClr val="tx1"/>
                </a:solidFill>
              </a:rPr>
              <a:t> Parameters)</a:t>
            </a:r>
          </a:p>
        </p:txBody>
      </p:sp>
      <p:pic>
        <p:nvPicPr>
          <p:cNvPr id="3" name="Picture 6" descr="Chart, line chart&#10;&#10;Description automatically generated">
            <a:extLst>
              <a:ext uri="{FF2B5EF4-FFF2-40B4-BE49-F238E27FC236}">
                <a16:creationId xmlns:a16="http://schemas.microsoft.com/office/drawing/2014/main" id="{3E9A0F2D-BAD5-4289-9F34-C4D0E3B67FD8}"/>
              </a:ext>
            </a:extLst>
          </p:cNvPr>
          <p:cNvPicPr>
            <a:picLocks noChangeAspect="1"/>
          </p:cNvPicPr>
          <p:nvPr/>
        </p:nvPicPr>
        <p:blipFill>
          <a:blip r:embed="rId2"/>
          <a:stretch>
            <a:fillRect/>
          </a:stretch>
        </p:blipFill>
        <p:spPr>
          <a:xfrm>
            <a:off x="2498876" y="2112072"/>
            <a:ext cx="5851676" cy="4532808"/>
          </a:xfrm>
          <a:prstGeom prst="rect">
            <a:avLst/>
          </a:prstGeom>
        </p:spPr>
      </p:pic>
    </p:spTree>
    <p:extLst>
      <p:ext uri="{BB962C8B-B14F-4D97-AF65-F5344CB8AC3E}">
        <p14:creationId xmlns:p14="http://schemas.microsoft.com/office/powerpoint/2010/main" val="371058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630000" y="622800"/>
            <a:ext cx="10933350" cy="941796"/>
          </a:xfrm>
        </p:spPr>
        <p:txBody>
          <a:bodyPr/>
          <a:lstStyle/>
          <a:p>
            <a:r>
              <a:rPr lang="en-US">
                <a:solidFill>
                  <a:srgbClr val="002060"/>
                </a:solidFill>
                <a:ea typeface="+mj-lt"/>
                <a:cs typeface="+mj-lt"/>
              </a:rPr>
              <a:t>Bus Frequency of top bus stops </a:t>
            </a:r>
            <a:br>
              <a:rPr lang="en-US">
                <a:ea typeface="+mj-lt"/>
                <a:cs typeface="+mj-lt"/>
              </a:rPr>
            </a:br>
            <a:r>
              <a:rPr lang="en-US" err="1">
                <a:solidFill>
                  <a:srgbClr val="002060"/>
                </a:solidFill>
                <a:ea typeface="+mj-lt"/>
                <a:cs typeface="+mj-lt"/>
              </a:rPr>
              <a:t>Siloso</a:t>
            </a:r>
            <a:r>
              <a:rPr lang="en-US">
                <a:solidFill>
                  <a:srgbClr val="002060"/>
                </a:solidFill>
                <a:ea typeface="+mj-lt"/>
                <a:cs typeface="+mj-lt"/>
              </a:rPr>
              <a:t> Point and </a:t>
            </a:r>
            <a:r>
              <a:rPr lang="en-US" err="1">
                <a:solidFill>
                  <a:srgbClr val="002060"/>
                </a:solidFill>
                <a:ea typeface="+mj-lt"/>
                <a:cs typeface="+mj-lt"/>
              </a:rPr>
              <a:t>Imbiah</a:t>
            </a:r>
            <a:r>
              <a:rPr lang="en-US">
                <a:solidFill>
                  <a:srgbClr val="002060"/>
                </a:solidFill>
                <a:ea typeface="+mj-lt"/>
                <a:cs typeface="+mj-lt"/>
              </a:rPr>
              <a:t> Lookout (Weekday)</a:t>
            </a:r>
            <a:endParaRPr lang="en-US">
              <a:ea typeface="+mj-lt"/>
              <a:cs typeface="+mj-lt"/>
            </a:endParaRPr>
          </a:p>
        </p:txBody>
      </p:sp>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endParaRPr lang="en-SG" sz="1300" err="1">
              <a:solidFill>
                <a:schemeClr val="bg1"/>
              </a:solidFill>
            </a:endParaRP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4" name="TextBox 3">
            <a:extLst>
              <a:ext uri="{FF2B5EF4-FFF2-40B4-BE49-F238E27FC236}">
                <a16:creationId xmlns:a16="http://schemas.microsoft.com/office/drawing/2014/main" id="{215644EC-E1A2-4B5F-BA53-79EB189605EC}"/>
              </a:ext>
            </a:extLst>
          </p:cNvPr>
          <p:cNvSpPr txBox="1"/>
          <p:nvPr/>
        </p:nvSpPr>
        <p:spPr>
          <a:xfrm>
            <a:off x="629190" y="6075771"/>
            <a:ext cx="9816476" cy="617045"/>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a:solidFill>
                  <a:srgbClr val="002060"/>
                </a:solidFill>
                <a:ea typeface="+mn-lt"/>
                <a:cs typeface="+mn-lt"/>
              </a:rPr>
              <a:t>Based on maximum bus ridership within each hour and bus capacity of 50, actual frequency of buses deployed within each hour on weekdays is higher than required.</a:t>
            </a:r>
            <a:endParaRPr lang="en-US">
              <a:ea typeface="+mn-lt"/>
              <a:cs typeface="+mn-lt"/>
            </a:endParaRPr>
          </a:p>
        </p:txBody>
      </p:sp>
      <p:sp>
        <p:nvSpPr>
          <p:cNvPr id="3" name="TextBox 2">
            <a:extLst>
              <a:ext uri="{FF2B5EF4-FFF2-40B4-BE49-F238E27FC236}">
                <a16:creationId xmlns:a16="http://schemas.microsoft.com/office/drawing/2014/main" id="{2321500F-B116-49E9-B713-1C89E59A92D6}"/>
              </a:ext>
            </a:extLst>
          </p:cNvPr>
          <p:cNvSpPr txBox="1"/>
          <p:nvPr/>
        </p:nvSpPr>
        <p:spPr>
          <a:xfrm>
            <a:off x="628650"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Siloso</a:t>
            </a:r>
            <a:r>
              <a:rPr lang="en-US" sz="2000">
                <a:solidFill>
                  <a:schemeClr val="tx1"/>
                </a:solidFill>
              </a:rPr>
              <a:t> Point</a:t>
            </a:r>
          </a:p>
        </p:txBody>
      </p:sp>
      <p:sp>
        <p:nvSpPr>
          <p:cNvPr id="12" name="TextBox 11">
            <a:extLst>
              <a:ext uri="{FF2B5EF4-FFF2-40B4-BE49-F238E27FC236}">
                <a16:creationId xmlns:a16="http://schemas.microsoft.com/office/drawing/2014/main" id="{95E46411-4A0C-41AA-9250-790D71323EA7}"/>
              </a:ext>
            </a:extLst>
          </p:cNvPr>
          <p:cNvSpPr txBox="1"/>
          <p:nvPr/>
        </p:nvSpPr>
        <p:spPr>
          <a:xfrm>
            <a:off x="5843588"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Imbiah</a:t>
            </a:r>
            <a:r>
              <a:rPr lang="en-US">
                <a:solidFill>
                  <a:schemeClr val="tx1"/>
                </a:solidFill>
              </a:rPr>
              <a:t> </a:t>
            </a:r>
            <a:r>
              <a:rPr lang="en-US" sz="2000">
                <a:solidFill>
                  <a:schemeClr val="tx1"/>
                </a:solidFill>
              </a:rPr>
              <a:t>Lookout</a:t>
            </a:r>
          </a:p>
        </p:txBody>
      </p:sp>
      <p:cxnSp>
        <p:nvCxnSpPr>
          <p:cNvPr id="5" name="Straight Arrow Connector 4">
            <a:extLst>
              <a:ext uri="{FF2B5EF4-FFF2-40B4-BE49-F238E27FC236}">
                <a16:creationId xmlns:a16="http://schemas.microsoft.com/office/drawing/2014/main" id="{7650244C-E06B-41BA-A77C-2D20639EA927}"/>
              </a:ext>
            </a:extLst>
          </p:cNvPr>
          <p:cNvCxnSpPr/>
          <p:nvPr/>
        </p:nvCxnSpPr>
        <p:spPr>
          <a:xfrm>
            <a:off x="5527676" y="1654176"/>
            <a:ext cx="25399" cy="4319586"/>
          </a:xfrm>
          <a:prstGeom prst="straightConnector1">
            <a:avLst/>
          </a:prstGeom>
          <a:ln w="9525" cap="rnd">
            <a:solidFill>
              <a:schemeClr val="accent5"/>
            </a:solidFill>
            <a:prstDash val="solid"/>
            <a:round/>
            <a:tailEnd type="none"/>
          </a:ln>
        </p:spPr>
        <p:style>
          <a:lnRef idx="1">
            <a:schemeClr val="accent1"/>
          </a:lnRef>
          <a:fillRef idx="0">
            <a:schemeClr val="accent1"/>
          </a:fillRef>
          <a:effectRef idx="0">
            <a:schemeClr val="accent1"/>
          </a:effectRef>
          <a:fontRef idx="minor">
            <a:schemeClr val="tx1"/>
          </a:fontRef>
        </p:style>
      </p:cxnSp>
      <p:pic>
        <p:nvPicPr>
          <p:cNvPr id="8" name="Picture 8" descr="Chart, line chart&#10;&#10;Description automatically generated">
            <a:extLst>
              <a:ext uri="{FF2B5EF4-FFF2-40B4-BE49-F238E27FC236}">
                <a16:creationId xmlns:a16="http://schemas.microsoft.com/office/drawing/2014/main" id="{B55EB88B-1131-49F1-9EBF-9451360D2DC8}"/>
              </a:ext>
            </a:extLst>
          </p:cNvPr>
          <p:cNvPicPr>
            <a:picLocks noChangeAspect="1"/>
          </p:cNvPicPr>
          <p:nvPr/>
        </p:nvPicPr>
        <p:blipFill>
          <a:blip r:embed="rId5"/>
          <a:stretch>
            <a:fillRect/>
          </a:stretch>
        </p:blipFill>
        <p:spPr>
          <a:xfrm>
            <a:off x="5838092" y="1977941"/>
            <a:ext cx="4618892" cy="2022886"/>
          </a:xfrm>
          <a:prstGeom prst="rect">
            <a:avLst/>
          </a:prstGeom>
        </p:spPr>
      </p:pic>
      <p:pic>
        <p:nvPicPr>
          <p:cNvPr id="9" name="Picture 12" descr="Chart, line chart&#10;&#10;Description automatically generated">
            <a:extLst>
              <a:ext uri="{FF2B5EF4-FFF2-40B4-BE49-F238E27FC236}">
                <a16:creationId xmlns:a16="http://schemas.microsoft.com/office/drawing/2014/main" id="{3C5E64A5-AEC6-4C45-A9BB-6D9278736CF1}"/>
              </a:ext>
            </a:extLst>
          </p:cNvPr>
          <p:cNvPicPr>
            <a:picLocks noChangeAspect="1"/>
          </p:cNvPicPr>
          <p:nvPr/>
        </p:nvPicPr>
        <p:blipFill>
          <a:blip r:embed="rId6"/>
          <a:stretch>
            <a:fillRect/>
          </a:stretch>
        </p:blipFill>
        <p:spPr>
          <a:xfrm>
            <a:off x="631092" y="1963325"/>
            <a:ext cx="4618892" cy="2042349"/>
          </a:xfrm>
          <a:prstGeom prst="rect">
            <a:avLst/>
          </a:prstGeom>
        </p:spPr>
      </p:pic>
      <p:pic>
        <p:nvPicPr>
          <p:cNvPr id="10" name="Picture 10" descr="Chart, bar chart&#10;&#10;Description automatically generated">
            <a:extLst>
              <a:ext uri="{FF2B5EF4-FFF2-40B4-BE49-F238E27FC236}">
                <a16:creationId xmlns:a16="http://schemas.microsoft.com/office/drawing/2014/main" id="{391F6A77-68C5-4C52-ABF8-CA8D80177516}"/>
              </a:ext>
            </a:extLst>
          </p:cNvPr>
          <p:cNvPicPr>
            <a:picLocks noChangeAspect="1"/>
          </p:cNvPicPr>
          <p:nvPr/>
        </p:nvPicPr>
        <p:blipFill>
          <a:blip r:embed="rId7"/>
          <a:stretch>
            <a:fillRect/>
          </a:stretch>
        </p:blipFill>
        <p:spPr>
          <a:xfrm>
            <a:off x="5835650" y="3999738"/>
            <a:ext cx="4608512" cy="1946210"/>
          </a:xfrm>
          <a:prstGeom prst="rect">
            <a:avLst/>
          </a:prstGeom>
        </p:spPr>
      </p:pic>
      <p:pic>
        <p:nvPicPr>
          <p:cNvPr id="11" name="Picture 12" descr="Chart, bar chart&#10;&#10;Description automatically generated">
            <a:extLst>
              <a:ext uri="{FF2B5EF4-FFF2-40B4-BE49-F238E27FC236}">
                <a16:creationId xmlns:a16="http://schemas.microsoft.com/office/drawing/2014/main" id="{D3B0CDFF-5E2B-4904-8700-08E7D750F067}"/>
              </a:ext>
            </a:extLst>
          </p:cNvPr>
          <p:cNvPicPr>
            <a:picLocks noChangeAspect="1"/>
          </p:cNvPicPr>
          <p:nvPr/>
        </p:nvPicPr>
        <p:blipFill>
          <a:blip r:embed="rId8"/>
          <a:stretch>
            <a:fillRect/>
          </a:stretch>
        </p:blipFill>
        <p:spPr>
          <a:xfrm>
            <a:off x="628650" y="3999367"/>
            <a:ext cx="4608512" cy="1946955"/>
          </a:xfrm>
          <a:prstGeom prst="rect">
            <a:avLst/>
          </a:prstGeom>
        </p:spPr>
      </p:pic>
    </p:spTree>
    <p:extLst>
      <p:ext uri="{BB962C8B-B14F-4D97-AF65-F5344CB8AC3E}">
        <p14:creationId xmlns:p14="http://schemas.microsoft.com/office/powerpoint/2010/main" val="2149037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630000" y="622800"/>
            <a:ext cx="10933350" cy="941796"/>
          </a:xfrm>
        </p:spPr>
        <p:txBody>
          <a:bodyPr/>
          <a:lstStyle/>
          <a:p>
            <a:r>
              <a:rPr lang="en-US">
                <a:solidFill>
                  <a:srgbClr val="002060"/>
                </a:solidFill>
                <a:ea typeface="+mj-lt"/>
                <a:cs typeface="+mj-lt"/>
              </a:rPr>
              <a:t>Bus Frequency of top bus stops </a:t>
            </a:r>
            <a:br>
              <a:rPr lang="en-US">
                <a:ea typeface="+mj-lt"/>
                <a:cs typeface="+mj-lt"/>
              </a:rPr>
            </a:br>
            <a:r>
              <a:rPr lang="en-US" err="1">
                <a:solidFill>
                  <a:srgbClr val="002060"/>
                </a:solidFill>
                <a:ea typeface="+mj-lt"/>
                <a:cs typeface="+mj-lt"/>
              </a:rPr>
              <a:t>Siloso</a:t>
            </a:r>
            <a:r>
              <a:rPr lang="en-US">
                <a:solidFill>
                  <a:srgbClr val="002060"/>
                </a:solidFill>
                <a:ea typeface="+mj-lt"/>
                <a:cs typeface="+mj-lt"/>
              </a:rPr>
              <a:t> Point and </a:t>
            </a:r>
            <a:r>
              <a:rPr lang="en-US" err="1">
                <a:solidFill>
                  <a:srgbClr val="002060"/>
                </a:solidFill>
                <a:ea typeface="+mj-lt"/>
                <a:cs typeface="+mj-lt"/>
              </a:rPr>
              <a:t>Imbiah</a:t>
            </a:r>
            <a:r>
              <a:rPr lang="en-US">
                <a:solidFill>
                  <a:srgbClr val="002060"/>
                </a:solidFill>
                <a:ea typeface="+mj-lt"/>
                <a:cs typeface="+mj-lt"/>
              </a:rPr>
              <a:t> Lookout (Weekend/holidays)</a:t>
            </a:r>
            <a:endParaRPr lang="en-US">
              <a:ea typeface="+mj-lt"/>
              <a:cs typeface="+mj-lt"/>
            </a:endParaRPr>
          </a:p>
        </p:txBody>
      </p:sp>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4" name="TextBox 3">
            <a:extLst>
              <a:ext uri="{FF2B5EF4-FFF2-40B4-BE49-F238E27FC236}">
                <a16:creationId xmlns:a16="http://schemas.microsoft.com/office/drawing/2014/main" id="{215644EC-E1A2-4B5F-BA53-79EB189605EC}"/>
              </a:ext>
            </a:extLst>
          </p:cNvPr>
          <p:cNvSpPr txBox="1"/>
          <p:nvPr/>
        </p:nvSpPr>
        <p:spPr>
          <a:xfrm>
            <a:off x="629190" y="6075771"/>
            <a:ext cx="9816476" cy="574236"/>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a:solidFill>
                  <a:srgbClr val="002060"/>
                </a:solidFill>
              </a:rPr>
              <a:t>Based on maximum bus ridership within each hour and bus capacity of 50, actual frequency of buses deployed within each hour on weekends is higher than required.</a:t>
            </a:r>
          </a:p>
        </p:txBody>
      </p:sp>
      <p:sp>
        <p:nvSpPr>
          <p:cNvPr id="3" name="TextBox 2">
            <a:extLst>
              <a:ext uri="{FF2B5EF4-FFF2-40B4-BE49-F238E27FC236}">
                <a16:creationId xmlns:a16="http://schemas.microsoft.com/office/drawing/2014/main" id="{2321500F-B116-49E9-B713-1C89E59A92D6}"/>
              </a:ext>
            </a:extLst>
          </p:cNvPr>
          <p:cNvSpPr txBox="1"/>
          <p:nvPr/>
        </p:nvSpPr>
        <p:spPr>
          <a:xfrm>
            <a:off x="628650"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Siloso</a:t>
            </a:r>
            <a:r>
              <a:rPr lang="en-US" sz="2000">
                <a:solidFill>
                  <a:schemeClr val="tx1"/>
                </a:solidFill>
              </a:rPr>
              <a:t> Point</a:t>
            </a:r>
          </a:p>
        </p:txBody>
      </p:sp>
      <p:sp>
        <p:nvSpPr>
          <p:cNvPr id="12" name="TextBox 11">
            <a:extLst>
              <a:ext uri="{FF2B5EF4-FFF2-40B4-BE49-F238E27FC236}">
                <a16:creationId xmlns:a16="http://schemas.microsoft.com/office/drawing/2014/main" id="{95E46411-4A0C-41AA-9250-790D71323EA7}"/>
              </a:ext>
            </a:extLst>
          </p:cNvPr>
          <p:cNvSpPr txBox="1"/>
          <p:nvPr/>
        </p:nvSpPr>
        <p:spPr>
          <a:xfrm>
            <a:off x="5843588"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Imbiah</a:t>
            </a:r>
            <a:r>
              <a:rPr lang="en-US">
                <a:solidFill>
                  <a:schemeClr val="tx1"/>
                </a:solidFill>
              </a:rPr>
              <a:t> </a:t>
            </a:r>
            <a:r>
              <a:rPr lang="en-US" sz="2000">
                <a:solidFill>
                  <a:schemeClr val="tx1"/>
                </a:solidFill>
              </a:rPr>
              <a:t>Lookout</a:t>
            </a:r>
          </a:p>
        </p:txBody>
      </p:sp>
      <p:cxnSp>
        <p:nvCxnSpPr>
          <p:cNvPr id="5" name="Straight Arrow Connector 4">
            <a:extLst>
              <a:ext uri="{FF2B5EF4-FFF2-40B4-BE49-F238E27FC236}">
                <a16:creationId xmlns:a16="http://schemas.microsoft.com/office/drawing/2014/main" id="{7650244C-E06B-41BA-A77C-2D20639EA927}"/>
              </a:ext>
            </a:extLst>
          </p:cNvPr>
          <p:cNvCxnSpPr/>
          <p:nvPr/>
        </p:nvCxnSpPr>
        <p:spPr>
          <a:xfrm>
            <a:off x="5527676" y="1654176"/>
            <a:ext cx="25399" cy="4319586"/>
          </a:xfrm>
          <a:prstGeom prst="straightConnector1">
            <a:avLst/>
          </a:prstGeom>
          <a:ln w="9525" cap="rnd">
            <a:solidFill>
              <a:schemeClr val="accent5"/>
            </a:solidFill>
            <a:prstDash val="solid"/>
            <a:round/>
            <a:tailEnd type="none"/>
          </a:ln>
        </p:spPr>
        <p:style>
          <a:lnRef idx="1">
            <a:schemeClr val="accent1"/>
          </a:lnRef>
          <a:fillRef idx="0">
            <a:schemeClr val="accent1"/>
          </a:fillRef>
          <a:effectRef idx="0">
            <a:schemeClr val="accent1"/>
          </a:effectRef>
          <a:fontRef idx="minor">
            <a:schemeClr val="tx1"/>
          </a:fontRef>
        </p:style>
      </p:cxnSp>
      <p:pic>
        <p:nvPicPr>
          <p:cNvPr id="8" name="Picture 8" descr="Chart, bar chart&#10;&#10;Description automatically generated">
            <a:extLst>
              <a:ext uri="{FF2B5EF4-FFF2-40B4-BE49-F238E27FC236}">
                <a16:creationId xmlns:a16="http://schemas.microsoft.com/office/drawing/2014/main" id="{1C37FA25-553F-4164-8C97-7E76EEDF8003}"/>
              </a:ext>
            </a:extLst>
          </p:cNvPr>
          <p:cNvPicPr>
            <a:picLocks noChangeAspect="1"/>
          </p:cNvPicPr>
          <p:nvPr/>
        </p:nvPicPr>
        <p:blipFill>
          <a:blip r:embed="rId5"/>
          <a:stretch>
            <a:fillRect/>
          </a:stretch>
        </p:blipFill>
        <p:spPr>
          <a:xfrm>
            <a:off x="5844614" y="4012822"/>
            <a:ext cx="4680230" cy="1967668"/>
          </a:xfrm>
          <a:prstGeom prst="rect">
            <a:avLst/>
          </a:prstGeom>
        </p:spPr>
      </p:pic>
      <p:pic>
        <p:nvPicPr>
          <p:cNvPr id="9" name="Picture 9" descr="Chart, bar chart&#10;&#10;Description automatically generated">
            <a:extLst>
              <a:ext uri="{FF2B5EF4-FFF2-40B4-BE49-F238E27FC236}">
                <a16:creationId xmlns:a16="http://schemas.microsoft.com/office/drawing/2014/main" id="{97A95AB9-26F3-4FFA-B40B-A3BFD1A87A7B}"/>
              </a:ext>
            </a:extLst>
          </p:cNvPr>
          <p:cNvPicPr>
            <a:picLocks noChangeAspect="1"/>
          </p:cNvPicPr>
          <p:nvPr/>
        </p:nvPicPr>
        <p:blipFill>
          <a:blip r:embed="rId6"/>
          <a:stretch>
            <a:fillRect/>
          </a:stretch>
        </p:blipFill>
        <p:spPr>
          <a:xfrm>
            <a:off x="628650" y="4016263"/>
            <a:ext cx="4608512" cy="1960786"/>
          </a:xfrm>
          <a:prstGeom prst="rect">
            <a:avLst/>
          </a:prstGeom>
        </p:spPr>
      </p:pic>
      <p:pic>
        <p:nvPicPr>
          <p:cNvPr id="10" name="Picture 10" descr="Table&#10;&#10;Description automatically generated">
            <a:extLst>
              <a:ext uri="{FF2B5EF4-FFF2-40B4-BE49-F238E27FC236}">
                <a16:creationId xmlns:a16="http://schemas.microsoft.com/office/drawing/2014/main" id="{BC57136E-9901-4CDB-9B10-C29044E8BCA8}"/>
              </a:ext>
            </a:extLst>
          </p:cNvPr>
          <p:cNvPicPr>
            <a:picLocks noChangeAspect="1"/>
          </p:cNvPicPr>
          <p:nvPr/>
        </p:nvPicPr>
        <p:blipFill>
          <a:blip r:embed="rId7"/>
          <a:stretch>
            <a:fillRect/>
          </a:stretch>
        </p:blipFill>
        <p:spPr>
          <a:xfrm>
            <a:off x="5844988" y="1983667"/>
            <a:ext cx="4679576" cy="1958335"/>
          </a:xfrm>
          <a:prstGeom prst="rect">
            <a:avLst/>
          </a:prstGeom>
        </p:spPr>
      </p:pic>
      <p:pic>
        <p:nvPicPr>
          <p:cNvPr id="11" name="Picture 12" descr="A picture containing graphical user interface&#10;&#10;Description automatically generated">
            <a:extLst>
              <a:ext uri="{FF2B5EF4-FFF2-40B4-BE49-F238E27FC236}">
                <a16:creationId xmlns:a16="http://schemas.microsoft.com/office/drawing/2014/main" id="{31819B31-85B9-4D2E-B13C-BE009B402BB3}"/>
              </a:ext>
            </a:extLst>
          </p:cNvPr>
          <p:cNvPicPr>
            <a:picLocks noChangeAspect="1"/>
          </p:cNvPicPr>
          <p:nvPr/>
        </p:nvPicPr>
        <p:blipFill>
          <a:blip r:embed="rId8"/>
          <a:stretch>
            <a:fillRect/>
          </a:stretch>
        </p:blipFill>
        <p:spPr>
          <a:xfrm>
            <a:off x="627529" y="1979521"/>
            <a:ext cx="4607858" cy="1966628"/>
          </a:xfrm>
          <a:prstGeom prst="rect">
            <a:avLst/>
          </a:prstGeom>
        </p:spPr>
      </p:pic>
    </p:spTree>
    <p:extLst>
      <p:ext uri="{BB962C8B-B14F-4D97-AF65-F5344CB8AC3E}">
        <p14:creationId xmlns:p14="http://schemas.microsoft.com/office/powerpoint/2010/main" val="3971465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pic>
        <p:nvPicPr>
          <p:cNvPr id="6" name="Picture 5">
            <a:extLst>
              <a:ext uri="{FF2B5EF4-FFF2-40B4-BE49-F238E27FC236}">
                <a16:creationId xmlns:a16="http://schemas.microsoft.com/office/drawing/2014/main" id="{3476209F-81B0-4A6C-8B12-F6D764D3E106}"/>
              </a:ext>
            </a:extLst>
          </p:cNvPr>
          <p:cNvPicPr>
            <a:picLocks noChangeAspect="1"/>
          </p:cNvPicPr>
          <p:nvPr/>
        </p:nvPicPr>
        <p:blipFill>
          <a:blip r:embed="rId5"/>
          <a:stretch>
            <a:fillRect/>
          </a:stretch>
        </p:blipFill>
        <p:spPr>
          <a:xfrm>
            <a:off x="372542" y="1717924"/>
            <a:ext cx="3886185" cy="3377888"/>
          </a:xfrm>
          <a:prstGeom prst="rect">
            <a:avLst/>
          </a:prstGeom>
        </p:spPr>
      </p:pic>
      <p:pic>
        <p:nvPicPr>
          <p:cNvPr id="9" name="Picture 8">
            <a:extLst>
              <a:ext uri="{FF2B5EF4-FFF2-40B4-BE49-F238E27FC236}">
                <a16:creationId xmlns:a16="http://schemas.microsoft.com/office/drawing/2014/main" id="{A76048B9-7E18-4DEE-8C9E-48B93DFE3F73}"/>
              </a:ext>
            </a:extLst>
          </p:cNvPr>
          <p:cNvPicPr>
            <a:picLocks noChangeAspect="1"/>
          </p:cNvPicPr>
          <p:nvPr/>
        </p:nvPicPr>
        <p:blipFill>
          <a:blip r:embed="rId6"/>
          <a:stretch>
            <a:fillRect/>
          </a:stretch>
        </p:blipFill>
        <p:spPr>
          <a:xfrm>
            <a:off x="4320791" y="1717362"/>
            <a:ext cx="3978473" cy="3377009"/>
          </a:xfrm>
          <a:prstGeom prst="rect">
            <a:avLst/>
          </a:prstGeom>
        </p:spPr>
      </p:pic>
      <p:sp>
        <p:nvSpPr>
          <p:cNvPr id="11" name="Rectangle 10">
            <a:extLst>
              <a:ext uri="{FF2B5EF4-FFF2-40B4-BE49-F238E27FC236}">
                <a16:creationId xmlns:a16="http://schemas.microsoft.com/office/drawing/2014/main" id="{F659B4BD-50AD-4CA3-95ED-DEC3DABB4313}"/>
              </a:ext>
            </a:extLst>
          </p:cNvPr>
          <p:cNvSpPr/>
          <p:nvPr/>
        </p:nvSpPr>
        <p:spPr>
          <a:xfrm>
            <a:off x="2550490" y="1797648"/>
            <a:ext cx="1389529" cy="338117"/>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200">
                <a:solidFill>
                  <a:srgbClr val="FFFFFF"/>
                </a:solidFill>
              </a:rPr>
              <a:t>Bus Route A</a:t>
            </a:r>
          </a:p>
        </p:txBody>
      </p:sp>
      <p:sp>
        <p:nvSpPr>
          <p:cNvPr id="16" name="Rectangle 15">
            <a:extLst>
              <a:ext uri="{FF2B5EF4-FFF2-40B4-BE49-F238E27FC236}">
                <a16:creationId xmlns:a16="http://schemas.microsoft.com/office/drawing/2014/main" id="{E9F09C74-B1ED-48F0-B094-FCB61FD07FD8}"/>
              </a:ext>
            </a:extLst>
          </p:cNvPr>
          <p:cNvSpPr/>
          <p:nvPr/>
        </p:nvSpPr>
        <p:spPr>
          <a:xfrm>
            <a:off x="6548713" y="1866937"/>
            <a:ext cx="1389529" cy="338117"/>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200">
                <a:solidFill>
                  <a:srgbClr val="FFFFFF"/>
                </a:solidFill>
              </a:rPr>
              <a:t>Bus Route C</a:t>
            </a:r>
          </a:p>
        </p:txBody>
      </p:sp>
      <p:sp>
        <p:nvSpPr>
          <p:cNvPr id="5" name="Title 1">
            <a:extLst>
              <a:ext uri="{FF2B5EF4-FFF2-40B4-BE49-F238E27FC236}">
                <a16:creationId xmlns:a16="http://schemas.microsoft.com/office/drawing/2014/main" id="{66362E8C-07A8-4B97-87C8-091A9FDB599A}"/>
              </a:ext>
            </a:extLst>
          </p:cNvPr>
          <p:cNvSpPr txBox="1">
            <a:spLocks/>
          </p:cNvSpPr>
          <p:nvPr/>
        </p:nvSpPr>
        <p:spPr>
          <a:xfrm>
            <a:off x="630000" y="622800"/>
            <a:ext cx="7885351"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err="1">
                <a:solidFill>
                  <a:srgbClr val="002060"/>
                </a:solidFill>
                <a:ea typeface="+mj-lt"/>
                <a:cs typeface="+mj-lt"/>
              </a:rPr>
              <a:t>Imbiah</a:t>
            </a:r>
            <a:r>
              <a:rPr lang="en-US">
                <a:solidFill>
                  <a:srgbClr val="002060"/>
                </a:solidFill>
                <a:ea typeface="+mj-lt"/>
                <a:cs typeface="+mj-lt"/>
              </a:rPr>
              <a:t> Lookout and </a:t>
            </a:r>
            <a:r>
              <a:rPr lang="en-US" err="1">
                <a:solidFill>
                  <a:srgbClr val="002060"/>
                </a:solidFill>
                <a:ea typeface="+mj-lt"/>
                <a:cs typeface="+mj-lt"/>
              </a:rPr>
              <a:t>Siloso</a:t>
            </a:r>
            <a:r>
              <a:rPr lang="en-US">
                <a:solidFill>
                  <a:srgbClr val="002060"/>
                </a:solidFill>
                <a:ea typeface="+mj-lt"/>
                <a:cs typeface="+mj-lt"/>
              </a:rPr>
              <a:t> point are the top 2 most popular bus stops (ridership)</a:t>
            </a:r>
            <a:endParaRPr lang="en-US">
              <a:ea typeface="+mj-lt"/>
              <a:cs typeface="+mj-lt"/>
            </a:endParaRPr>
          </a:p>
        </p:txBody>
      </p:sp>
      <p:pic>
        <p:nvPicPr>
          <p:cNvPr id="4" name="Picture 6" descr="Chart, bar chart&#10;&#10;Description automatically generated">
            <a:extLst>
              <a:ext uri="{FF2B5EF4-FFF2-40B4-BE49-F238E27FC236}">
                <a16:creationId xmlns:a16="http://schemas.microsoft.com/office/drawing/2014/main" id="{D1E8906C-F7B4-4B64-A4F6-A75BD1D8E774}"/>
              </a:ext>
            </a:extLst>
          </p:cNvPr>
          <p:cNvPicPr>
            <a:picLocks noChangeAspect="1"/>
          </p:cNvPicPr>
          <p:nvPr/>
        </p:nvPicPr>
        <p:blipFill>
          <a:blip r:embed="rId7"/>
          <a:stretch>
            <a:fillRect/>
          </a:stretch>
        </p:blipFill>
        <p:spPr>
          <a:xfrm>
            <a:off x="8377605" y="1715476"/>
            <a:ext cx="3762053" cy="1771834"/>
          </a:xfrm>
          <a:prstGeom prst="rect">
            <a:avLst/>
          </a:prstGeom>
        </p:spPr>
      </p:pic>
      <p:sp>
        <p:nvSpPr>
          <p:cNvPr id="10" name="TextBox 1">
            <a:extLst>
              <a:ext uri="{FF2B5EF4-FFF2-40B4-BE49-F238E27FC236}">
                <a16:creationId xmlns:a16="http://schemas.microsoft.com/office/drawing/2014/main" id="{07073218-5F15-4EF5-A452-773E04940AE9}"/>
              </a:ext>
            </a:extLst>
          </p:cNvPr>
          <p:cNvSpPr txBox="1"/>
          <p:nvPr/>
        </p:nvSpPr>
        <p:spPr>
          <a:xfrm>
            <a:off x="8378320" y="3562365"/>
            <a:ext cx="3715032" cy="1771389"/>
          </a:xfrm>
          <a:prstGeom prst="rect">
            <a:avLst/>
          </a:prstGeom>
          <a:noFill/>
          <a:ln w="6350"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SG" sz="1600">
                <a:solidFill>
                  <a:srgbClr val="002060"/>
                </a:solidFill>
              </a:rPr>
              <a:t>Route B has the highest ridership. However, Route A and C share the same routes but travel in the opposite direction. Hence, taking the combine ridership from Route A and C will be more accurate.</a:t>
            </a:r>
          </a:p>
        </p:txBody>
      </p:sp>
    </p:spTree>
    <p:extLst>
      <p:ext uri="{BB962C8B-B14F-4D97-AF65-F5344CB8AC3E}">
        <p14:creationId xmlns:p14="http://schemas.microsoft.com/office/powerpoint/2010/main" val="855648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endParaRPr lang="en-SG">
              <a:solidFill>
                <a:schemeClr val="bg1"/>
              </a:solidFill>
            </a:endParaRP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12" name="TextBox 11">
            <a:extLst>
              <a:ext uri="{FF2B5EF4-FFF2-40B4-BE49-F238E27FC236}">
                <a16:creationId xmlns:a16="http://schemas.microsoft.com/office/drawing/2014/main" id="{844D08C5-3EE5-4BAC-9392-6CA8001CAD4E}"/>
              </a:ext>
            </a:extLst>
          </p:cNvPr>
          <p:cNvSpPr txBox="1"/>
          <p:nvPr/>
        </p:nvSpPr>
        <p:spPr>
          <a:xfrm>
            <a:off x="632267" y="1052946"/>
            <a:ext cx="622598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r>
              <a:rPr lang="en-SG" sz="1800">
                <a:solidFill>
                  <a:srgbClr val="002060"/>
                </a:solidFill>
              </a:rPr>
              <a:t>Analysing average </a:t>
            </a:r>
            <a:r>
              <a:rPr lang="en-SG">
                <a:solidFill>
                  <a:srgbClr val="002060"/>
                </a:solidFill>
              </a:rPr>
              <a:t>n</a:t>
            </a:r>
            <a:r>
              <a:rPr lang="en-SG" sz="1800">
                <a:solidFill>
                  <a:srgbClr val="002060"/>
                </a:solidFill>
              </a:rPr>
              <a:t>umber of riders against bus </a:t>
            </a:r>
            <a:r>
              <a:rPr lang="en-SG">
                <a:solidFill>
                  <a:srgbClr val="002060"/>
                </a:solidFill>
              </a:rPr>
              <a:t>stops</a:t>
            </a:r>
            <a:endParaRPr lang="en-US"/>
          </a:p>
        </p:txBody>
      </p:sp>
      <p:pic>
        <p:nvPicPr>
          <p:cNvPr id="11" name="Picture 10">
            <a:extLst>
              <a:ext uri="{FF2B5EF4-FFF2-40B4-BE49-F238E27FC236}">
                <a16:creationId xmlns:a16="http://schemas.microsoft.com/office/drawing/2014/main" id="{CD86A313-65D2-4D12-B76F-922156737525}"/>
              </a:ext>
            </a:extLst>
          </p:cNvPr>
          <p:cNvPicPr>
            <a:picLocks noChangeAspect="1"/>
          </p:cNvPicPr>
          <p:nvPr/>
        </p:nvPicPr>
        <p:blipFill rotWithShape="1">
          <a:blip r:embed="rId5"/>
          <a:srcRect t="1672"/>
          <a:stretch/>
        </p:blipFill>
        <p:spPr>
          <a:xfrm>
            <a:off x="5963190" y="1594247"/>
            <a:ext cx="5269551" cy="3704724"/>
          </a:xfrm>
          <a:prstGeom prst="rect">
            <a:avLst/>
          </a:prstGeom>
        </p:spPr>
      </p:pic>
      <p:sp>
        <p:nvSpPr>
          <p:cNvPr id="13" name="Rectangle 12">
            <a:extLst>
              <a:ext uri="{FF2B5EF4-FFF2-40B4-BE49-F238E27FC236}">
                <a16:creationId xmlns:a16="http://schemas.microsoft.com/office/drawing/2014/main" id="{003E35E4-DB87-4D35-8663-60FF12DD7B69}"/>
              </a:ext>
            </a:extLst>
          </p:cNvPr>
          <p:cNvSpPr/>
          <p:nvPr/>
        </p:nvSpPr>
        <p:spPr>
          <a:xfrm>
            <a:off x="7382491" y="2852132"/>
            <a:ext cx="339774" cy="1848695"/>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21" name="Rectangle 20">
            <a:extLst>
              <a:ext uri="{FF2B5EF4-FFF2-40B4-BE49-F238E27FC236}">
                <a16:creationId xmlns:a16="http://schemas.microsoft.com/office/drawing/2014/main" id="{46156451-ECB4-4520-895C-009D1F9E8343}"/>
              </a:ext>
            </a:extLst>
          </p:cNvPr>
          <p:cNvSpPr/>
          <p:nvPr/>
        </p:nvSpPr>
        <p:spPr>
          <a:xfrm>
            <a:off x="10162546" y="3142144"/>
            <a:ext cx="339774" cy="1381561"/>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14" name="TextBox 13">
            <a:extLst>
              <a:ext uri="{FF2B5EF4-FFF2-40B4-BE49-F238E27FC236}">
                <a16:creationId xmlns:a16="http://schemas.microsoft.com/office/drawing/2014/main" id="{CD92118D-BCDA-4C90-B9D2-09972FA65EE3}"/>
              </a:ext>
            </a:extLst>
          </p:cNvPr>
          <p:cNvSpPr txBox="1"/>
          <p:nvPr/>
        </p:nvSpPr>
        <p:spPr>
          <a:xfrm>
            <a:off x="7132364" y="2436487"/>
            <a:ext cx="1179800" cy="3317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8400"/>
              </a:solidFill>
            </a:endParaRPr>
          </a:p>
          <a:p>
            <a:pPr algn="ctr"/>
            <a:r>
              <a:rPr lang="en-SG" sz="1200">
                <a:solidFill>
                  <a:srgbClr val="FF8400"/>
                </a:solidFill>
              </a:rPr>
              <a:t>25,208 </a:t>
            </a:r>
          </a:p>
        </p:txBody>
      </p:sp>
      <p:sp>
        <p:nvSpPr>
          <p:cNvPr id="23" name="TextBox 22">
            <a:extLst>
              <a:ext uri="{FF2B5EF4-FFF2-40B4-BE49-F238E27FC236}">
                <a16:creationId xmlns:a16="http://schemas.microsoft.com/office/drawing/2014/main" id="{437837FB-28C6-4D49-A0CB-199C96E6B187}"/>
              </a:ext>
            </a:extLst>
          </p:cNvPr>
          <p:cNvSpPr txBox="1"/>
          <p:nvPr/>
        </p:nvSpPr>
        <p:spPr>
          <a:xfrm>
            <a:off x="9476241" y="2751216"/>
            <a:ext cx="1179800" cy="3317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8400"/>
              </a:solidFill>
            </a:endParaRPr>
          </a:p>
          <a:p>
            <a:pPr algn="ctr"/>
            <a:r>
              <a:rPr lang="en-SG" sz="1200">
                <a:solidFill>
                  <a:srgbClr val="FF8400"/>
                </a:solidFill>
              </a:rPr>
              <a:t>16,817 </a:t>
            </a:r>
          </a:p>
        </p:txBody>
      </p:sp>
      <p:sp>
        <p:nvSpPr>
          <p:cNvPr id="25" name="TextBox 24">
            <a:extLst>
              <a:ext uri="{FF2B5EF4-FFF2-40B4-BE49-F238E27FC236}">
                <a16:creationId xmlns:a16="http://schemas.microsoft.com/office/drawing/2014/main" id="{A72C66DB-3DFA-4DD0-BB16-94A4A31F5E94}"/>
              </a:ext>
            </a:extLst>
          </p:cNvPr>
          <p:cNvSpPr txBox="1"/>
          <p:nvPr/>
        </p:nvSpPr>
        <p:spPr>
          <a:xfrm>
            <a:off x="628246" y="5482720"/>
            <a:ext cx="6410521" cy="673026"/>
          </a:xfrm>
          <a:prstGeom prst="rect">
            <a:avLst/>
          </a:prstGeom>
          <a:noFill/>
          <a:ln w="9525" cap="rnd">
            <a:solidFill>
              <a:schemeClr val="tx1"/>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a:solidFill>
                  <a:srgbClr val="002060"/>
                </a:solidFill>
              </a:rPr>
              <a:t>Beach Station consists of Route A, B and C and is also the bus interchange. </a:t>
            </a:r>
            <a:endParaRPr lang="en-US"/>
          </a:p>
          <a:p>
            <a:r>
              <a:rPr lang="en-SG" sz="1600">
                <a:solidFill>
                  <a:srgbClr val="002060"/>
                </a:solidFill>
              </a:rPr>
              <a:t>Hence, we decided to focus on the top bus stop.</a:t>
            </a:r>
            <a:endParaRPr lang="en-SG"/>
          </a:p>
        </p:txBody>
      </p:sp>
      <p:sp>
        <p:nvSpPr>
          <p:cNvPr id="26" name="Rectangle 25">
            <a:extLst>
              <a:ext uri="{FF2B5EF4-FFF2-40B4-BE49-F238E27FC236}">
                <a16:creationId xmlns:a16="http://schemas.microsoft.com/office/drawing/2014/main" id="{22DD1760-D9EC-405F-9AAD-63EC690DC033}"/>
              </a:ext>
            </a:extLst>
          </p:cNvPr>
          <p:cNvSpPr/>
          <p:nvPr/>
        </p:nvSpPr>
        <p:spPr>
          <a:xfrm>
            <a:off x="6831361" y="1666431"/>
            <a:ext cx="339774" cy="2938893"/>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27" name="TextBox 26">
            <a:extLst>
              <a:ext uri="{FF2B5EF4-FFF2-40B4-BE49-F238E27FC236}">
                <a16:creationId xmlns:a16="http://schemas.microsoft.com/office/drawing/2014/main" id="{B2BF4484-08EE-483A-BA89-BC8EDC410538}"/>
              </a:ext>
            </a:extLst>
          </p:cNvPr>
          <p:cNvSpPr txBox="1"/>
          <p:nvPr/>
        </p:nvSpPr>
        <p:spPr>
          <a:xfrm>
            <a:off x="7330841" y="1795980"/>
            <a:ext cx="1269825" cy="197143"/>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8400"/>
              </a:solidFill>
            </a:endParaRPr>
          </a:p>
          <a:p>
            <a:pPr algn="ctr"/>
            <a:r>
              <a:rPr lang="en-SG" sz="1200">
                <a:solidFill>
                  <a:srgbClr val="FF8400"/>
                </a:solidFill>
              </a:rPr>
              <a:t>60,357 </a:t>
            </a:r>
          </a:p>
        </p:txBody>
      </p:sp>
      <p:sp>
        <p:nvSpPr>
          <p:cNvPr id="4" name="TextBox 3">
            <a:extLst>
              <a:ext uri="{FF2B5EF4-FFF2-40B4-BE49-F238E27FC236}">
                <a16:creationId xmlns:a16="http://schemas.microsoft.com/office/drawing/2014/main" id="{19708EDC-3A90-4EC0-A789-51301070BDC6}"/>
              </a:ext>
            </a:extLst>
          </p:cNvPr>
          <p:cNvSpPr txBox="1"/>
          <p:nvPr/>
        </p:nvSpPr>
        <p:spPr>
          <a:xfrm>
            <a:off x="2134527" y="313936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SG">
                <a:solidFill>
                  <a:srgbClr val="FF0000"/>
                </a:solidFill>
              </a:rPr>
              <a:t>Pie chart – power BI – top 5 bus stops </a:t>
            </a:r>
          </a:p>
          <a:p>
            <a:pPr algn="ctr"/>
            <a:r>
              <a:rPr lang="en-SG">
                <a:solidFill>
                  <a:srgbClr val="FF0000"/>
                </a:solidFill>
              </a:rPr>
              <a:t>(less Beach station)</a:t>
            </a:r>
          </a:p>
        </p:txBody>
      </p:sp>
      <p:sp>
        <p:nvSpPr>
          <p:cNvPr id="7" name="Title 6">
            <a:extLst>
              <a:ext uri="{FF2B5EF4-FFF2-40B4-BE49-F238E27FC236}">
                <a16:creationId xmlns:a16="http://schemas.microsoft.com/office/drawing/2014/main" id="{5040411B-0A54-429E-94AB-0F4DA7C1917E}"/>
              </a:ext>
            </a:extLst>
          </p:cNvPr>
          <p:cNvSpPr>
            <a:spLocks noGrp="1"/>
          </p:cNvSpPr>
          <p:nvPr>
            <p:ph type="title"/>
          </p:nvPr>
        </p:nvSpPr>
        <p:spPr/>
        <p:txBody>
          <a:bodyPr/>
          <a:lstStyle/>
          <a:p>
            <a:r>
              <a:rPr lang="en-US">
                <a:solidFill>
                  <a:srgbClr val="002060"/>
                </a:solidFill>
                <a:ea typeface="+mj-lt"/>
                <a:cs typeface="+mj-lt"/>
              </a:rPr>
              <a:t>Total ridership for bus stops</a:t>
            </a:r>
          </a:p>
        </p:txBody>
      </p:sp>
      <p:pic>
        <p:nvPicPr>
          <p:cNvPr id="15" name="Picture 15" descr="Chart, pie chart&#10;&#10;Description automatically generated">
            <a:extLst>
              <a:ext uri="{FF2B5EF4-FFF2-40B4-BE49-F238E27FC236}">
                <a16:creationId xmlns:a16="http://schemas.microsoft.com/office/drawing/2014/main" id="{5D59DB1C-172C-47ED-95FD-1E3F001466CE}"/>
              </a:ext>
            </a:extLst>
          </p:cNvPr>
          <p:cNvPicPr>
            <a:picLocks noChangeAspect="1"/>
          </p:cNvPicPr>
          <p:nvPr/>
        </p:nvPicPr>
        <p:blipFill>
          <a:blip r:embed="rId6"/>
          <a:stretch>
            <a:fillRect/>
          </a:stretch>
        </p:blipFill>
        <p:spPr>
          <a:xfrm>
            <a:off x="632179" y="1589858"/>
            <a:ext cx="5189125" cy="3179690"/>
          </a:xfrm>
          <a:prstGeom prst="rect">
            <a:avLst/>
          </a:prstGeom>
        </p:spPr>
      </p:pic>
      <p:pic>
        <p:nvPicPr>
          <p:cNvPr id="2" name="Picture 2" descr="Table&#10;&#10;Description automatically generated">
            <a:extLst>
              <a:ext uri="{FF2B5EF4-FFF2-40B4-BE49-F238E27FC236}">
                <a16:creationId xmlns:a16="http://schemas.microsoft.com/office/drawing/2014/main" id="{BD070F67-C046-4FA4-BC49-57AF06A15A77}"/>
              </a:ext>
            </a:extLst>
          </p:cNvPr>
          <p:cNvPicPr>
            <a:picLocks noChangeAspect="1"/>
          </p:cNvPicPr>
          <p:nvPr/>
        </p:nvPicPr>
        <p:blipFill>
          <a:blip r:embed="rId7"/>
          <a:stretch>
            <a:fillRect/>
          </a:stretch>
        </p:blipFill>
        <p:spPr>
          <a:xfrm>
            <a:off x="9245937" y="1097020"/>
            <a:ext cx="2884713" cy="5460091"/>
          </a:xfrm>
          <a:prstGeom prst="rect">
            <a:avLst/>
          </a:prstGeom>
        </p:spPr>
      </p:pic>
    </p:spTree>
    <p:extLst>
      <p:ext uri="{BB962C8B-B14F-4D97-AF65-F5344CB8AC3E}">
        <p14:creationId xmlns:p14="http://schemas.microsoft.com/office/powerpoint/2010/main" val="165658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4EA6045-D161-499A-99D8-27A9B2007106}"/>
              </a:ext>
            </a:extLst>
          </p:cNvPr>
          <p:cNvSpPr>
            <a:spLocks noGrp="1"/>
          </p:cNvSpPr>
          <p:nvPr>
            <p:ph type="body" sz="quarter" idx="10"/>
          </p:nvPr>
        </p:nvSpPr>
        <p:spPr>
          <a:xfrm>
            <a:off x="518123" y="743030"/>
            <a:ext cx="11142818" cy="6047031"/>
          </a:xfrm>
        </p:spPr>
        <p:txBody>
          <a:bodyPr vert="horz" lIns="0" tIns="0" rIns="0" bIns="0" rtlCol="0" anchor="t">
            <a:noAutofit/>
          </a:bodyPr>
          <a:lstStyle/>
          <a:p>
            <a:pPr>
              <a:lnSpc>
                <a:spcPct val="90000"/>
              </a:lnSpc>
              <a:spcBef>
                <a:spcPct val="0"/>
              </a:spcBef>
              <a:buNone/>
            </a:pPr>
            <a:r>
              <a:rPr lang="en-US" sz="1800" b="1">
                <a:solidFill>
                  <a:schemeClr val="accent4"/>
                </a:solidFill>
                <a:latin typeface="Arial"/>
                <a:ea typeface="+mn-lt"/>
                <a:cs typeface="Arial"/>
              </a:rPr>
              <a:t>Situation </a:t>
            </a:r>
            <a:endParaRPr lang="en-US" sz="1800" b="1">
              <a:solidFill>
                <a:schemeClr val="accent4"/>
              </a:solidFill>
              <a:latin typeface="Arial" panose="020B0604020202020204" pitchFamily="34" charset="0"/>
              <a:ea typeface="+mn-lt"/>
              <a:cs typeface="Arial" panose="020B0604020202020204" pitchFamily="34" charset="0"/>
            </a:endParaRPr>
          </a:p>
          <a:p>
            <a:pPr>
              <a:lnSpc>
                <a:spcPct val="90000"/>
              </a:lnSpc>
              <a:spcBef>
                <a:spcPct val="0"/>
              </a:spcBef>
              <a:buNone/>
            </a:pPr>
            <a:endParaRPr lang="en-US" sz="1600" b="1">
              <a:solidFill>
                <a:srgbClr val="000000"/>
              </a:solidFill>
              <a:latin typeface="Arial" panose="020B0604020202020204" pitchFamily="34" charset="0"/>
              <a:ea typeface="+mn-lt"/>
              <a:cs typeface="Arial" panose="020B0604020202020204" pitchFamily="34" charset="0"/>
            </a:endParaRPr>
          </a:p>
          <a:p>
            <a:pPr>
              <a:lnSpc>
                <a:spcPct val="90000"/>
              </a:lnSpc>
              <a:spcBef>
                <a:spcPct val="0"/>
              </a:spcBef>
              <a:buNone/>
            </a:pPr>
            <a:r>
              <a:rPr lang="en-US" sz="1600">
                <a:latin typeface="Arial"/>
                <a:cs typeface="Arial"/>
              </a:rPr>
              <a:t>Sentosa Development Corporation (SDC) is currently facing difficulties in meeting the demands of guests during peak period when there are large number of guests waiting for buses at the bus stops. </a:t>
            </a:r>
          </a:p>
          <a:p>
            <a:pPr>
              <a:lnSpc>
                <a:spcPct val="90000"/>
              </a:lnSpc>
              <a:spcBef>
                <a:spcPct val="0"/>
              </a:spcBef>
              <a:buNone/>
            </a:pPr>
            <a:endParaRPr lang="en-US" sz="1600">
              <a:latin typeface="Arial" panose="020B0604020202020204" pitchFamily="34" charset="0"/>
              <a:cs typeface="Arial" panose="020B0604020202020204" pitchFamily="34" charset="0"/>
            </a:endParaRPr>
          </a:p>
          <a:p>
            <a:pPr>
              <a:lnSpc>
                <a:spcPct val="90000"/>
              </a:lnSpc>
              <a:spcBef>
                <a:spcPct val="0"/>
              </a:spcBef>
              <a:buNone/>
            </a:pPr>
            <a:r>
              <a:rPr lang="en-US" sz="1800" b="1">
                <a:solidFill>
                  <a:schemeClr val="accent4"/>
                </a:solidFill>
                <a:latin typeface="Arial"/>
                <a:cs typeface="Arial"/>
              </a:rPr>
              <a:t>Complication</a:t>
            </a:r>
          </a:p>
          <a:p>
            <a:pPr>
              <a:lnSpc>
                <a:spcPct val="90000"/>
              </a:lnSpc>
              <a:spcBef>
                <a:spcPct val="0"/>
              </a:spcBef>
              <a:buNone/>
            </a:pPr>
            <a:endParaRPr lang="en-US" sz="1600">
              <a:latin typeface="Arial" panose="020B0604020202020204" pitchFamily="34" charset="0"/>
              <a:cs typeface="Arial" panose="020B0604020202020204" pitchFamily="34" charset="0"/>
            </a:endParaRPr>
          </a:p>
          <a:p>
            <a:pPr>
              <a:lnSpc>
                <a:spcPct val="90000"/>
              </a:lnSpc>
              <a:spcBef>
                <a:spcPct val="0"/>
              </a:spcBef>
              <a:buNone/>
            </a:pPr>
            <a:r>
              <a:rPr lang="en-US" sz="1600">
                <a:latin typeface="Arial"/>
                <a:cs typeface="Arial"/>
              </a:rPr>
              <a:t>Currently, complimentary shuttle services are operated manually through radio dispatch by service captain with their counterparts. </a:t>
            </a:r>
            <a:r>
              <a:rPr lang="en-US" sz="1600">
                <a:latin typeface="Arial"/>
                <a:ea typeface="+mn-lt"/>
                <a:cs typeface="Arial"/>
              </a:rPr>
              <a:t>It will affect the reputation of Sentosa as a tourist attraction if people leave bad reviews about slow service and long waiting time. </a:t>
            </a:r>
            <a:endParaRPr lang="en-US" sz="1400">
              <a:latin typeface="Arial"/>
              <a:cs typeface="Arial"/>
            </a:endParaRPr>
          </a:p>
          <a:p>
            <a:pPr>
              <a:lnSpc>
                <a:spcPct val="90000"/>
              </a:lnSpc>
              <a:spcBef>
                <a:spcPct val="0"/>
              </a:spcBef>
              <a:buNone/>
            </a:pPr>
            <a:endParaRPr lang="en-US" sz="1600">
              <a:latin typeface="Arial" panose="020B0604020202020204" pitchFamily="34" charset="0"/>
              <a:cs typeface="Arial" panose="020B0604020202020204" pitchFamily="34" charset="0"/>
            </a:endParaRPr>
          </a:p>
          <a:p>
            <a:pPr>
              <a:lnSpc>
                <a:spcPct val="90000"/>
              </a:lnSpc>
              <a:spcBef>
                <a:spcPct val="0"/>
              </a:spcBef>
              <a:buNone/>
            </a:pPr>
            <a:r>
              <a:rPr lang="en-US" sz="1800" b="1">
                <a:solidFill>
                  <a:schemeClr val="accent4"/>
                </a:solidFill>
                <a:latin typeface="Arial"/>
                <a:ea typeface="+mn-lt"/>
                <a:cs typeface="Arial"/>
              </a:rPr>
              <a:t>Solution</a:t>
            </a:r>
          </a:p>
          <a:p>
            <a:pPr>
              <a:lnSpc>
                <a:spcPct val="90000"/>
              </a:lnSpc>
              <a:spcBef>
                <a:spcPct val="0"/>
              </a:spcBef>
              <a:buNone/>
            </a:pPr>
            <a:endParaRPr lang="en-US" sz="1600" b="1">
              <a:latin typeface="Arial" panose="020B0604020202020204" pitchFamily="34" charset="0"/>
              <a:ea typeface="+mn-lt"/>
              <a:cs typeface="Arial" panose="020B0604020202020204" pitchFamily="34" charset="0"/>
            </a:endParaRPr>
          </a:p>
          <a:p>
            <a:pPr>
              <a:lnSpc>
                <a:spcPct val="90000"/>
              </a:lnSpc>
              <a:spcBef>
                <a:spcPct val="0"/>
              </a:spcBef>
              <a:buNone/>
            </a:pPr>
            <a:r>
              <a:rPr lang="en-US" sz="1600">
                <a:latin typeface="Arial"/>
                <a:ea typeface="+mn-lt"/>
                <a:cs typeface="Arial"/>
              </a:rPr>
              <a:t>To better manage the surge in number of guests at bus stops, we would like to recommend a dual approach :-</a:t>
            </a:r>
          </a:p>
          <a:p>
            <a:pPr>
              <a:lnSpc>
                <a:spcPct val="90000"/>
              </a:lnSpc>
              <a:spcBef>
                <a:spcPct val="0"/>
              </a:spcBef>
              <a:buNone/>
            </a:pPr>
            <a:endParaRPr lang="en-US" sz="1600">
              <a:latin typeface="Arial" panose="020B0604020202020204" pitchFamily="34" charset="0"/>
              <a:ea typeface="+mn-lt"/>
              <a:cs typeface="Arial" panose="020B0604020202020204" pitchFamily="34" charset="0"/>
            </a:endParaRPr>
          </a:p>
          <a:p>
            <a:pPr marL="342900" indent="-342900">
              <a:lnSpc>
                <a:spcPct val="90000"/>
              </a:lnSpc>
              <a:spcBef>
                <a:spcPct val="0"/>
              </a:spcBef>
              <a:buChar char="•"/>
            </a:pPr>
            <a:r>
              <a:rPr lang="en-US" sz="1600">
                <a:latin typeface="Arial"/>
                <a:ea typeface="+mn-lt"/>
                <a:cs typeface="Arial"/>
              </a:rPr>
              <a:t>Adopting a machine learning </a:t>
            </a:r>
            <a:r>
              <a:rPr lang="en-US" sz="1600" b="1">
                <a:latin typeface="Arial"/>
                <a:ea typeface="+mn-lt"/>
                <a:cs typeface="Arial"/>
              </a:rPr>
              <a:t>model</a:t>
            </a:r>
            <a:r>
              <a:rPr lang="en-US" sz="1600">
                <a:latin typeface="Arial"/>
                <a:ea typeface="+mn-lt"/>
                <a:cs typeface="Arial"/>
              </a:rPr>
              <a:t> to help SDC to </a:t>
            </a:r>
            <a:r>
              <a:rPr lang="en-US" sz="1600" b="1">
                <a:latin typeface="Arial"/>
                <a:ea typeface="+mn-lt"/>
                <a:cs typeface="Arial"/>
              </a:rPr>
              <a:t>preempt the demand </a:t>
            </a:r>
            <a:r>
              <a:rPr lang="en-US" sz="1600">
                <a:latin typeface="Arial"/>
                <a:ea typeface="+mn-lt"/>
                <a:cs typeface="Arial"/>
              </a:rPr>
              <a:t>in ridership ahead to allow its Ops team to plan its bus scheduling to cater to the demand</a:t>
            </a:r>
          </a:p>
          <a:p>
            <a:pPr marL="342900" indent="-342900">
              <a:lnSpc>
                <a:spcPct val="90000"/>
              </a:lnSpc>
              <a:spcBef>
                <a:spcPct val="0"/>
              </a:spcBef>
              <a:buChar char="•"/>
            </a:pPr>
            <a:r>
              <a:rPr lang="en-US" sz="1600">
                <a:latin typeface="Arial"/>
                <a:ea typeface="+mn-lt"/>
                <a:cs typeface="Arial"/>
              </a:rPr>
              <a:t>Adding additional features in existing Sentosa App and installing digital signboards at bus stops will allow guests to view the bus arrival times so they can plan their activities accordingly without having to spend the time waiting for buses. </a:t>
            </a:r>
            <a:endParaRPr lang="en-US" sz="1600">
              <a:latin typeface="Arial" panose="020B0604020202020204" pitchFamily="34" charset="0"/>
              <a:ea typeface="+mn-lt"/>
              <a:cs typeface="Arial" panose="020B0604020202020204" pitchFamily="34" charset="0"/>
            </a:endParaRPr>
          </a:p>
          <a:p>
            <a:pPr>
              <a:lnSpc>
                <a:spcPct val="90000"/>
              </a:lnSpc>
              <a:spcBef>
                <a:spcPct val="0"/>
              </a:spcBef>
              <a:buNone/>
            </a:pPr>
            <a:endParaRPr lang="en-US" sz="1600">
              <a:latin typeface="Arial" panose="020B0604020202020204" pitchFamily="34" charset="0"/>
              <a:ea typeface="+mn-lt"/>
              <a:cs typeface="Arial" panose="020B0604020202020204" pitchFamily="34" charset="0"/>
            </a:endParaRPr>
          </a:p>
          <a:p>
            <a:pPr>
              <a:lnSpc>
                <a:spcPct val="90000"/>
              </a:lnSpc>
              <a:spcBef>
                <a:spcPct val="0"/>
              </a:spcBef>
              <a:buNone/>
            </a:pPr>
            <a:r>
              <a:rPr lang="en-US" sz="1800" b="1">
                <a:solidFill>
                  <a:schemeClr val="accent4"/>
                </a:solidFill>
                <a:latin typeface="Arial"/>
                <a:ea typeface="+mn-lt"/>
                <a:cs typeface="Arial"/>
              </a:rPr>
              <a:t>Impact</a:t>
            </a:r>
          </a:p>
          <a:p>
            <a:pPr>
              <a:lnSpc>
                <a:spcPct val="90000"/>
              </a:lnSpc>
              <a:spcBef>
                <a:spcPct val="0"/>
              </a:spcBef>
              <a:buNone/>
            </a:pPr>
            <a:endParaRPr lang="en-US" sz="1600">
              <a:latin typeface="Arial" panose="020B0604020202020204" pitchFamily="34" charset="0"/>
              <a:ea typeface="+mn-lt"/>
              <a:cs typeface="Arial" panose="020B0604020202020204" pitchFamily="34" charset="0"/>
            </a:endParaRPr>
          </a:p>
          <a:p>
            <a:pPr marL="285750" indent="-285750">
              <a:lnSpc>
                <a:spcPct val="90000"/>
              </a:lnSpc>
              <a:spcBef>
                <a:spcPct val="0"/>
              </a:spcBef>
              <a:buChar char="•"/>
            </a:pPr>
            <a:r>
              <a:rPr lang="en-US" sz="1600">
                <a:latin typeface="Arial"/>
                <a:ea typeface="+mn-lt"/>
                <a:cs typeface="Arial"/>
              </a:rPr>
              <a:t>More dynamic scheduling ahead of demand surges. </a:t>
            </a:r>
            <a:endParaRPr lang="en-US" b="1">
              <a:latin typeface="Arial"/>
              <a:ea typeface="+mn-lt"/>
              <a:cs typeface="Arial"/>
            </a:endParaRPr>
          </a:p>
          <a:p>
            <a:pPr marL="285750" indent="-285750">
              <a:lnSpc>
                <a:spcPct val="90000"/>
              </a:lnSpc>
              <a:spcBef>
                <a:spcPct val="0"/>
              </a:spcBef>
              <a:buChar char="•"/>
            </a:pPr>
            <a:r>
              <a:rPr lang="en-US" sz="1600">
                <a:latin typeface="Arial"/>
                <a:ea typeface="+mn-lt"/>
                <a:cs typeface="Arial"/>
              </a:rPr>
              <a:t>Potential cost savings to remove </a:t>
            </a:r>
            <a:r>
              <a:rPr lang="en-US" sz="1600" err="1">
                <a:latin typeface="Arial"/>
                <a:ea typeface="+mn-lt"/>
                <a:cs typeface="Arial"/>
              </a:rPr>
              <a:t>under-utilised</a:t>
            </a:r>
            <a:r>
              <a:rPr lang="en-US" sz="1600">
                <a:latin typeface="Arial"/>
                <a:ea typeface="+mn-lt"/>
                <a:cs typeface="Arial"/>
              </a:rPr>
              <a:t> buses during non-peak hours.</a:t>
            </a:r>
          </a:p>
          <a:p>
            <a:pPr marL="285750" indent="-285750">
              <a:lnSpc>
                <a:spcPct val="90000"/>
              </a:lnSpc>
              <a:spcBef>
                <a:spcPct val="0"/>
              </a:spcBef>
              <a:buChar char="•"/>
            </a:pPr>
            <a:r>
              <a:rPr lang="en-US" sz="1600">
                <a:latin typeface="Arial"/>
                <a:ea typeface="+mn-lt"/>
                <a:cs typeface="Arial"/>
              </a:rPr>
              <a:t>Increase in customer satisfaction as they can better plan their time in Sentosa with knowledge of real time bus information through Sentosa App and Sentosa Ops team able to plan and deploy buses during ridership ahead.</a:t>
            </a:r>
            <a:endParaRPr lang="en-US" b="1">
              <a:latin typeface="Arial"/>
              <a:ea typeface="+mn-lt"/>
              <a:cs typeface="Arial"/>
            </a:endParaRPr>
          </a:p>
        </p:txBody>
      </p:sp>
      <p:sp>
        <p:nvSpPr>
          <p:cNvPr id="5" name="Title 4">
            <a:extLst>
              <a:ext uri="{FF2B5EF4-FFF2-40B4-BE49-F238E27FC236}">
                <a16:creationId xmlns:a16="http://schemas.microsoft.com/office/drawing/2014/main" id="{22119D13-7FBA-40D8-9A7E-FC8FC5756573}"/>
              </a:ext>
            </a:extLst>
          </p:cNvPr>
          <p:cNvSpPr>
            <a:spLocks noGrp="1"/>
          </p:cNvSpPr>
          <p:nvPr>
            <p:ph type="title"/>
          </p:nvPr>
        </p:nvSpPr>
        <p:spPr>
          <a:xfrm>
            <a:off x="521143" y="177382"/>
            <a:ext cx="10933350" cy="470898"/>
          </a:xfrm>
        </p:spPr>
        <p:txBody>
          <a:bodyPr/>
          <a:lstStyle/>
          <a:p>
            <a:r>
              <a:rPr lang="en-SG">
                <a:solidFill>
                  <a:srgbClr val="002060"/>
                </a:solidFill>
              </a:rPr>
              <a:t>Executive Summary</a:t>
            </a:r>
          </a:p>
        </p:txBody>
      </p:sp>
    </p:spTree>
    <p:extLst>
      <p:ext uri="{BB962C8B-B14F-4D97-AF65-F5344CB8AC3E}">
        <p14:creationId xmlns:p14="http://schemas.microsoft.com/office/powerpoint/2010/main" val="1960038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EE4F4-60D4-46CA-A79F-1CD22235EEA0}"/>
              </a:ext>
            </a:extLst>
          </p:cNvPr>
          <p:cNvSpPr>
            <a:spLocks noGrp="1"/>
          </p:cNvSpPr>
          <p:nvPr>
            <p:ph type="title"/>
          </p:nvPr>
        </p:nvSpPr>
        <p:spPr/>
        <p:txBody>
          <a:bodyPr/>
          <a:lstStyle/>
          <a:p>
            <a:r>
              <a:rPr lang="en-SG"/>
              <a:t>Calculation for Popularity Factor</a:t>
            </a:r>
          </a:p>
        </p:txBody>
      </p:sp>
      <p:sp>
        <p:nvSpPr>
          <p:cNvPr id="3" name="Text Placeholder 2">
            <a:extLst>
              <a:ext uri="{FF2B5EF4-FFF2-40B4-BE49-F238E27FC236}">
                <a16:creationId xmlns:a16="http://schemas.microsoft.com/office/drawing/2014/main" id="{3AAD55FA-63B7-4DBA-8DC0-293DEF7C309C}"/>
              </a:ext>
            </a:extLst>
          </p:cNvPr>
          <p:cNvSpPr>
            <a:spLocks noGrp="1"/>
          </p:cNvSpPr>
          <p:nvPr>
            <p:ph type="body" sz="quarter" idx="10"/>
          </p:nvPr>
        </p:nvSpPr>
        <p:spPr>
          <a:xfrm>
            <a:off x="629399" y="4854228"/>
            <a:ext cx="10129468" cy="1252798"/>
          </a:xfrm>
        </p:spPr>
        <p:txBody>
          <a:bodyPr vert="horz" lIns="0" tIns="0" rIns="0" bIns="0" rtlCol="0" anchor="t">
            <a:noAutofit/>
          </a:bodyPr>
          <a:lstStyle/>
          <a:p>
            <a:r>
              <a:rPr lang="en-SG" sz="1800"/>
              <a:t>The score for Popularity Factor is calculated with the following weightage. </a:t>
            </a:r>
          </a:p>
          <a:p>
            <a:endParaRPr lang="en-SG" sz="1800"/>
          </a:p>
          <a:p>
            <a:r>
              <a:rPr lang="en-SG" sz="1800"/>
              <a:t>We put Attraction as the highest percentage as we want to set our popularity factor based on guests more interested in Attractions compared to F&amp;B and Hotels.</a:t>
            </a:r>
          </a:p>
        </p:txBody>
      </p:sp>
      <p:pic>
        <p:nvPicPr>
          <p:cNvPr id="4" name="Picture 4">
            <a:extLst>
              <a:ext uri="{FF2B5EF4-FFF2-40B4-BE49-F238E27FC236}">
                <a16:creationId xmlns:a16="http://schemas.microsoft.com/office/drawing/2014/main" id="{B052766A-13D1-4657-87F7-23139C8B3360}"/>
              </a:ext>
            </a:extLst>
          </p:cNvPr>
          <p:cNvPicPr>
            <a:picLocks noChangeAspect="1"/>
          </p:cNvPicPr>
          <p:nvPr/>
        </p:nvPicPr>
        <p:blipFill>
          <a:blip r:embed="rId2"/>
          <a:stretch>
            <a:fillRect/>
          </a:stretch>
        </p:blipFill>
        <p:spPr>
          <a:xfrm>
            <a:off x="626533" y="1387819"/>
            <a:ext cx="7586134" cy="1635494"/>
          </a:xfrm>
          <a:prstGeom prst="rect">
            <a:avLst/>
          </a:prstGeom>
        </p:spPr>
      </p:pic>
      <p:pic>
        <p:nvPicPr>
          <p:cNvPr id="6" name="Picture 6" descr="Table&#10;&#10;Description automatically generated">
            <a:extLst>
              <a:ext uri="{FF2B5EF4-FFF2-40B4-BE49-F238E27FC236}">
                <a16:creationId xmlns:a16="http://schemas.microsoft.com/office/drawing/2014/main" id="{7CB028D9-5E81-4D63-A1E2-97D2DBFCDC09}"/>
              </a:ext>
            </a:extLst>
          </p:cNvPr>
          <p:cNvPicPr>
            <a:picLocks noChangeAspect="1"/>
          </p:cNvPicPr>
          <p:nvPr/>
        </p:nvPicPr>
        <p:blipFill>
          <a:blip r:embed="rId3"/>
          <a:stretch>
            <a:fillRect/>
          </a:stretch>
        </p:blipFill>
        <p:spPr>
          <a:xfrm>
            <a:off x="626533" y="3192717"/>
            <a:ext cx="10134601" cy="1310764"/>
          </a:xfrm>
          <a:prstGeom prst="rect">
            <a:avLst/>
          </a:prstGeom>
        </p:spPr>
      </p:pic>
    </p:spTree>
    <p:extLst>
      <p:ext uri="{BB962C8B-B14F-4D97-AF65-F5344CB8AC3E}">
        <p14:creationId xmlns:p14="http://schemas.microsoft.com/office/powerpoint/2010/main" val="2761597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EE4F4-60D4-46CA-A79F-1CD22235EEA0}"/>
              </a:ext>
            </a:extLst>
          </p:cNvPr>
          <p:cNvSpPr>
            <a:spLocks noGrp="1"/>
          </p:cNvSpPr>
          <p:nvPr>
            <p:ph type="title"/>
          </p:nvPr>
        </p:nvSpPr>
        <p:spPr>
          <a:xfrm>
            <a:off x="282867" y="351867"/>
            <a:ext cx="10933350" cy="470898"/>
          </a:xfrm>
        </p:spPr>
        <p:txBody>
          <a:bodyPr/>
          <a:lstStyle/>
          <a:p>
            <a:r>
              <a:rPr lang="en-SG"/>
              <a:t>Hypothesis Testing for yes/no flags</a:t>
            </a:r>
            <a:endParaRPr lang="en-SG" err="1"/>
          </a:p>
        </p:txBody>
      </p:sp>
      <p:sp>
        <p:nvSpPr>
          <p:cNvPr id="3" name="Text Placeholder 2">
            <a:extLst>
              <a:ext uri="{FF2B5EF4-FFF2-40B4-BE49-F238E27FC236}">
                <a16:creationId xmlns:a16="http://schemas.microsoft.com/office/drawing/2014/main" id="{3AAD55FA-63B7-4DBA-8DC0-293DEF7C309C}"/>
              </a:ext>
            </a:extLst>
          </p:cNvPr>
          <p:cNvSpPr>
            <a:spLocks noGrp="1"/>
          </p:cNvSpPr>
          <p:nvPr>
            <p:ph type="body" sz="quarter" idx="10"/>
          </p:nvPr>
        </p:nvSpPr>
        <p:spPr>
          <a:xfrm>
            <a:off x="231466" y="1188161"/>
            <a:ext cx="10832201" cy="5613131"/>
          </a:xfrm>
        </p:spPr>
        <p:txBody>
          <a:bodyPr vert="horz" lIns="0" tIns="0" rIns="0" bIns="0" rtlCol="0" anchor="t">
            <a:noAutofit/>
          </a:bodyPr>
          <a:lstStyle/>
          <a:p>
            <a:r>
              <a:rPr lang="en-SG" sz="1100"/>
              <a:t>Rain Flag p-value &lt; 0.05</a:t>
            </a:r>
            <a:endParaRPr lang="en-US" sz="1100"/>
          </a:p>
          <a:p>
            <a:r>
              <a:rPr lang="en-SG" sz="1100"/>
              <a:t>We reject H0 and accept H1, Ridership when is raining &gt; Ridership when not raining</a:t>
            </a:r>
          </a:p>
          <a:p>
            <a:pPr>
              <a:buNone/>
            </a:pPr>
            <a:r>
              <a:rPr lang="en-SG" sz="1100"/>
              <a:t>Insights: There is a significant correlation that total riders will increase when it is raining</a:t>
            </a:r>
          </a:p>
          <a:p>
            <a:endParaRPr lang="en-SG" sz="1100"/>
          </a:p>
          <a:p>
            <a:pPr>
              <a:buNone/>
            </a:pPr>
            <a:r>
              <a:rPr lang="en-SG" sz="1100">
                <a:ea typeface="+mn-lt"/>
                <a:cs typeface="+mn-lt"/>
              </a:rPr>
              <a:t>Weekend Flag p-value &lt; 0.05</a:t>
            </a:r>
            <a:endParaRPr lang="en-US" sz="1100">
              <a:ea typeface="+mn-lt"/>
              <a:cs typeface="+mn-lt"/>
            </a:endParaRPr>
          </a:p>
          <a:p>
            <a:pPr>
              <a:buNone/>
            </a:pPr>
            <a:r>
              <a:rPr lang="en-SG" sz="1100">
                <a:ea typeface="+mn-lt"/>
                <a:cs typeface="+mn-lt"/>
              </a:rPr>
              <a:t>We reject H0 and accept H1, Ridership during weekend &gt; Ridership not during weekend</a:t>
            </a:r>
          </a:p>
          <a:p>
            <a:pPr>
              <a:buNone/>
            </a:pPr>
            <a:r>
              <a:rPr lang="en-SG" sz="1100">
                <a:ea typeface="+mn-lt"/>
                <a:cs typeface="+mn-lt"/>
              </a:rPr>
              <a:t>Insights: There is a significant correlation that total riders will increase during the weekend</a:t>
            </a:r>
            <a:endParaRPr lang="en-SG" sz="1100"/>
          </a:p>
          <a:p>
            <a:pPr>
              <a:buNone/>
            </a:pPr>
            <a:endParaRPr lang="en-SG" sz="1100"/>
          </a:p>
          <a:p>
            <a:pPr>
              <a:buNone/>
            </a:pPr>
            <a:r>
              <a:rPr lang="en-SG" sz="1100"/>
              <a:t>Saturday flag </a:t>
            </a:r>
            <a:r>
              <a:rPr lang="en-SG" sz="1100" err="1"/>
              <a:t>pvalue</a:t>
            </a:r>
            <a:r>
              <a:rPr lang="en-SG" sz="1100"/>
              <a:t> &lt; 0.05</a:t>
            </a:r>
          </a:p>
          <a:p>
            <a:r>
              <a:rPr lang="en-SG" sz="1100"/>
              <a:t>We reject H0 and accept H1, Ridership during Saturday &gt; Ridership not during Saturday</a:t>
            </a:r>
            <a:endParaRPr lang="en-US" sz="1100">
              <a:ea typeface="+mn-lt"/>
              <a:cs typeface="+mn-lt"/>
            </a:endParaRPr>
          </a:p>
          <a:p>
            <a:pPr>
              <a:buNone/>
            </a:pPr>
            <a:r>
              <a:rPr lang="en-SG" sz="1100"/>
              <a:t>Insights: There is a significant correlation that total riders will increase when it is on Saturday</a:t>
            </a:r>
          </a:p>
          <a:p>
            <a:endParaRPr lang="en-SG" sz="1100"/>
          </a:p>
          <a:p>
            <a:pPr>
              <a:buNone/>
            </a:pPr>
            <a:r>
              <a:rPr lang="en-SG" sz="1100">
                <a:ea typeface="+mn-lt"/>
                <a:cs typeface="+mn-lt"/>
              </a:rPr>
              <a:t>Sunday flag </a:t>
            </a:r>
            <a:r>
              <a:rPr lang="en-SG" sz="1100" err="1">
                <a:ea typeface="+mn-lt"/>
                <a:cs typeface="+mn-lt"/>
              </a:rPr>
              <a:t>pvalue</a:t>
            </a:r>
            <a:r>
              <a:rPr lang="en-SG" sz="1100">
                <a:ea typeface="+mn-lt"/>
                <a:cs typeface="+mn-lt"/>
              </a:rPr>
              <a:t> &lt; 0.05</a:t>
            </a:r>
            <a:endParaRPr lang="en-US" sz="1100">
              <a:ea typeface="+mn-lt"/>
              <a:cs typeface="+mn-lt"/>
            </a:endParaRPr>
          </a:p>
          <a:p>
            <a:pPr>
              <a:buNone/>
            </a:pPr>
            <a:r>
              <a:rPr lang="en-SG" sz="1100">
                <a:ea typeface="+mn-lt"/>
                <a:cs typeface="+mn-lt"/>
              </a:rPr>
              <a:t>We reject H0 and accept H1, Ridership during Sunday &gt; Ridership not during Sunday</a:t>
            </a:r>
            <a:endParaRPr lang="en-US" sz="1100">
              <a:ea typeface="+mn-lt"/>
              <a:cs typeface="+mn-lt"/>
            </a:endParaRPr>
          </a:p>
          <a:p>
            <a:pPr>
              <a:buNone/>
            </a:pPr>
            <a:r>
              <a:rPr lang="en-SG" sz="1100">
                <a:ea typeface="+mn-lt"/>
                <a:cs typeface="+mn-lt"/>
              </a:rPr>
              <a:t>Insights: There is a significant correlation that total riders will increase when it is on Sunday</a:t>
            </a:r>
          </a:p>
          <a:p>
            <a:pPr>
              <a:buNone/>
            </a:pPr>
            <a:endParaRPr lang="en-SG" sz="1100"/>
          </a:p>
          <a:p>
            <a:pPr>
              <a:buNone/>
            </a:pPr>
            <a:r>
              <a:rPr lang="en-SG" sz="1100"/>
              <a:t>midweek flag </a:t>
            </a:r>
            <a:r>
              <a:rPr lang="en-SG" sz="1100" err="1"/>
              <a:t>pvalue</a:t>
            </a:r>
            <a:r>
              <a:rPr lang="en-SG" sz="1100"/>
              <a:t> &gt; 0.05</a:t>
            </a:r>
            <a:endParaRPr lang="en-US" sz="1100">
              <a:ea typeface="+mn-lt"/>
              <a:cs typeface="+mn-lt"/>
            </a:endParaRPr>
          </a:p>
          <a:p>
            <a:pPr>
              <a:buNone/>
            </a:pPr>
            <a:r>
              <a:rPr lang="en-SG" sz="1100"/>
              <a:t>We accept H0, Ridership during midweek &lt;= Ridership not during midweek</a:t>
            </a:r>
            <a:endParaRPr lang="en-US" sz="1100">
              <a:ea typeface="+mn-lt"/>
              <a:cs typeface="+mn-lt"/>
            </a:endParaRPr>
          </a:p>
          <a:p>
            <a:pPr>
              <a:buNone/>
            </a:pPr>
            <a:r>
              <a:rPr lang="en-SG" sz="1100"/>
              <a:t>Insights: There is </a:t>
            </a:r>
            <a:r>
              <a:rPr lang="en-SG" sz="1100">
                <a:solidFill>
                  <a:srgbClr val="FF0000"/>
                </a:solidFill>
              </a:rPr>
              <a:t>no correlation</a:t>
            </a:r>
            <a:r>
              <a:rPr lang="en-SG" sz="1100"/>
              <a:t> that total riders will increase during the midweek</a:t>
            </a:r>
          </a:p>
          <a:p>
            <a:pPr>
              <a:buNone/>
            </a:pPr>
            <a:endParaRPr lang="en-SG" sz="1100"/>
          </a:p>
          <a:p>
            <a:pPr>
              <a:buNone/>
            </a:pPr>
            <a:r>
              <a:rPr lang="en-SG" sz="1100"/>
              <a:t>Holiday flag </a:t>
            </a:r>
            <a:r>
              <a:rPr lang="en-SG" sz="1100" err="1"/>
              <a:t>pvalue</a:t>
            </a:r>
            <a:r>
              <a:rPr lang="en-SG" sz="1100"/>
              <a:t> &lt; 0.05</a:t>
            </a:r>
            <a:endParaRPr lang="en-US" sz="1100">
              <a:ea typeface="+mn-lt"/>
              <a:cs typeface="+mn-lt"/>
            </a:endParaRPr>
          </a:p>
          <a:p>
            <a:pPr>
              <a:buNone/>
            </a:pPr>
            <a:r>
              <a:rPr lang="en-SG" sz="1100"/>
              <a:t>We reject H0 and accept H1, Ridership during holiday &gt; Ridership not during holiday</a:t>
            </a:r>
            <a:endParaRPr lang="en-US" sz="1100">
              <a:ea typeface="+mn-lt"/>
              <a:cs typeface="+mn-lt"/>
            </a:endParaRPr>
          </a:p>
          <a:p>
            <a:pPr>
              <a:buNone/>
            </a:pPr>
            <a:r>
              <a:rPr lang="en-SG" sz="1100"/>
              <a:t>Insights: There is a significant correlation that total riders will increase when it is on a holiday</a:t>
            </a:r>
          </a:p>
          <a:p>
            <a:pPr>
              <a:buNone/>
            </a:pPr>
            <a:endParaRPr lang="en-SG" sz="1100"/>
          </a:p>
          <a:p>
            <a:pPr>
              <a:buNone/>
            </a:pPr>
            <a:r>
              <a:rPr lang="en-SG" sz="1100">
                <a:ea typeface="+mn-lt"/>
                <a:cs typeface="+mn-lt"/>
              </a:rPr>
              <a:t>weekday holiday flag </a:t>
            </a:r>
            <a:r>
              <a:rPr lang="en-SG" sz="1100" err="1">
                <a:ea typeface="+mn-lt"/>
                <a:cs typeface="+mn-lt"/>
              </a:rPr>
              <a:t>pvalue</a:t>
            </a:r>
            <a:r>
              <a:rPr lang="en-SG" sz="1100">
                <a:ea typeface="+mn-lt"/>
                <a:cs typeface="+mn-lt"/>
              </a:rPr>
              <a:t> &lt; 0.05</a:t>
            </a:r>
            <a:endParaRPr lang="en-US" sz="1100">
              <a:ea typeface="+mn-lt"/>
              <a:cs typeface="+mn-lt"/>
            </a:endParaRPr>
          </a:p>
          <a:p>
            <a:pPr>
              <a:buNone/>
            </a:pPr>
            <a:r>
              <a:rPr lang="en-SG" sz="1100">
                <a:ea typeface="+mn-lt"/>
                <a:cs typeface="+mn-lt"/>
              </a:rPr>
              <a:t>We reject H0 and accept H1, Ridership during weekday holiday &gt; Ridership not during weekday holiday</a:t>
            </a:r>
            <a:endParaRPr lang="en-US" sz="1100">
              <a:ea typeface="+mn-lt"/>
              <a:cs typeface="+mn-lt"/>
            </a:endParaRPr>
          </a:p>
          <a:p>
            <a:pPr>
              <a:buNone/>
            </a:pPr>
            <a:r>
              <a:rPr lang="en-SG" sz="1100">
                <a:ea typeface="+mn-lt"/>
                <a:cs typeface="+mn-lt"/>
              </a:rPr>
              <a:t>Insights: There is a significant correlation that total riders will increase when it is on a holiday during the weekday</a:t>
            </a:r>
          </a:p>
          <a:p>
            <a:pPr>
              <a:buNone/>
            </a:pPr>
            <a:endParaRPr lang="en-SG" sz="1100"/>
          </a:p>
          <a:p>
            <a:pPr>
              <a:buNone/>
            </a:pPr>
            <a:r>
              <a:rPr lang="en-SG" sz="1100"/>
              <a:t>weekend holiday flag </a:t>
            </a:r>
            <a:r>
              <a:rPr lang="en-SG" sz="1100" err="1"/>
              <a:t>pvalue</a:t>
            </a:r>
            <a:r>
              <a:rPr lang="en-SG" sz="1100"/>
              <a:t> &lt; 0.05</a:t>
            </a:r>
            <a:endParaRPr lang="en-US" sz="1100">
              <a:ea typeface="+mn-lt"/>
              <a:cs typeface="+mn-lt"/>
            </a:endParaRPr>
          </a:p>
          <a:p>
            <a:pPr>
              <a:buNone/>
            </a:pPr>
            <a:r>
              <a:rPr lang="en-SG" sz="1100"/>
              <a:t>We reject H0 and accept H1, Ridership during weekend holiday &gt; Ridership not during weekend holiday</a:t>
            </a:r>
            <a:endParaRPr lang="en-US" sz="1100">
              <a:ea typeface="+mn-lt"/>
              <a:cs typeface="+mn-lt"/>
            </a:endParaRPr>
          </a:p>
          <a:p>
            <a:pPr>
              <a:buNone/>
            </a:pPr>
            <a:r>
              <a:rPr lang="en-SG" sz="1100"/>
              <a:t>Insights: There is a significant correlation that total riders will increase when it is on a holiday during the weekends</a:t>
            </a:r>
            <a:endParaRPr lang="en-SG"/>
          </a:p>
        </p:txBody>
      </p:sp>
      <p:pic>
        <p:nvPicPr>
          <p:cNvPr id="4" name="Picture 4">
            <a:extLst>
              <a:ext uri="{FF2B5EF4-FFF2-40B4-BE49-F238E27FC236}">
                <a16:creationId xmlns:a16="http://schemas.microsoft.com/office/drawing/2014/main" id="{46E58862-E3FD-4841-8757-18ED8AB46909}"/>
              </a:ext>
            </a:extLst>
          </p:cNvPr>
          <p:cNvPicPr>
            <a:picLocks noChangeAspect="1"/>
          </p:cNvPicPr>
          <p:nvPr/>
        </p:nvPicPr>
        <p:blipFill>
          <a:blip r:embed="rId2"/>
          <a:stretch>
            <a:fillRect/>
          </a:stretch>
        </p:blipFill>
        <p:spPr>
          <a:xfrm>
            <a:off x="6028267" y="1140573"/>
            <a:ext cx="6163733" cy="1672787"/>
          </a:xfrm>
          <a:prstGeom prst="rect">
            <a:avLst/>
          </a:prstGeom>
        </p:spPr>
      </p:pic>
    </p:spTree>
    <p:extLst>
      <p:ext uri="{BB962C8B-B14F-4D97-AF65-F5344CB8AC3E}">
        <p14:creationId xmlns:p14="http://schemas.microsoft.com/office/powerpoint/2010/main" val="744992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9826-9E79-4999-9783-F530944DD31E}"/>
              </a:ext>
            </a:extLst>
          </p:cNvPr>
          <p:cNvSpPr>
            <a:spLocks noGrp="1"/>
          </p:cNvSpPr>
          <p:nvPr>
            <p:ph type="title"/>
          </p:nvPr>
        </p:nvSpPr>
        <p:spPr>
          <a:xfrm>
            <a:off x="259583" y="125384"/>
            <a:ext cx="3895434" cy="470898"/>
          </a:xfrm>
        </p:spPr>
        <p:txBody>
          <a:bodyPr/>
          <a:lstStyle/>
          <a:p>
            <a:r>
              <a:rPr lang="en-US"/>
              <a:t>Modelling Appendix</a:t>
            </a:r>
          </a:p>
        </p:txBody>
      </p:sp>
      <p:pic>
        <p:nvPicPr>
          <p:cNvPr id="3" name="Picture 3" descr="Chart, histogram&#10;&#10;Description automatically generated">
            <a:extLst>
              <a:ext uri="{FF2B5EF4-FFF2-40B4-BE49-F238E27FC236}">
                <a16:creationId xmlns:a16="http://schemas.microsoft.com/office/drawing/2014/main" id="{20B35CB3-36DD-49EE-954D-E122673D5070}"/>
              </a:ext>
            </a:extLst>
          </p:cNvPr>
          <p:cNvPicPr>
            <a:picLocks noChangeAspect="1"/>
          </p:cNvPicPr>
          <p:nvPr/>
        </p:nvPicPr>
        <p:blipFill>
          <a:blip r:embed="rId2"/>
          <a:stretch>
            <a:fillRect/>
          </a:stretch>
        </p:blipFill>
        <p:spPr>
          <a:xfrm>
            <a:off x="259324" y="1020075"/>
            <a:ext cx="5547783" cy="5348432"/>
          </a:xfrm>
          <a:prstGeom prst="rect">
            <a:avLst/>
          </a:prstGeom>
        </p:spPr>
      </p:pic>
      <p:pic>
        <p:nvPicPr>
          <p:cNvPr id="4" name="Picture 4" descr="A picture containing graphical user interface&#10;&#10;Description automatically generated">
            <a:extLst>
              <a:ext uri="{FF2B5EF4-FFF2-40B4-BE49-F238E27FC236}">
                <a16:creationId xmlns:a16="http://schemas.microsoft.com/office/drawing/2014/main" id="{77A06809-46E8-4104-8CC2-39B3E44D4271}"/>
              </a:ext>
            </a:extLst>
          </p:cNvPr>
          <p:cNvPicPr>
            <a:picLocks noChangeAspect="1"/>
          </p:cNvPicPr>
          <p:nvPr/>
        </p:nvPicPr>
        <p:blipFill>
          <a:blip r:embed="rId3"/>
          <a:stretch>
            <a:fillRect/>
          </a:stretch>
        </p:blipFill>
        <p:spPr>
          <a:xfrm>
            <a:off x="6410532" y="999348"/>
            <a:ext cx="5219700" cy="5342755"/>
          </a:xfrm>
          <a:prstGeom prst="rect">
            <a:avLst/>
          </a:prstGeom>
        </p:spPr>
      </p:pic>
    </p:spTree>
    <p:extLst>
      <p:ext uri="{BB962C8B-B14F-4D97-AF65-F5344CB8AC3E}">
        <p14:creationId xmlns:p14="http://schemas.microsoft.com/office/powerpoint/2010/main" val="1602317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9826-9E79-4999-9783-F530944DD31E}"/>
              </a:ext>
            </a:extLst>
          </p:cNvPr>
          <p:cNvSpPr>
            <a:spLocks noGrp="1"/>
          </p:cNvSpPr>
          <p:nvPr>
            <p:ph type="title"/>
          </p:nvPr>
        </p:nvSpPr>
        <p:spPr>
          <a:xfrm>
            <a:off x="259583" y="125384"/>
            <a:ext cx="3895434" cy="470898"/>
          </a:xfrm>
        </p:spPr>
        <p:txBody>
          <a:bodyPr/>
          <a:lstStyle/>
          <a:p>
            <a:r>
              <a:rPr lang="en-US"/>
              <a:t>Modelling Appendix</a:t>
            </a:r>
          </a:p>
        </p:txBody>
      </p:sp>
      <p:pic>
        <p:nvPicPr>
          <p:cNvPr id="4" name="Picture 4" descr="Graphical user interface, text, application, email&#10;&#10;Description automatically generated">
            <a:extLst>
              <a:ext uri="{FF2B5EF4-FFF2-40B4-BE49-F238E27FC236}">
                <a16:creationId xmlns:a16="http://schemas.microsoft.com/office/drawing/2014/main" id="{0633DDFD-C6E4-49AC-8FC0-3B3F14495A9E}"/>
              </a:ext>
            </a:extLst>
          </p:cNvPr>
          <p:cNvPicPr>
            <a:picLocks noChangeAspect="1"/>
          </p:cNvPicPr>
          <p:nvPr/>
        </p:nvPicPr>
        <p:blipFill>
          <a:blip r:embed="rId2"/>
          <a:stretch>
            <a:fillRect/>
          </a:stretch>
        </p:blipFill>
        <p:spPr>
          <a:xfrm>
            <a:off x="173566" y="1268754"/>
            <a:ext cx="5600700" cy="3801908"/>
          </a:xfrm>
          <a:prstGeom prst="rect">
            <a:avLst/>
          </a:prstGeom>
        </p:spPr>
      </p:pic>
      <p:pic>
        <p:nvPicPr>
          <p:cNvPr id="5" name="Picture 5" descr="Chart&#10;&#10;Description automatically generated">
            <a:extLst>
              <a:ext uri="{FF2B5EF4-FFF2-40B4-BE49-F238E27FC236}">
                <a16:creationId xmlns:a16="http://schemas.microsoft.com/office/drawing/2014/main" id="{3B6F7F7B-D3FB-4B64-A663-FE7B75E2A8B0}"/>
              </a:ext>
            </a:extLst>
          </p:cNvPr>
          <p:cNvPicPr>
            <a:picLocks noChangeAspect="1"/>
          </p:cNvPicPr>
          <p:nvPr/>
        </p:nvPicPr>
        <p:blipFill>
          <a:blip r:embed="rId3"/>
          <a:stretch>
            <a:fillRect/>
          </a:stretch>
        </p:blipFill>
        <p:spPr>
          <a:xfrm>
            <a:off x="6100234" y="1268386"/>
            <a:ext cx="5939366" cy="5358395"/>
          </a:xfrm>
          <a:prstGeom prst="rect">
            <a:avLst/>
          </a:prstGeom>
        </p:spPr>
      </p:pic>
    </p:spTree>
    <p:extLst>
      <p:ext uri="{BB962C8B-B14F-4D97-AF65-F5344CB8AC3E}">
        <p14:creationId xmlns:p14="http://schemas.microsoft.com/office/powerpoint/2010/main" val="1042141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9826-9E79-4999-9783-F530944DD31E}"/>
              </a:ext>
            </a:extLst>
          </p:cNvPr>
          <p:cNvSpPr>
            <a:spLocks noGrp="1"/>
          </p:cNvSpPr>
          <p:nvPr>
            <p:ph type="title"/>
          </p:nvPr>
        </p:nvSpPr>
        <p:spPr>
          <a:xfrm>
            <a:off x="259583" y="125384"/>
            <a:ext cx="3895434" cy="470898"/>
          </a:xfrm>
        </p:spPr>
        <p:txBody>
          <a:bodyPr/>
          <a:lstStyle/>
          <a:p>
            <a:r>
              <a:rPr lang="en-US"/>
              <a:t>Modelling Appendix</a:t>
            </a:r>
          </a:p>
        </p:txBody>
      </p:sp>
      <p:pic>
        <p:nvPicPr>
          <p:cNvPr id="10" name="Picture 10" descr="Graphical user interface, chart&#10;&#10;Description automatically generated">
            <a:extLst>
              <a:ext uri="{FF2B5EF4-FFF2-40B4-BE49-F238E27FC236}">
                <a16:creationId xmlns:a16="http://schemas.microsoft.com/office/drawing/2014/main" id="{676266AD-39DD-4C63-AC43-FBDA958C8BFA}"/>
              </a:ext>
            </a:extLst>
          </p:cNvPr>
          <p:cNvPicPr>
            <a:picLocks noChangeAspect="1"/>
          </p:cNvPicPr>
          <p:nvPr/>
        </p:nvPicPr>
        <p:blipFill>
          <a:blip r:embed="rId2"/>
          <a:stretch>
            <a:fillRect/>
          </a:stretch>
        </p:blipFill>
        <p:spPr>
          <a:xfrm>
            <a:off x="258233" y="805565"/>
            <a:ext cx="8828615" cy="5924202"/>
          </a:xfrm>
          <a:prstGeom prst="rect">
            <a:avLst/>
          </a:prstGeom>
        </p:spPr>
      </p:pic>
    </p:spTree>
    <p:extLst>
      <p:ext uri="{BB962C8B-B14F-4D97-AF65-F5344CB8AC3E}">
        <p14:creationId xmlns:p14="http://schemas.microsoft.com/office/powerpoint/2010/main" val="426360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hart, histogram&#10;&#10;Description automatically generated">
            <a:extLst>
              <a:ext uri="{FF2B5EF4-FFF2-40B4-BE49-F238E27FC236}">
                <a16:creationId xmlns:a16="http://schemas.microsoft.com/office/drawing/2014/main" id="{809C533A-AFC0-4A50-BB53-AD1A504EB8AA}"/>
              </a:ext>
            </a:extLst>
          </p:cNvPr>
          <p:cNvPicPr>
            <a:picLocks noChangeAspect="1"/>
          </p:cNvPicPr>
          <p:nvPr/>
        </p:nvPicPr>
        <p:blipFill>
          <a:blip r:embed="rId2"/>
          <a:stretch>
            <a:fillRect/>
          </a:stretch>
        </p:blipFill>
        <p:spPr>
          <a:xfrm>
            <a:off x="861483" y="891919"/>
            <a:ext cx="9453033" cy="4640244"/>
          </a:xfrm>
          <a:prstGeom prst="rect">
            <a:avLst/>
          </a:prstGeom>
        </p:spPr>
      </p:pic>
      <p:pic>
        <p:nvPicPr>
          <p:cNvPr id="6" name="Picture 6">
            <a:extLst>
              <a:ext uri="{FF2B5EF4-FFF2-40B4-BE49-F238E27FC236}">
                <a16:creationId xmlns:a16="http://schemas.microsoft.com/office/drawing/2014/main" id="{6A9FCBE7-1CC3-44E4-81F0-428DD3F70CFC}"/>
              </a:ext>
            </a:extLst>
          </p:cNvPr>
          <p:cNvPicPr>
            <a:picLocks noChangeAspect="1"/>
          </p:cNvPicPr>
          <p:nvPr/>
        </p:nvPicPr>
        <p:blipFill>
          <a:blip r:embed="rId3"/>
          <a:stretch>
            <a:fillRect/>
          </a:stretch>
        </p:blipFill>
        <p:spPr>
          <a:xfrm>
            <a:off x="861483" y="5582165"/>
            <a:ext cx="9453033" cy="943003"/>
          </a:xfrm>
          <a:prstGeom prst="rect">
            <a:avLst/>
          </a:prstGeom>
        </p:spPr>
      </p:pic>
      <p:sp>
        <p:nvSpPr>
          <p:cNvPr id="8" name="Title 1">
            <a:extLst>
              <a:ext uri="{FF2B5EF4-FFF2-40B4-BE49-F238E27FC236}">
                <a16:creationId xmlns:a16="http://schemas.microsoft.com/office/drawing/2014/main" id="{38EF7586-1E62-49DF-BFC5-73CC01BB83D6}"/>
              </a:ext>
            </a:extLst>
          </p:cNvPr>
          <p:cNvSpPr>
            <a:spLocks noGrp="1"/>
          </p:cNvSpPr>
          <p:nvPr>
            <p:ph type="title"/>
          </p:nvPr>
        </p:nvSpPr>
        <p:spPr>
          <a:xfrm>
            <a:off x="312500" y="188884"/>
            <a:ext cx="3895434" cy="470898"/>
          </a:xfrm>
        </p:spPr>
        <p:txBody>
          <a:bodyPr/>
          <a:lstStyle/>
          <a:p>
            <a:r>
              <a:rPr lang="en-US"/>
              <a:t>Modelling Appendix</a:t>
            </a:r>
          </a:p>
        </p:txBody>
      </p:sp>
    </p:spTree>
    <p:extLst>
      <p:ext uri="{BB962C8B-B14F-4D97-AF65-F5344CB8AC3E}">
        <p14:creationId xmlns:p14="http://schemas.microsoft.com/office/powerpoint/2010/main" val="1823296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9826-9E79-4999-9783-F530944DD31E}"/>
              </a:ext>
            </a:extLst>
          </p:cNvPr>
          <p:cNvSpPr>
            <a:spLocks noGrp="1"/>
          </p:cNvSpPr>
          <p:nvPr>
            <p:ph type="title"/>
          </p:nvPr>
        </p:nvSpPr>
        <p:spPr>
          <a:xfrm>
            <a:off x="249000" y="178300"/>
            <a:ext cx="3958934" cy="470898"/>
          </a:xfrm>
        </p:spPr>
        <p:txBody>
          <a:bodyPr/>
          <a:lstStyle/>
          <a:p>
            <a:r>
              <a:rPr lang="en-US"/>
              <a:t>Modelling Appendix</a:t>
            </a:r>
          </a:p>
        </p:txBody>
      </p:sp>
      <p:pic>
        <p:nvPicPr>
          <p:cNvPr id="4" name="Picture 4" descr="Chart&#10;&#10;Description automatically generated">
            <a:extLst>
              <a:ext uri="{FF2B5EF4-FFF2-40B4-BE49-F238E27FC236}">
                <a16:creationId xmlns:a16="http://schemas.microsoft.com/office/drawing/2014/main" id="{5077707B-414C-42AA-B330-0167CEF42AD3}"/>
              </a:ext>
            </a:extLst>
          </p:cNvPr>
          <p:cNvPicPr>
            <a:picLocks noChangeAspect="1"/>
          </p:cNvPicPr>
          <p:nvPr/>
        </p:nvPicPr>
        <p:blipFill>
          <a:blip r:embed="rId2"/>
          <a:stretch>
            <a:fillRect/>
          </a:stretch>
        </p:blipFill>
        <p:spPr>
          <a:xfrm>
            <a:off x="247649" y="709507"/>
            <a:ext cx="8691032" cy="5968152"/>
          </a:xfrm>
          <a:prstGeom prst="rect">
            <a:avLst/>
          </a:prstGeom>
        </p:spPr>
      </p:pic>
    </p:spTree>
    <p:extLst>
      <p:ext uri="{BB962C8B-B14F-4D97-AF65-F5344CB8AC3E}">
        <p14:creationId xmlns:p14="http://schemas.microsoft.com/office/powerpoint/2010/main" val="2528704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4C6C106-B386-4A2E-81E6-1F3F086FEAC0}"/>
              </a:ext>
            </a:extLst>
          </p:cNvPr>
          <p:cNvGrpSpPr/>
          <p:nvPr/>
        </p:nvGrpSpPr>
        <p:grpSpPr>
          <a:xfrm>
            <a:off x="244573" y="5641438"/>
            <a:ext cx="8317629" cy="951727"/>
            <a:chOff x="6848572" y="3863437"/>
            <a:chExt cx="5269629" cy="602477"/>
          </a:xfrm>
        </p:grpSpPr>
        <p:pic>
          <p:nvPicPr>
            <p:cNvPr id="6" name="Picture 5">
              <a:extLst>
                <a:ext uri="{FF2B5EF4-FFF2-40B4-BE49-F238E27FC236}">
                  <a16:creationId xmlns:a16="http://schemas.microsoft.com/office/drawing/2014/main" id="{403F2A95-E655-4F3E-AA55-9C7C28F67C77}"/>
                </a:ext>
              </a:extLst>
            </p:cNvPr>
            <p:cNvPicPr>
              <a:picLocks noChangeAspect="1"/>
            </p:cNvPicPr>
            <p:nvPr/>
          </p:nvPicPr>
          <p:blipFill>
            <a:blip r:embed="rId2"/>
            <a:stretch>
              <a:fillRect/>
            </a:stretch>
          </p:blipFill>
          <p:spPr>
            <a:xfrm>
              <a:off x="6850877" y="3863437"/>
              <a:ext cx="5267324" cy="598760"/>
            </a:xfrm>
            <a:prstGeom prst="rect">
              <a:avLst/>
            </a:prstGeom>
          </p:spPr>
        </p:pic>
        <p:sp>
          <p:nvSpPr>
            <p:cNvPr id="7" name="Rectangle 6">
              <a:extLst>
                <a:ext uri="{FF2B5EF4-FFF2-40B4-BE49-F238E27FC236}">
                  <a16:creationId xmlns:a16="http://schemas.microsoft.com/office/drawing/2014/main" id="{448DCFB8-0BB7-4818-BFA7-52EE275AEB29}"/>
                </a:ext>
              </a:extLst>
            </p:cNvPr>
            <p:cNvSpPr/>
            <p:nvPr/>
          </p:nvSpPr>
          <p:spPr>
            <a:xfrm>
              <a:off x="6848572" y="3864334"/>
              <a:ext cx="771606" cy="58445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rgbClr val="FFFFFF"/>
                </a:solidFill>
              </a:endParaRPr>
            </a:p>
          </p:txBody>
        </p:sp>
        <p:sp>
          <p:nvSpPr>
            <p:cNvPr id="8" name="Rectangle 7">
              <a:extLst>
                <a:ext uri="{FF2B5EF4-FFF2-40B4-BE49-F238E27FC236}">
                  <a16:creationId xmlns:a16="http://schemas.microsoft.com/office/drawing/2014/main" id="{09412181-5062-449B-9180-7019A8119B2C}"/>
                </a:ext>
              </a:extLst>
            </p:cNvPr>
            <p:cNvSpPr/>
            <p:nvPr/>
          </p:nvSpPr>
          <p:spPr>
            <a:xfrm>
              <a:off x="11103785" y="3872895"/>
              <a:ext cx="514753" cy="593019"/>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rgbClr val="FFFFFF"/>
                </a:solidFill>
              </a:endParaRPr>
            </a:p>
          </p:txBody>
        </p:sp>
      </p:grpSp>
      <p:pic>
        <p:nvPicPr>
          <p:cNvPr id="5" name="Picture 4" descr="Chart&#10;&#10;Description automatically generated">
            <a:extLst>
              <a:ext uri="{FF2B5EF4-FFF2-40B4-BE49-F238E27FC236}">
                <a16:creationId xmlns:a16="http://schemas.microsoft.com/office/drawing/2014/main" id="{B95C723D-080B-423A-BEDF-8046FB191CAA}"/>
              </a:ext>
            </a:extLst>
          </p:cNvPr>
          <p:cNvPicPr>
            <a:picLocks noChangeAspect="1"/>
          </p:cNvPicPr>
          <p:nvPr/>
        </p:nvPicPr>
        <p:blipFill>
          <a:blip r:embed="rId3"/>
          <a:stretch>
            <a:fillRect/>
          </a:stretch>
        </p:blipFill>
        <p:spPr>
          <a:xfrm>
            <a:off x="245005" y="788825"/>
            <a:ext cx="9733491" cy="4796163"/>
          </a:xfrm>
          <a:prstGeom prst="rect">
            <a:avLst/>
          </a:prstGeom>
        </p:spPr>
      </p:pic>
      <p:sp>
        <p:nvSpPr>
          <p:cNvPr id="10" name="Title 1">
            <a:extLst>
              <a:ext uri="{FF2B5EF4-FFF2-40B4-BE49-F238E27FC236}">
                <a16:creationId xmlns:a16="http://schemas.microsoft.com/office/drawing/2014/main" id="{5867374F-5434-4E13-812F-03FB0E588491}"/>
              </a:ext>
            </a:extLst>
          </p:cNvPr>
          <p:cNvSpPr>
            <a:spLocks noGrp="1"/>
          </p:cNvSpPr>
          <p:nvPr>
            <p:ph type="title"/>
          </p:nvPr>
        </p:nvSpPr>
        <p:spPr>
          <a:xfrm>
            <a:off x="249000" y="178300"/>
            <a:ext cx="3958934" cy="470898"/>
          </a:xfrm>
        </p:spPr>
        <p:txBody>
          <a:bodyPr/>
          <a:lstStyle/>
          <a:p>
            <a:r>
              <a:rPr lang="en-US"/>
              <a:t>Modelling Appendix</a:t>
            </a:r>
          </a:p>
        </p:txBody>
      </p:sp>
    </p:spTree>
    <p:extLst>
      <p:ext uri="{BB962C8B-B14F-4D97-AF65-F5344CB8AC3E}">
        <p14:creationId xmlns:p14="http://schemas.microsoft.com/office/powerpoint/2010/main" val="3685283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BA6FC9-3E84-4265-B70C-399DAFB6D0A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20FF41DC-CA7F-44D8-91AA-AB3AD5D711C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61222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EE4F4-60D4-46CA-A79F-1CD22235EEA0}"/>
              </a:ext>
            </a:extLst>
          </p:cNvPr>
          <p:cNvSpPr>
            <a:spLocks noGrp="1"/>
          </p:cNvSpPr>
          <p:nvPr>
            <p:ph type="title"/>
          </p:nvPr>
        </p:nvSpPr>
        <p:spPr/>
        <p:txBody>
          <a:bodyPr/>
          <a:lstStyle/>
          <a:p>
            <a:endParaRPr lang="en-SG"/>
          </a:p>
        </p:txBody>
      </p:sp>
      <p:sp>
        <p:nvSpPr>
          <p:cNvPr id="3" name="Text Placeholder 2">
            <a:extLst>
              <a:ext uri="{FF2B5EF4-FFF2-40B4-BE49-F238E27FC236}">
                <a16:creationId xmlns:a16="http://schemas.microsoft.com/office/drawing/2014/main" id="{3AAD55FA-63B7-4DBA-8DC0-293DEF7C309C}"/>
              </a:ext>
            </a:extLst>
          </p:cNvPr>
          <p:cNvSpPr>
            <a:spLocks noGrp="1"/>
          </p:cNvSpPr>
          <p:nvPr>
            <p:ph type="body" sz="quarter" idx="10"/>
          </p:nvPr>
        </p:nvSpPr>
        <p:spPr/>
        <p:txBody>
          <a:bodyPr vert="horz" lIns="0" tIns="0" rIns="0" bIns="0" rtlCol="0" anchor="t">
            <a:noAutofit/>
          </a:bodyPr>
          <a:lstStyle/>
          <a:p>
            <a:r>
              <a:rPr lang="en-SG">
                <a:ea typeface="+mn-lt"/>
                <a:cs typeface="+mn-lt"/>
              </a:rPr>
              <a:t>Appendix: </a:t>
            </a:r>
            <a:endParaRPr lang="en-SG"/>
          </a:p>
          <a:p>
            <a:r>
              <a:rPr lang="en-SG">
                <a:ea typeface="+mn-lt"/>
                <a:cs typeface="+mn-lt"/>
              </a:rPr>
              <a:t>- Additional EDA Graphs (Hypothesis Testing)</a:t>
            </a:r>
            <a:endParaRPr lang="en-SG"/>
          </a:p>
          <a:p>
            <a:r>
              <a:rPr lang="en-SG">
                <a:ea typeface="+mn-lt"/>
                <a:cs typeface="+mn-lt"/>
              </a:rPr>
              <a:t>- Additional Time Series model, including the variation of parameters</a:t>
            </a:r>
            <a:endParaRPr lang="en-SG"/>
          </a:p>
          <a:p>
            <a:endParaRPr lang="en-SG"/>
          </a:p>
        </p:txBody>
      </p:sp>
    </p:spTree>
    <p:extLst>
      <p:ext uri="{BB962C8B-B14F-4D97-AF65-F5344CB8AC3E}">
        <p14:creationId xmlns:p14="http://schemas.microsoft.com/office/powerpoint/2010/main" val="136525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A2505BE-1A50-4419-9F3A-26EF66EDBF4F}"/>
              </a:ext>
            </a:extLst>
          </p:cNvPr>
          <p:cNvSpPr txBox="1"/>
          <p:nvPr/>
        </p:nvSpPr>
        <p:spPr>
          <a:xfrm>
            <a:off x="689610" y="2828835"/>
            <a:ext cx="10812780" cy="107721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42900" indent="-342900" algn="ctr"/>
            <a:r>
              <a:rPr lang="en-US" sz="3200" b="1">
                <a:solidFill>
                  <a:schemeClr val="bg1"/>
                </a:solidFill>
                <a:ea typeface="+mn-lt"/>
                <a:cs typeface="+mn-lt"/>
              </a:rPr>
              <a:t>How might we provide better allocation of buses to routes/stops to cater for ridership demand? </a:t>
            </a:r>
          </a:p>
        </p:txBody>
      </p:sp>
    </p:spTree>
    <p:extLst>
      <p:ext uri="{BB962C8B-B14F-4D97-AF65-F5344CB8AC3E}">
        <p14:creationId xmlns:p14="http://schemas.microsoft.com/office/powerpoint/2010/main" val="2067521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60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060F76C-B373-4927-99B2-142375D34975}"/>
              </a:ext>
            </a:extLst>
          </p:cNvPr>
          <p:cNvGraphicFramePr>
            <a:graphicFrameLocks noChangeAspect="1"/>
          </p:cNvGraphicFramePr>
          <p:nvPr>
            <p:custDataLst>
              <p:tags r:id="rId2"/>
            </p:custDataLst>
            <p:extLst>
              <p:ext uri="{D42A27DB-BD31-4B8C-83A1-F6EECF244321}">
                <p14:modId xmlns:p14="http://schemas.microsoft.com/office/powerpoint/2010/main" val="3188463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0"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C3F6C5B1-254F-4FE6-BDCC-5FB9103008E3}"/>
              </a:ext>
            </a:extLst>
          </p:cNvPr>
          <p:cNvSpPr txBox="1"/>
          <p:nvPr/>
        </p:nvSpPr>
        <p:spPr>
          <a:xfrm>
            <a:off x="7134418" y="2480952"/>
            <a:ext cx="4799339" cy="36834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rgbClr val="DF2A6F"/>
              </a:buClr>
              <a:buSzPct val="100000"/>
              <a:buFont typeface="Trebuchet MS" panose="020B0603020202020204" pitchFamily="34" charset="0"/>
              <a:buChar char="​"/>
            </a:pPr>
            <a:r>
              <a:rPr lang="en-US" sz="1200">
                <a:solidFill>
                  <a:srgbClr val="002060"/>
                </a:solidFill>
                <a:latin typeface="Trebuchet MS"/>
              </a:rPr>
              <a:t>- </a:t>
            </a:r>
            <a:r>
              <a:rPr lang="en-US" sz="1200">
                <a:solidFill>
                  <a:srgbClr val="002060"/>
                </a:solidFill>
                <a:latin typeface="+mj-lt"/>
              </a:rPr>
              <a:t>3 month data -  the time series model requires a longer time data (preferably a year) in order to give more accurate predictions. </a:t>
            </a:r>
          </a:p>
          <a:p>
            <a:pPr>
              <a:buClr>
                <a:srgbClr val="DF2A6F"/>
              </a:buClr>
              <a:buSzPct val="100000"/>
              <a:buFont typeface="Trebuchet MS" panose="020B0603020202020204" pitchFamily="34" charset="0"/>
              <a:buChar char="​"/>
            </a:pPr>
            <a:r>
              <a:rPr lang="en-US" sz="1200">
                <a:solidFill>
                  <a:srgbClr val="002060"/>
                </a:solidFill>
                <a:latin typeface="+mj-lt"/>
              </a:rPr>
              <a:t>- </a:t>
            </a:r>
            <a:r>
              <a:rPr lang="en-US" sz="1200">
                <a:solidFill>
                  <a:srgbClr val="002060"/>
                </a:solidFill>
                <a:latin typeface="+mj-lt"/>
                <a:cs typeface="Arial"/>
              </a:rPr>
              <a:t>Bus scanners – lack of accurate person to person scanning, </a:t>
            </a:r>
            <a:r>
              <a:rPr lang="en-SG" sz="1200">
                <a:solidFill>
                  <a:srgbClr val="002060"/>
                </a:solidFill>
                <a:effectLst/>
                <a:latin typeface="+mj-lt"/>
                <a:ea typeface="Calibri" panose="020F0502020204030204" pitchFamily="34" charset="0"/>
                <a:cs typeface="Arial"/>
              </a:rPr>
              <a:t>don’t know actual in and out form scanner. No ticket issued.</a:t>
            </a:r>
            <a:endParaRPr lang="en-US" sz="1200">
              <a:solidFill>
                <a:srgbClr val="002060"/>
              </a:solidFill>
              <a:latin typeface="+mj-lt"/>
              <a:cs typeface="Arial"/>
            </a:endParaRPr>
          </a:p>
          <a:p>
            <a:pPr>
              <a:buClr>
                <a:srgbClr val="DF2A6F"/>
              </a:buClr>
              <a:buSzPct val="100000"/>
              <a:buFont typeface="Trebuchet MS" panose="020B0603020202020204" pitchFamily="34" charset="0"/>
              <a:buChar char="​"/>
            </a:pPr>
            <a:r>
              <a:rPr lang="en-US" sz="1200">
                <a:solidFill>
                  <a:srgbClr val="002060"/>
                </a:solidFill>
                <a:latin typeface="+mj-lt"/>
              </a:rPr>
              <a:t>- Bus stops and bus routes cannot be removed. </a:t>
            </a:r>
          </a:p>
          <a:p>
            <a:pPr>
              <a:buClr>
                <a:srgbClr val="DF2A6F"/>
              </a:buClr>
              <a:buSzPct val="100000"/>
              <a:buFont typeface="Trebuchet MS" panose="020B0603020202020204" pitchFamily="34" charset="0"/>
              <a:buChar char="​"/>
            </a:pPr>
            <a:r>
              <a:rPr lang="en-US" sz="1200">
                <a:solidFill>
                  <a:srgbClr val="002060"/>
                </a:solidFill>
                <a:latin typeface="+mj-lt"/>
              </a:rPr>
              <a:t>- No baseline on customer satisfaction rating </a:t>
            </a:r>
          </a:p>
          <a:p>
            <a:pPr>
              <a:buClr>
                <a:srgbClr val="DF2A6F"/>
              </a:buClr>
              <a:buSzPct val="100000"/>
              <a:buFont typeface="Trebuchet MS" panose="020B0603020202020204" pitchFamily="34" charset="0"/>
              <a:buChar char="​"/>
            </a:pPr>
            <a:r>
              <a:rPr lang="en-US" sz="1200">
                <a:solidFill>
                  <a:srgbClr val="002060"/>
                </a:solidFill>
                <a:latin typeface="+mj-lt"/>
              </a:rPr>
              <a:t>- Limited dataset due to COVID-19 situation, number of tourist dropped</a:t>
            </a:r>
          </a:p>
          <a:p>
            <a:pPr>
              <a:buClr>
                <a:srgbClr val="DF2A6F"/>
              </a:buClr>
              <a:buSzPct val="100000"/>
              <a:buFont typeface="Trebuchet MS" panose="020B0603020202020204" pitchFamily="34" charset="0"/>
              <a:buChar char="​"/>
            </a:pPr>
            <a:endParaRPr lang="en-US" sz="1200">
              <a:solidFill>
                <a:srgbClr val="002060"/>
              </a:solidFill>
              <a:latin typeface="+mj-lt"/>
            </a:endParaRPr>
          </a:p>
          <a:p>
            <a:pPr>
              <a:buClr>
                <a:srgbClr val="DF2A6F"/>
              </a:buClr>
              <a:buSzPct val="100000"/>
              <a:buFont typeface="Trebuchet MS" panose="020B0603020202020204" pitchFamily="34" charset="0"/>
              <a:buChar char="​"/>
            </a:pPr>
            <a:r>
              <a:rPr lang="en-US" sz="1200">
                <a:solidFill>
                  <a:srgbClr val="002060"/>
                </a:solidFill>
                <a:latin typeface="+mj-lt"/>
              </a:rPr>
              <a:t>- Not possible to measure customer satisfaction when there is no measurement involved. </a:t>
            </a:r>
          </a:p>
          <a:p>
            <a:pPr>
              <a:buClr>
                <a:srgbClr val="DF2A6F"/>
              </a:buClr>
              <a:buSzPct val="100000"/>
              <a:buFont typeface="Trebuchet MS" panose="020B0603020202020204" pitchFamily="34" charset="0"/>
              <a:buChar char="​"/>
            </a:pPr>
            <a:r>
              <a:rPr lang="en-US" sz="1200">
                <a:solidFill>
                  <a:srgbClr val="002060"/>
                </a:solidFill>
                <a:ea typeface="+mn-lt"/>
                <a:cs typeface="+mn-lt"/>
              </a:rPr>
              <a:t>(Provided by SDC: Our guest satisfaction is based on the overall experience on the island. Transportation/ accessibility may somewhat influenced the overall experience. These may include the wait time for the buses, whether pax are able to board the bus, and the convenience of getting around the island.)</a:t>
            </a:r>
            <a:endParaRPr lang="en-US" sz="1200">
              <a:solidFill>
                <a:srgbClr val="002060"/>
              </a:solidFill>
              <a:latin typeface="+mj-lt"/>
            </a:endParaRPr>
          </a:p>
          <a:p>
            <a:pPr>
              <a:buClr>
                <a:srgbClr val="DF2A6F"/>
              </a:buClr>
              <a:buSzPct val="100000"/>
            </a:pPr>
            <a:endParaRPr lang="en-US" sz="1200">
              <a:solidFill>
                <a:srgbClr val="002060"/>
              </a:solidFill>
              <a:latin typeface="+mj-lt"/>
            </a:endParaRPr>
          </a:p>
          <a:p>
            <a:pPr>
              <a:buClr>
                <a:srgbClr val="DF2A6F"/>
              </a:buClr>
              <a:buSzPct val="100000"/>
              <a:buFont typeface="Trebuchet MS" panose="020B0603020202020204" pitchFamily="34" charset="0"/>
              <a:buChar char="​"/>
            </a:pPr>
            <a:endParaRPr lang="en-US" sz="1200">
              <a:solidFill>
                <a:srgbClr val="002060"/>
              </a:solidFill>
              <a:latin typeface="+mj-lt"/>
            </a:endParaRPr>
          </a:p>
          <a:p>
            <a:pPr>
              <a:buClr>
                <a:srgbClr val="DF2A6F"/>
              </a:buClr>
              <a:buSzPct val="100000"/>
              <a:buFont typeface="Trebuchet MS" panose="020B0603020202020204" pitchFamily="34" charset="0"/>
              <a:buChar char="​"/>
            </a:pPr>
            <a:endParaRPr lang="en-US" sz="1200">
              <a:solidFill>
                <a:srgbClr val="002060"/>
              </a:solidFill>
              <a:latin typeface="+mj-lt"/>
            </a:endParaRPr>
          </a:p>
        </p:txBody>
      </p:sp>
      <p:sp>
        <p:nvSpPr>
          <p:cNvPr id="7" name="TextBox 6">
            <a:extLst>
              <a:ext uri="{FF2B5EF4-FFF2-40B4-BE49-F238E27FC236}">
                <a16:creationId xmlns:a16="http://schemas.microsoft.com/office/drawing/2014/main" id="{E61FCFC1-D89A-45B3-AC51-C90F2B6D8A09}"/>
              </a:ext>
            </a:extLst>
          </p:cNvPr>
          <p:cNvSpPr txBox="1"/>
          <p:nvPr/>
        </p:nvSpPr>
        <p:spPr>
          <a:xfrm>
            <a:off x="558332" y="2639867"/>
            <a:ext cx="5175516" cy="10098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rgbClr val="DF2A6F"/>
              </a:buClr>
              <a:buSzPct val="100000"/>
              <a:buFont typeface="Trebuchet MS" panose="020B0603020202020204" pitchFamily="34" charset="0"/>
              <a:buChar char="​"/>
            </a:pPr>
            <a:r>
              <a:rPr lang="en-US" sz="1200">
                <a:solidFill>
                  <a:srgbClr val="575757"/>
                </a:solidFill>
                <a:latin typeface="Trebuchet MS"/>
              </a:rPr>
              <a:t>1) Total rider coming in and out are the same number. </a:t>
            </a:r>
            <a:endParaRPr lang="en-US" sz="1200">
              <a:solidFill>
                <a:srgbClr val="575757"/>
              </a:solidFill>
              <a:latin typeface="Trebuchet MS" panose="020B0603020202020204" pitchFamily="34" charset="0"/>
            </a:endParaRPr>
          </a:p>
          <a:p>
            <a:pPr>
              <a:buClr>
                <a:srgbClr val="DF2A6F"/>
              </a:buClr>
              <a:buSzPct val="100000"/>
              <a:buFont typeface="Trebuchet MS" panose="020B0603020202020204" pitchFamily="34" charset="0"/>
              <a:buChar char="​"/>
            </a:pPr>
            <a:r>
              <a:rPr lang="en-US" sz="1200">
                <a:solidFill>
                  <a:srgbClr val="575757"/>
                </a:solidFill>
                <a:latin typeface="Trebuchet MS"/>
              </a:rPr>
              <a:t>2) </a:t>
            </a:r>
            <a:r>
              <a:rPr lang="en-US" sz="1200">
                <a:solidFill>
                  <a:srgbClr val="002060"/>
                </a:solidFill>
                <a:ea typeface="+mn-lt"/>
                <a:cs typeface="+mn-lt"/>
              </a:rPr>
              <a:t>Not to focus on </a:t>
            </a:r>
            <a:r>
              <a:rPr lang="en-US" sz="1200" err="1">
                <a:solidFill>
                  <a:srgbClr val="002060"/>
                </a:solidFill>
                <a:ea typeface="+mn-lt"/>
                <a:cs typeface="+mn-lt"/>
              </a:rPr>
              <a:t>optimising</a:t>
            </a:r>
            <a:r>
              <a:rPr lang="en-US" sz="1200">
                <a:solidFill>
                  <a:srgbClr val="002060"/>
                </a:solidFill>
                <a:ea typeface="+mn-lt"/>
                <a:cs typeface="+mn-lt"/>
              </a:rPr>
              <a:t> operations of the business but providing a good prediction model to improve the bus frequency of bus stops</a:t>
            </a:r>
            <a:endParaRPr lang="en-US" sz="1200">
              <a:solidFill>
                <a:srgbClr val="FFFFFF"/>
              </a:solidFill>
              <a:ea typeface="+mn-lt"/>
              <a:cs typeface="+mn-lt"/>
            </a:endParaRPr>
          </a:p>
          <a:p>
            <a:pPr>
              <a:buClr>
                <a:srgbClr val="DF2A6F"/>
              </a:buClr>
              <a:buSzPct val="100000"/>
              <a:buFont typeface="Trebuchet MS" panose="020B0603020202020204" pitchFamily="34" charset="0"/>
              <a:buChar char="​"/>
            </a:pPr>
            <a:r>
              <a:rPr lang="en-US" sz="1200">
                <a:solidFill>
                  <a:srgbClr val="002060"/>
                </a:solidFill>
                <a:ea typeface="+mn-lt"/>
                <a:cs typeface="+mn-lt"/>
              </a:rPr>
              <a:t>3)Focus on providing a good prediction model to improve the bus frequency to bus stops instead of </a:t>
            </a:r>
            <a:r>
              <a:rPr lang="en-US" sz="1200" err="1">
                <a:solidFill>
                  <a:srgbClr val="002060"/>
                </a:solidFill>
                <a:ea typeface="+mn-lt"/>
                <a:cs typeface="+mn-lt"/>
              </a:rPr>
              <a:t>optimising</a:t>
            </a:r>
            <a:r>
              <a:rPr lang="en-US" sz="1200">
                <a:solidFill>
                  <a:srgbClr val="002060"/>
                </a:solidFill>
                <a:ea typeface="+mn-lt"/>
                <a:cs typeface="+mn-lt"/>
              </a:rPr>
              <a:t> on business operations </a:t>
            </a:r>
            <a:endParaRPr lang="en-US" sz="1200">
              <a:ea typeface="+mn-lt"/>
              <a:cs typeface="+mn-lt"/>
            </a:endParaRPr>
          </a:p>
          <a:p>
            <a:pPr>
              <a:buClr>
                <a:srgbClr val="DF2A6F"/>
              </a:buClr>
              <a:buSzPct val="100000"/>
              <a:buFont typeface="Trebuchet MS" panose="020B0603020202020204" pitchFamily="34" charset="0"/>
              <a:buChar char="​"/>
            </a:pPr>
            <a:endParaRPr lang="en-US" sz="1200">
              <a:solidFill>
                <a:srgbClr val="002060"/>
              </a:solidFill>
              <a:ea typeface="+mn-lt"/>
              <a:cs typeface="+mn-lt"/>
            </a:endParaRPr>
          </a:p>
        </p:txBody>
      </p:sp>
      <p:sp>
        <p:nvSpPr>
          <p:cNvPr id="8" name="Rectangle 7">
            <a:extLst>
              <a:ext uri="{FF2B5EF4-FFF2-40B4-BE49-F238E27FC236}">
                <a16:creationId xmlns:a16="http://schemas.microsoft.com/office/drawing/2014/main" id="{0B2D1DB4-275D-4442-B3F2-C378D29324DA}"/>
              </a:ext>
            </a:extLst>
          </p:cNvPr>
          <p:cNvSpPr/>
          <p:nvPr/>
        </p:nvSpPr>
        <p:spPr>
          <a:xfrm>
            <a:off x="558332" y="2223529"/>
            <a:ext cx="5175516" cy="1647672"/>
          </a:xfrm>
          <a:prstGeom prst="rect">
            <a:avLst/>
          </a:prstGeom>
          <a:noFill/>
          <a:ln w="952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75757"/>
              </a:solidFill>
            </a:endParaRPr>
          </a:p>
        </p:txBody>
      </p:sp>
      <p:sp>
        <p:nvSpPr>
          <p:cNvPr id="11" name="TextBox 10">
            <a:extLst>
              <a:ext uri="{FF2B5EF4-FFF2-40B4-BE49-F238E27FC236}">
                <a16:creationId xmlns:a16="http://schemas.microsoft.com/office/drawing/2014/main" id="{9D81B7B5-01CB-4BA5-9D1A-C59984AF4BF4}"/>
              </a:ext>
            </a:extLst>
          </p:cNvPr>
          <p:cNvSpPr txBox="1"/>
          <p:nvPr/>
        </p:nvSpPr>
        <p:spPr>
          <a:xfrm>
            <a:off x="6712460" y="1796995"/>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rgbClr val="171D3C"/>
                </a:solidFill>
              </a:rPr>
              <a:t>Limitations</a:t>
            </a:r>
          </a:p>
        </p:txBody>
      </p:sp>
      <p:sp>
        <p:nvSpPr>
          <p:cNvPr id="12" name="TextBox 11">
            <a:extLst>
              <a:ext uri="{FF2B5EF4-FFF2-40B4-BE49-F238E27FC236}">
                <a16:creationId xmlns:a16="http://schemas.microsoft.com/office/drawing/2014/main" id="{325314B2-7B51-4562-8DBD-8B937B7D6B5C}"/>
              </a:ext>
            </a:extLst>
          </p:cNvPr>
          <p:cNvSpPr txBox="1"/>
          <p:nvPr/>
        </p:nvSpPr>
        <p:spPr>
          <a:xfrm>
            <a:off x="789181" y="1458883"/>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rgbClr val="171D3C"/>
                </a:solidFill>
              </a:rPr>
              <a:t>Key assumptions</a:t>
            </a:r>
          </a:p>
        </p:txBody>
      </p:sp>
      <p:sp>
        <p:nvSpPr>
          <p:cNvPr id="2" name="Title 1">
            <a:extLst>
              <a:ext uri="{FF2B5EF4-FFF2-40B4-BE49-F238E27FC236}">
                <a16:creationId xmlns:a16="http://schemas.microsoft.com/office/drawing/2014/main" id="{47297F00-E37C-4720-8E11-7D7D4CBEF7C0}"/>
              </a:ext>
            </a:extLst>
          </p:cNvPr>
          <p:cNvSpPr txBox="1">
            <a:spLocks/>
          </p:cNvSpPr>
          <p:nvPr/>
        </p:nvSpPr>
        <p:spPr>
          <a:xfrm>
            <a:off x="630000" y="622800"/>
            <a:ext cx="10188474"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solidFill>
                <a:latin typeface="+mj-lt"/>
                <a:ea typeface="+mj-ea"/>
                <a:cs typeface="+mj-cs"/>
                <a:sym typeface="Trebuchet MS" panose="020B0603020202020204" pitchFamily="34" charset="0"/>
              </a:defRPr>
            </a:lvl1pPr>
          </a:lstStyle>
          <a:p>
            <a:r>
              <a:rPr lang="en-US">
                <a:solidFill>
                  <a:srgbClr val="002060"/>
                </a:solidFill>
              </a:rPr>
              <a:t>Our proposal...</a:t>
            </a:r>
          </a:p>
        </p:txBody>
      </p:sp>
      <p:pic>
        <p:nvPicPr>
          <p:cNvPr id="3" name="Picture 9" descr="Timeline&#10;&#10;Description automatically generated">
            <a:extLst>
              <a:ext uri="{FF2B5EF4-FFF2-40B4-BE49-F238E27FC236}">
                <a16:creationId xmlns:a16="http://schemas.microsoft.com/office/drawing/2014/main" id="{08FA628E-AD39-4DCF-A5CF-78CFA592FB2B}"/>
              </a:ext>
            </a:extLst>
          </p:cNvPr>
          <p:cNvPicPr>
            <a:picLocks noChangeAspect="1"/>
          </p:cNvPicPr>
          <p:nvPr/>
        </p:nvPicPr>
        <p:blipFill>
          <a:blip r:embed="rId6"/>
          <a:stretch>
            <a:fillRect/>
          </a:stretch>
        </p:blipFill>
        <p:spPr>
          <a:xfrm>
            <a:off x="8149119" y="92112"/>
            <a:ext cx="3933290" cy="2041846"/>
          </a:xfrm>
          <a:prstGeom prst="rect">
            <a:avLst/>
          </a:prstGeom>
        </p:spPr>
      </p:pic>
    </p:spTree>
    <p:extLst>
      <p:ext uri="{BB962C8B-B14F-4D97-AF65-F5344CB8AC3E}">
        <p14:creationId xmlns:p14="http://schemas.microsoft.com/office/powerpoint/2010/main" val="2651815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A2469D-5F45-44E2-A1F1-C18B8B4779F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4" name="think-cell Slide" r:id="rId4" imgW="351" imgH="351" progId="TCLayout.ActiveDocument.1">
                  <p:embed/>
                </p:oleObj>
              </mc:Choice>
              <mc:Fallback>
                <p:oleObj name="think-cell Slide" r:id="rId4" imgW="351" imgH="351" progId="TCLayout.ActiveDocument.1">
                  <p:embed/>
                  <p:pic>
                    <p:nvPicPr>
                      <p:cNvPr id="6" name="Object 5" hidden="1">
                        <a:extLst>
                          <a:ext uri="{FF2B5EF4-FFF2-40B4-BE49-F238E27FC236}">
                            <a16:creationId xmlns:a16="http://schemas.microsoft.com/office/drawing/2014/main" id="{44A2469D-5F45-44E2-A1F1-C18B8B4779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418B35-B1B1-4178-B33E-45DE9A785089}"/>
              </a:ext>
            </a:extLst>
          </p:cNvPr>
          <p:cNvSpPr>
            <a:spLocks noGrp="1"/>
          </p:cNvSpPr>
          <p:nvPr>
            <p:ph type="title"/>
          </p:nvPr>
        </p:nvSpPr>
        <p:spPr>
          <a:xfrm>
            <a:off x="630000" y="622800"/>
            <a:ext cx="10933200" cy="1246495"/>
          </a:xfrm>
        </p:spPr>
        <p:txBody>
          <a:bodyPr vert="horz"/>
          <a:lstStyle/>
          <a:p>
            <a:r>
              <a:rPr lang="en-US" sz="1800"/>
              <a:t>Where would we go next.. – </a:t>
            </a:r>
            <a:r>
              <a:rPr lang="en-US" sz="1800">
                <a:solidFill>
                  <a:srgbClr val="FF0000"/>
                </a:solidFill>
              </a:rPr>
              <a:t>ROAD MAP – PROJECT MILESTONES </a:t>
            </a:r>
            <a:br>
              <a:rPr lang="en-US" sz="1800">
                <a:solidFill>
                  <a:srgbClr val="FF0000"/>
                </a:solidFill>
              </a:rPr>
            </a:br>
            <a:r>
              <a:rPr lang="en-US" sz="1800">
                <a:solidFill>
                  <a:srgbClr val="FF0000"/>
                </a:solidFill>
              </a:rPr>
              <a:t>limitations – limited data</a:t>
            </a:r>
            <a:br>
              <a:rPr lang="en-US" sz="1800">
                <a:solidFill>
                  <a:srgbClr val="FF0000"/>
                </a:solidFill>
              </a:rPr>
            </a:br>
            <a:r>
              <a:rPr lang="en-US" sz="1800">
                <a:solidFill>
                  <a:srgbClr val="FF0000"/>
                </a:solidFill>
              </a:rPr>
              <a:t>Next steps</a:t>
            </a:r>
            <a:br>
              <a:rPr lang="en-US" sz="1800">
                <a:solidFill>
                  <a:srgbClr val="FF0000"/>
                </a:solidFill>
              </a:rPr>
            </a:br>
            <a:r>
              <a:rPr lang="en-US" sz="1800">
                <a:solidFill>
                  <a:srgbClr val="FF0000"/>
                </a:solidFill>
              </a:rPr>
              <a:t>- 1) Run on bigger data to fine tune</a:t>
            </a:r>
            <a:br>
              <a:rPr lang="en-US" sz="1800">
                <a:solidFill>
                  <a:srgbClr val="FF0000"/>
                </a:solidFill>
              </a:rPr>
            </a:br>
            <a:r>
              <a:rPr lang="en-US" sz="1800">
                <a:solidFill>
                  <a:srgbClr val="FF0000"/>
                </a:solidFill>
              </a:rPr>
              <a:t>2) App – wireframe Sentosa App</a:t>
            </a:r>
          </a:p>
        </p:txBody>
      </p:sp>
      <p:sp>
        <p:nvSpPr>
          <p:cNvPr id="8" name="TextBox 7">
            <a:extLst>
              <a:ext uri="{FF2B5EF4-FFF2-40B4-BE49-F238E27FC236}">
                <a16:creationId xmlns:a16="http://schemas.microsoft.com/office/drawing/2014/main" id="{26ECF983-0664-4D23-88F0-C6200BDD3A45}"/>
              </a:ext>
            </a:extLst>
          </p:cNvPr>
          <p:cNvSpPr txBox="1"/>
          <p:nvPr/>
        </p:nvSpPr>
        <p:spPr>
          <a:xfrm>
            <a:off x="890425" y="4098015"/>
            <a:ext cx="4672102" cy="100981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lang="en-US" sz="1400">
                <a:solidFill>
                  <a:srgbClr val="171D3C"/>
                </a:solidFill>
                <a:latin typeface="Trebuchet MS" panose="020B0603020202020204" pitchFamily="34" charset="0"/>
              </a:rPr>
              <a:t>List down additional analytics that could be done if more data were available. A good starting point could be by revisiting your assumptions or inferences made in situations where you did not have the exact data you needed</a:t>
            </a:r>
          </a:p>
        </p:txBody>
      </p:sp>
      <p:sp>
        <p:nvSpPr>
          <p:cNvPr id="9" name="Rectangle 8">
            <a:extLst>
              <a:ext uri="{FF2B5EF4-FFF2-40B4-BE49-F238E27FC236}">
                <a16:creationId xmlns:a16="http://schemas.microsoft.com/office/drawing/2014/main" id="{983C5545-27E6-411E-837D-1A1AD02AAAAE}"/>
              </a:ext>
            </a:extLst>
          </p:cNvPr>
          <p:cNvSpPr/>
          <p:nvPr/>
        </p:nvSpPr>
        <p:spPr>
          <a:xfrm>
            <a:off x="728656" y="3910949"/>
            <a:ext cx="4896384" cy="2258505"/>
          </a:xfrm>
          <a:prstGeom prst="rect">
            <a:avLst/>
          </a:prstGeom>
          <a:noFill/>
          <a:ln w="952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75757"/>
              </a:solidFill>
            </a:endParaRPr>
          </a:p>
        </p:txBody>
      </p:sp>
      <p:sp>
        <p:nvSpPr>
          <p:cNvPr id="10" name="ee4pHeader1">
            <a:extLst>
              <a:ext uri="{FF2B5EF4-FFF2-40B4-BE49-F238E27FC236}">
                <a16:creationId xmlns:a16="http://schemas.microsoft.com/office/drawing/2014/main" id="{EF472C38-9AC1-437F-A731-5D0C67816315}"/>
              </a:ext>
            </a:extLst>
          </p:cNvPr>
          <p:cNvSpPr txBox="1"/>
          <p:nvPr/>
        </p:nvSpPr>
        <p:spPr>
          <a:xfrm>
            <a:off x="728656" y="3037483"/>
            <a:ext cx="4995640" cy="759600"/>
          </a:xfrm>
          <a:prstGeom prst="rect">
            <a:avLst/>
          </a:prstGeom>
          <a:noFill/>
          <a:ln cap="rnd">
            <a:noFill/>
          </a:ln>
        </p:spPr>
        <p:txBody>
          <a:bodyPr wrap="square" lIns="0" tIns="0" rIns="0" bIns="0" rtlCol="0" anchor="b">
            <a:noAutofit/>
          </a:bodyPr>
          <a:lstStyle/>
          <a:p>
            <a:pPr marL="0" lvl="3"/>
            <a:r>
              <a:rPr lang="en-US" sz="1600">
                <a:solidFill>
                  <a:srgbClr val="171D3C"/>
                </a:solidFill>
              </a:rPr>
              <a:t>What other analytics we could do with more data</a:t>
            </a:r>
          </a:p>
        </p:txBody>
      </p:sp>
      <p:sp>
        <p:nvSpPr>
          <p:cNvPr id="11" name="ee4pHeader2">
            <a:extLst>
              <a:ext uri="{FF2B5EF4-FFF2-40B4-BE49-F238E27FC236}">
                <a16:creationId xmlns:a16="http://schemas.microsoft.com/office/drawing/2014/main" id="{950066AA-AD2F-4FE6-A21A-017A30F6DC6B}"/>
              </a:ext>
            </a:extLst>
          </p:cNvPr>
          <p:cNvSpPr txBox="1"/>
          <p:nvPr/>
        </p:nvSpPr>
        <p:spPr>
          <a:xfrm>
            <a:off x="8172840" y="2523751"/>
            <a:ext cx="4995640" cy="759600"/>
          </a:xfrm>
          <a:prstGeom prst="rect">
            <a:avLst/>
          </a:prstGeom>
          <a:noFill/>
          <a:ln cap="rnd">
            <a:noFill/>
          </a:ln>
        </p:spPr>
        <p:txBody>
          <a:bodyPr wrap="square" lIns="0" tIns="0" rIns="0" bIns="0" rtlCol="0" anchor="b">
            <a:noAutofit/>
          </a:bodyPr>
          <a:lstStyle/>
          <a:p>
            <a:pPr marL="0" lvl="3"/>
            <a:r>
              <a:rPr lang="en-US" sz="1600">
                <a:solidFill>
                  <a:srgbClr val="171D3C"/>
                </a:solidFill>
              </a:rPr>
              <a:t>How we could operationalize</a:t>
            </a:r>
          </a:p>
        </p:txBody>
      </p:sp>
      <p:sp>
        <p:nvSpPr>
          <p:cNvPr id="12" name="TextBox 11">
            <a:extLst>
              <a:ext uri="{FF2B5EF4-FFF2-40B4-BE49-F238E27FC236}">
                <a16:creationId xmlns:a16="http://schemas.microsoft.com/office/drawing/2014/main" id="{CD71BA09-C371-41DB-B31E-0517C8E6B02A}"/>
              </a:ext>
            </a:extLst>
          </p:cNvPr>
          <p:cNvSpPr txBox="1"/>
          <p:nvPr/>
        </p:nvSpPr>
        <p:spPr>
          <a:xfrm>
            <a:off x="6729030" y="3515553"/>
            <a:ext cx="4672102" cy="24625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lang="en-US" sz="1400">
                <a:solidFill>
                  <a:srgbClr val="171D3C"/>
                </a:solidFill>
                <a:latin typeface="Trebuchet MS" panose="020B0603020202020204" pitchFamily="34" charset="0"/>
              </a:rPr>
              <a:t>Think about tangible next steps to execute the use-case</a:t>
            </a:r>
          </a:p>
          <a:p>
            <a:pPr>
              <a:buSzPct val="100000"/>
              <a:buFont typeface="Trebuchet MS" panose="020B0603020202020204" pitchFamily="34" charset="0"/>
              <a:buChar char="​"/>
            </a:pPr>
            <a:r>
              <a:rPr lang="en-US" sz="1400">
                <a:solidFill>
                  <a:srgbClr val="171D3C"/>
                </a:solidFill>
                <a:latin typeface="Trebuchet MS" panose="020B0603020202020204" pitchFamily="34" charset="0"/>
              </a:rPr>
              <a:t>For example,</a:t>
            </a:r>
          </a:p>
          <a:p>
            <a:pPr marL="324000" lvl="1" indent="-216000">
              <a:buClr>
                <a:schemeClr val="tx2"/>
              </a:buClr>
              <a:buSzPct val="100000"/>
              <a:buFont typeface="Trebuchet MS" panose="020B0603020202020204" pitchFamily="34" charset="0"/>
              <a:buChar char="•"/>
            </a:pPr>
            <a:r>
              <a:rPr lang="en-US" sz="1400">
                <a:solidFill>
                  <a:srgbClr val="171D3C"/>
                </a:solidFill>
                <a:latin typeface="Trebuchet MS" panose="020B0603020202020204" pitchFamily="34" charset="0"/>
              </a:rPr>
              <a:t>Validate assumptions</a:t>
            </a:r>
          </a:p>
          <a:p>
            <a:pPr marL="324000" lvl="1" indent="-216000">
              <a:buClr>
                <a:schemeClr val="tx2"/>
              </a:buClr>
              <a:buSzPct val="100000"/>
              <a:buFont typeface="Trebuchet MS" panose="020B0603020202020204" pitchFamily="34" charset="0"/>
              <a:buChar char="•"/>
            </a:pPr>
            <a:r>
              <a:rPr lang="en-US" sz="1400">
                <a:solidFill>
                  <a:srgbClr val="171D3C"/>
                </a:solidFill>
                <a:latin typeface="Trebuchet MS" panose="020B0603020202020204" pitchFamily="34" charset="0"/>
              </a:rPr>
              <a:t>Map out limitations of data. Identify solutions to solve the limitations</a:t>
            </a:r>
          </a:p>
          <a:p>
            <a:pPr marL="324000" lvl="1" indent="-216000">
              <a:buClr>
                <a:schemeClr val="tx2"/>
              </a:buClr>
              <a:buSzPct val="100000"/>
              <a:buFont typeface="Trebuchet MS" panose="020B0603020202020204" pitchFamily="34" charset="0"/>
              <a:buChar char="•"/>
            </a:pPr>
            <a:r>
              <a:rPr lang="en-US" sz="1400">
                <a:solidFill>
                  <a:srgbClr val="171D3C"/>
                </a:solidFill>
                <a:latin typeface="Trebuchet MS" panose="020B0603020202020204" pitchFamily="34" charset="0"/>
              </a:rPr>
              <a:t>Identify risks </a:t>
            </a:r>
          </a:p>
          <a:p>
            <a:pPr marL="324000" lvl="1" indent="-216000">
              <a:buClr>
                <a:schemeClr val="tx2"/>
              </a:buClr>
              <a:buSzPct val="100000"/>
              <a:buFont typeface="Trebuchet MS" panose="020B0603020202020204" pitchFamily="34" charset="0"/>
              <a:buChar char="•"/>
            </a:pPr>
            <a:r>
              <a:rPr lang="en-US" sz="1400">
                <a:solidFill>
                  <a:srgbClr val="171D3C"/>
                </a:solidFill>
                <a:latin typeface="Trebuchet MS" panose="020B0603020202020204" pitchFamily="34" charset="0"/>
              </a:rPr>
              <a:t>Gauge impact on results/sensitivity analysis</a:t>
            </a:r>
          </a:p>
          <a:p>
            <a:pPr marL="324000" lvl="1" indent="-216000">
              <a:buClr>
                <a:schemeClr val="tx2"/>
              </a:buClr>
              <a:buSzPct val="100000"/>
              <a:buFont typeface="Trebuchet MS" panose="020B0603020202020204" pitchFamily="34" charset="0"/>
              <a:buChar char="•"/>
            </a:pPr>
            <a:r>
              <a:rPr lang="en-US" sz="1400">
                <a:solidFill>
                  <a:srgbClr val="171D3C"/>
                </a:solidFill>
                <a:latin typeface="Trebuchet MS" panose="020B0603020202020204" pitchFamily="34" charset="0"/>
              </a:rPr>
              <a:t>Engage key stakeholders</a:t>
            </a:r>
          </a:p>
          <a:p>
            <a:pPr marL="324000" lvl="1" indent="-216000">
              <a:buClr>
                <a:schemeClr val="tx2"/>
              </a:buClr>
              <a:buSzPct val="100000"/>
              <a:buFont typeface="Trebuchet MS" panose="020B0603020202020204" pitchFamily="34" charset="0"/>
              <a:buChar char="•"/>
            </a:pPr>
            <a:r>
              <a:rPr lang="en-US" sz="1400">
                <a:solidFill>
                  <a:srgbClr val="171D3C"/>
                </a:solidFill>
                <a:latin typeface="Trebuchet MS" panose="020B0603020202020204" pitchFamily="34" charset="0"/>
              </a:rPr>
              <a:t>Create detailed business plan</a:t>
            </a:r>
          </a:p>
          <a:p>
            <a:pPr marL="324000" lvl="1" indent="-216000">
              <a:buClr>
                <a:schemeClr val="tx2"/>
              </a:buClr>
              <a:buSzPct val="100000"/>
              <a:buFont typeface="Trebuchet MS" panose="020B0603020202020204" pitchFamily="34" charset="0"/>
              <a:buChar char="•"/>
            </a:pPr>
            <a:r>
              <a:rPr lang="en-US" sz="1400">
                <a:solidFill>
                  <a:srgbClr val="171D3C"/>
                </a:solidFill>
                <a:latin typeface="Trebuchet MS" panose="020B0603020202020204" pitchFamily="34" charset="0"/>
              </a:rPr>
              <a:t>Submit proposal for approval </a:t>
            </a:r>
          </a:p>
          <a:p>
            <a:pPr marL="324000" lvl="1" indent="-216000">
              <a:buClr>
                <a:schemeClr val="tx2"/>
              </a:buClr>
              <a:buSzPct val="100000"/>
              <a:buFont typeface="Trebuchet MS" panose="020B0603020202020204" pitchFamily="34" charset="0"/>
              <a:buChar char="•"/>
            </a:pPr>
            <a:r>
              <a:rPr lang="en-US" sz="1400">
                <a:solidFill>
                  <a:srgbClr val="171D3C"/>
                </a:solidFill>
                <a:latin typeface="Trebuchet MS" panose="020B0603020202020204" pitchFamily="34" charset="0"/>
              </a:rPr>
              <a:t>Etc.</a:t>
            </a:r>
          </a:p>
        </p:txBody>
      </p:sp>
      <p:sp>
        <p:nvSpPr>
          <p:cNvPr id="13" name="Rectangle 12">
            <a:extLst>
              <a:ext uri="{FF2B5EF4-FFF2-40B4-BE49-F238E27FC236}">
                <a16:creationId xmlns:a16="http://schemas.microsoft.com/office/drawing/2014/main" id="{91715464-7B02-4BC2-B8C3-B0971CB5F2E3}"/>
              </a:ext>
            </a:extLst>
          </p:cNvPr>
          <p:cNvSpPr/>
          <p:nvPr/>
        </p:nvSpPr>
        <p:spPr>
          <a:xfrm>
            <a:off x="6567560" y="3366311"/>
            <a:ext cx="4995040" cy="2803144"/>
          </a:xfrm>
          <a:prstGeom prst="rect">
            <a:avLst/>
          </a:prstGeom>
          <a:noFill/>
          <a:ln w="952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75757"/>
              </a:solidFill>
            </a:endParaRPr>
          </a:p>
        </p:txBody>
      </p:sp>
      <p:cxnSp>
        <p:nvCxnSpPr>
          <p:cNvPr id="14" name="Straight Connector 13">
            <a:extLst>
              <a:ext uri="{FF2B5EF4-FFF2-40B4-BE49-F238E27FC236}">
                <a16:creationId xmlns:a16="http://schemas.microsoft.com/office/drawing/2014/main" id="{A9DBFB20-18CD-464B-8677-6CA7B98CC5F1}"/>
              </a:ext>
            </a:extLst>
          </p:cNvPr>
          <p:cNvCxnSpPr/>
          <p:nvPr/>
        </p:nvCxnSpPr>
        <p:spPr>
          <a:xfrm>
            <a:off x="6096000" y="3036394"/>
            <a:ext cx="0" cy="313306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648B6F6E-4330-45D2-94C3-A69F291847C9}"/>
              </a:ext>
            </a:extLst>
          </p:cNvPr>
          <p:cNvGrpSpPr>
            <a:grpSpLocks noChangeAspect="1"/>
          </p:cNvGrpSpPr>
          <p:nvPr/>
        </p:nvGrpSpPr>
        <p:grpSpPr>
          <a:xfrm>
            <a:off x="5942915" y="4449469"/>
            <a:ext cx="306910" cy="306910"/>
            <a:chOff x="982662" y="1847850"/>
            <a:chExt cx="269875" cy="269875"/>
          </a:xfrm>
        </p:grpSpPr>
        <p:sp>
          <p:nvSpPr>
            <p:cNvPr id="28" name="Oval 50">
              <a:extLst>
                <a:ext uri="{FF2B5EF4-FFF2-40B4-BE49-F238E27FC236}">
                  <a16:creationId xmlns:a16="http://schemas.microsoft.com/office/drawing/2014/main" id="{DFD7C723-A671-4D23-B289-F6DC30542FD2}"/>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9" name="Freeform 51">
              <a:extLst>
                <a:ext uri="{FF2B5EF4-FFF2-40B4-BE49-F238E27FC236}">
                  <a16:creationId xmlns:a16="http://schemas.microsoft.com/office/drawing/2014/main" id="{482769DD-0246-4843-99EC-7401AD1CB1C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1003929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B7C9CC-CAC9-40CB-9FC8-D33951793167}"/>
              </a:ext>
            </a:extLst>
          </p:cNvPr>
          <p:cNvPicPr>
            <a:picLocks noChangeAspect="1"/>
          </p:cNvPicPr>
          <p:nvPr/>
        </p:nvPicPr>
        <p:blipFill>
          <a:blip r:embed="rId2"/>
          <a:stretch>
            <a:fillRect/>
          </a:stretch>
        </p:blipFill>
        <p:spPr>
          <a:xfrm>
            <a:off x="267119" y="414761"/>
            <a:ext cx="6167264" cy="4846320"/>
          </a:xfrm>
          <a:prstGeom prst="rect">
            <a:avLst/>
          </a:prstGeom>
        </p:spPr>
      </p:pic>
      <p:sp>
        <p:nvSpPr>
          <p:cNvPr id="2" name="TextBox 1">
            <a:extLst>
              <a:ext uri="{FF2B5EF4-FFF2-40B4-BE49-F238E27FC236}">
                <a16:creationId xmlns:a16="http://schemas.microsoft.com/office/drawing/2014/main" id="{5620E323-A0DE-4B2C-8379-F5BC394928B5}"/>
              </a:ext>
            </a:extLst>
          </p:cNvPr>
          <p:cNvSpPr txBox="1"/>
          <p:nvPr/>
        </p:nvSpPr>
        <p:spPr>
          <a:xfrm flipH="1">
            <a:off x="6499947" y="2563473"/>
            <a:ext cx="3423920" cy="15170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SG" sz="1600">
                <a:solidFill>
                  <a:schemeClr val="tx1"/>
                </a:solidFill>
              </a:rPr>
              <a:t>Buses can be made dynamic instead </a:t>
            </a:r>
          </a:p>
          <a:p>
            <a:r>
              <a:rPr lang="en-SG" sz="1600">
                <a:solidFill>
                  <a:schemeClr val="tx1"/>
                </a:solidFill>
              </a:rPr>
              <a:t>of fixed frequency through out the day.</a:t>
            </a:r>
          </a:p>
          <a:p>
            <a:endParaRPr lang="en-SG" sz="1600">
              <a:solidFill>
                <a:schemeClr val="tx1"/>
              </a:solidFill>
            </a:endParaRPr>
          </a:p>
          <a:p>
            <a:r>
              <a:rPr lang="en-SG" sz="1600">
                <a:solidFill>
                  <a:schemeClr val="tx1"/>
                </a:solidFill>
              </a:rPr>
              <a:t>More buses deployed during peak periods </a:t>
            </a:r>
          </a:p>
          <a:p>
            <a:r>
              <a:rPr lang="en-SG" sz="1600">
                <a:solidFill>
                  <a:schemeClr val="tx1"/>
                </a:solidFill>
              </a:rPr>
              <a:t>(noted to be in the afternoon)</a:t>
            </a:r>
          </a:p>
          <a:p>
            <a:r>
              <a:rPr lang="en-SG" sz="1600">
                <a:solidFill>
                  <a:schemeClr val="tx1"/>
                </a:solidFill>
              </a:rPr>
              <a:t>And during weekends and holidays.</a:t>
            </a:r>
          </a:p>
          <a:p>
            <a:endParaRPr lang="en-SG" sz="1600">
              <a:solidFill>
                <a:schemeClr val="tx1"/>
              </a:solidFill>
            </a:endParaRPr>
          </a:p>
          <a:p>
            <a:r>
              <a:rPr lang="en-SG" sz="1600">
                <a:solidFill>
                  <a:schemeClr val="tx1"/>
                </a:solidFill>
              </a:rPr>
              <a:t>Based on our predictions, </a:t>
            </a:r>
          </a:p>
          <a:p>
            <a:r>
              <a:rPr lang="en-SG" sz="1600">
                <a:solidFill>
                  <a:schemeClr val="tx1"/>
                </a:solidFill>
              </a:rPr>
              <a:t>we can see potentially there are </a:t>
            </a:r>
          </a:p>
          <a:p>
            <a:r>
              <a:rPr lang="en-SG" sz="1600">
                <a:solidFill>
                  <a:schemeClr val="tx1"/>
                </a:solidFill>
              </a:rPr>
              <a:t>Under-utilised buses if </a:t>
            </a:r>
          </a:p>
          <a:p>
            <a:r>
              <a:rPr lang="en-SG" sz="1600">
                <a:solidFill>
                  <a:schemeClr val="tx1"/>
                </a:solidFill>
              </a:rPr>
              <a:t>buses are running at 4 bus every hour.</a:t>
            </a:r>
          </a:p>
          <a:p>
            <a:endParaRPr lang="en-SG" sz="1600">
              <a:solidFill>
                <a:schemeClr val="tx1"/>
              </a:solidFill>
            </a:endParaRPr>
          </a:p>
          <a:p>
            <a:endParaRPr lang="en-SG" sz="1600">
              <a:solidFill>
                <a:schemeClr val="tx1"/>
              </a:solidFill>
            </a:endParaRPr>
          </a:p>
          <a:p>
            <a:r>
              <a:rPr lang="en-SG" sz="1600">
                <a:solidFill>
                  <a:schemeClr val="tx1"/>
                </a:solidFill>
              </a:rPr>
              <a:t>Specific bus stops are in high demands </a:t>
            </a:r>
          </a:p>
          <a:p>
            <a:r>
              <a:rPr lang="en-SG" sz="1600">
                <a:solidFill>
                  <a:schemeClr val="tx1"/>
                </a:solidFill>
              </a:rPr>
              <a:t>due to its high popularity factors.</a:t>
            </a:r>
          </a:p>
          <a:p>
            <a:endParaRPr lang="en-SG" sz="1600">
              <a:solidFill>
                <a:schemeClr val="tx1"/>
              </a:solidFill>
            </a:endParaRPr>
          </a:p>
          <a:p>
            <a:r>
              <a:rPr lang="en-SG" sz="1600">
                <a:solidFill>
                  <a:schemeClr val="tx1"/>
                </a:solidFill>
              </a:rPr>
              <a:t>Given it is not possible to </a:t>
            </a:r>
            <a:r>
              <a:rPr lang="en-SG" sz="1600" u="sng">
                <a:solidFill>
                  <a:schemeClr val="tx1"/>
                </a:solidFill>
              </a:rPr>
              <a:t>close any bus stops or routes, </a:t>
            </a:r>
          </a:p>
          <a:p>
            <a:r>
              <a:rPr lang="en-SG" sz="1600">
                <a:solidFill>
                  <a:schemeClr val="tx1"/>
                </a:solidFill>
              </a:rPr>
              <a:t>we focus on ridership demand of each bus stops so as to </a:t>
            </a:r>
          </a:p>
          <a:p>
            <a:r>
              <a:rPr lang="en-SG" sz="1600">
                <a:solidFill>
                  <a:schemeClr val="tx1"/>
                </a:solidFill>
              </a:rPr>
              <a:t>focus on addressing the major pain points of reducing</a:t>
            </a:r>
          </a:p>
          <a:p>
            <a:r>
              <a:rPr lang="en-SG" sz="1600">
                <a:solidFill>
                  <a:schemeClr val="tx1"/>
                </a:solidFill>
              </a:rPr>
              <a:t>Probability of overcrowding at bus stop so customers </a:t>
            </a:r>
          </a:p>
          <a:p>
            <a:r>
              <a:rPr lang="en-SG" sz="1600">
                <a:solidFill>
                  <a:schemeClr val="tx1"/>
                </a:solidFill>
              </a:rPr>
              <a:t>are able to commute around Sentosa with our free </a:t>
            </a:r>
          </a:p>
          <a:p>
            <a:r>
              <a:rPr lang="en-SG" sz="1600">
                <a:solidFill>
                  <a:schemeClr val="tx1"/>
                </a:solidFill>
              </a:rPr>
              <a:t>shuttle Buses seamlessly without long waiting times </a:t>
            </a:r>
          </a:p>
          <a:p>
            <a:r>
              <a:rPr lang="en-SG" sz="1600">
                <a:solidFill>
                  <a:schemeClr val="tx1"/>
                </a:solidFill>
              </a:rPr>
              <a:t>at the bus stops. </a:t>
            </a:r>
          </a:p>
          <a:p>
            <a:endParaRPr lang="en-SG" sz="1600">
              <a:solidFill>
                <a:schemeClr val="tx1"/>
              </a:solidFill>
            </a:endParaRPr>
          </a:p>
          <a:p>
            <a:pPr algn="ctr"/>
            <a:endParaRPr lang="en-SG">
              <a:solidFill>
                <a:schemeClr val="tx1"/>
              </a:solidFill>
            </a:endParaRPr>
          </a:p>
        </p:txBody>
      </p:sp>
    </p:spTree>
    <p:extLst>
      <p:ext uri="{BB962C8B-B14F-4D97-AF65-F5344CB8AC3E}">
        <p14:creationId xmlns:p14="http://schemas.microsoft.com/office/powerpoint/2010/main" val="1791060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BED1F-63A3-4E58-B254-F4914DA628AA}"/>
              </a:ext>
            </a:extLst>
          </p:cNvPr>
          <p:cNvSpPr>
            <a:spLocks noGrp="1"/>
          </p:cNvSpPr>
          <p:nvPr>
            <p:ph type="title"/>
          </p:nvPr>
        </p:nvSpPr>
        <p:spPr/>
        <p:txBody>
          <a:bodyPr/>
          <a:lstStyle/>
          <a:p>
            <a:r>
              <a:rPr lang="en-SG"/>
              <a:t>KIV later after rest of basics are done</a:t>
            </a:r>
          </a:p>
        </p:txBody>
      </p:sp>
      <p:sp>
        <p:nvSpPr>
          <p:cNvPr id="3" name="Text Placeholder 2">
            <a:extLst>
              <a:ext uri="{FF2B5EF4-FFF2-40B4-BE49-F238E27FC236}">
                <a16:creationId xmlns:a16="http://schemas.microsoft.com/office/drawing/2014/main" id="{164E3C0E-342F-4895-87DC-B14BCB7446FE}"/>
              </a:ext>
            </a:extLst>
          </p:cNvPr>
          <p:cNvSpPr>
            <a:spLocks noGrp="1"/>
          </p:cNvSpPr>
          <p:nvPr>
            <p:ph type="body" sz="quarter" idx="10"/>
          </p:nvPr>
        </p:nvSpPr>
        <p:spPr>
          <a:xfrm>
            <a:off x="629399" y="1780828"/>
            <a:ext cx="10933801" cy="4393931"/>
          </a:xfrm>
        </p:spPr>
        <p:txBody>
          <a:bodyPr vert="horz" lIns="0" tIns="0" rIns="0" bIns="0" rtlCol="0" anchor="t">
            <a:noAutofit/>
          </a:bodyPr>
          <a:lstStyle/>
          <a:p>
            <a:r>
              <a:rPr lang="en-SG"/>
              <a:t>Bus frequency EDA (Actuals – support the predicted) = EDA + Modelling</a:t>
            </a:r>
          </a:p>
        </p:txBody>
      </p:sp>
    </p:spTree>
    <p:extLst>
      <p:ext uri="{BB962C8B-B14F-4D97-AF65-F5344CB8AC3E}">
        <p14:creationId xmlns:p14="http://schemas.microsoft.com/office/powerpoint/2010/main" val="2538826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5DE7ED32-C5EF-4E5C-AD14-0CEEA77BF4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6" name="think-cell Slide" r:id="rId4" imgW="351" imgH="351" progId="TCLayout.ActiveDocument.1">
                  <p:embed/>
                </p:oleObj>
              </mc:Choice>
              <mc:Fallback>
                <p:oleObj name="think-cell Slide" r:id="rId4" imgW="351" imgH="351" progId="TCLayout.ActiveDocument.1">
                  <p:embed/>
                  <p:pic>
                    <p:nvPicPr>
                      <p:cNvPr id="26" name="Object 25" hidden="1">
                        <a:extLst>
                          <a:ext uri="{FF2B5EF4-FFF2-40B4-BE49-F238E27FC236}">
                            <a16:creationId xmlns:a16="http://schemas.microsoft.com/office/drawing/2014/main" id="{5DE7ED32-C5EF-4E5C-AD14-0CEEA77BF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56D652-E657-48DA-89B1-4D47338343FA}"/>
              </a:ext>
            </a:extLst>
          </p:cNvPr>
          <p:cNvSpPr>
            <a:spLocks noGrp="1"/>
          </p:cNvSpPr>
          <p:nvPr>
            <p:ph type="title"/>
          </p:nvPr>
        </p:nvSpPr>
        <p:spPr>
          <a:xfrm>
            <a:off x="630000" y="622800"/>
            <a:ext cx="10933200" cy="387798"/>
          </a:xfrm>
        </p:spPr>
        <p:txBody>
          <a:bodyPr vert="horz"/>
          <a:lstStyle/>
          <a:p>
            <a:r>
              <a:rPr lang="en-US" sz="2800"/>
              <a:t>Analytics deep dive: What analytics we did, what models we landed</a:t>
            </a:r>
          </a:p>
        </p:txBody>
      </p:sp>
      <p:sp>
        <p:nvSpPr>
          <p:cNvPr id="3" name="Rectangle 2">
            <a:extLst>
              <a:ext uri="{FF2B5EF4-FFF2-40B4-BE49-F238E27FC236}">
                <a16:creationId xmlns:a16="http://schemas.microsoft.com/office/drawing/2014/main" id="{86E45033-1D47-4DB6-825E-9FC3DB95E166}"/>
              </a:ext>
            </a:extLst>
          </p:cNvPr>
          <p:cNvSpPr/>
          <p:nvPr/>
        </p:nvSpPr>
        <p:spPr>
          <a:xfrm>
            <a:off x="2313790" y="1681397"/>
            <a:ext cx="9249410" cy="4301791"/>
          </a:xfrm>
          <a:prstGeom prst="rect">
            <a:avLst/>
          </a:prstGeom>
          <a:noFill/>
          <a:ln w="952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171D3C"/>
              </a:solidFill>
            </a:endParaRPr>
          </a:p>
        </p:txBody>
      </p:sp>
      <p:sp>
        <p:nvSpPr>
          <p:cNvPr id="5" name="TextBox 4">
            <a:extLst>
              <a:ext uri="{FF2B5EF4-FFF2-40B4-BE49-F238E27FC236}">
                <a16:creationId xmlns:a16="http://schemas.microsoft.com/office/drawing/2014/main" id="{4E2AA733-0720-44BA-852E-99AEFAB1E6C0}"/>
              </a:ext>
            </a:extLst>
          </p:cNvPr>
          <p:cNvSpPr txBox="1"/>
          <p:nvPr/>
        </p:nvSpPr>
        <p:spPr>
          <a:xfrm>
            <a:off x="2520030" y="1849146"/>
            <a:ext cx="8878072" cy="2246769"/>
          </a:xfrm>
          <a:prstGeom prst="rect">
            <a:avLst/>
          </a:prstGeom>
          <a:noFill/>
        </p:spPr>
        <p:txBody>
          <a:bodyPr wrap="square" rtlCol="0">
            <a:spAutoFit/>
          </a:bodyPr>
          <a:lstStyle/>
          <a:p>
            <a:pPr marL="324000" lvl="1" indent="-216000">
              <a:buClr>
                <a:schemeClr val="tx2"/>
              </a:buClr>
              <a:buSzPct val="100000"/>
              <a:buFont typeface="Trebuchet MS" panose="020B0603020202020204" pitchFamily="34" charset="0"/>
              <a:buChar char="•"/>
            </a:pPr>
            <a:r>
              <a:rPr lang="en-US" sz="1400">
                <a:latin typeface="Trebuchet MS" panose="020B0603020202020204" pitchFamily="34" charset="0"/>
              </a:rPr>
              <a:t>Opportunity for the team to showcase the technical work done. Consider cutting and pasting some of the analytics itself with a short blurb clearly explaining the approach and outcomes</a:t>
            </a:r>
            <a:endParaRPr lang="vi-VN" sz="1400">
              <a:latin typeface="Trebuchet MS" panose="020B0603020202020204" pitchFamily="34" charset="0"/>
            </a:endParaRPr>
          </a:p>
          <a:p>
            <a:pPr marL="324000" lvl="1" indent="-216000">
              <a:buClr>
                <a:schemeClr val="tx2"/>
              </a:buClr>
              <a:buSzPct val="100000"/>
              <a:buFont typeface="Trebuchet MS" panose="020B0603020202020204" pitchFamily="34" charset="0"/>
              <a:buChar char="•"/>
            </a:pPr>
            <a:endParaRPr lang="en-US" sz="1400">
              <a:latin typeface="Trebuchet MS" panose="020B0603020202020204" pitchFamily="34" charset="0"/>
            </a:endParaRPr>
          </a:p>
          <a:p>
            <a:pPr marL="324000" lvl="1" indent="-216000">
              <a:buClr>
                <a:schemeClr val="tx2"/>
              </a:buClr>
              <a:buSzPct val="100000"/>
              <a:buFont typeface="Trebuchet MS" panose="020B0603020202020204" pitchFamily="34" charset="0"/>
              <a:buChar char="•"/>
            </a:pPr>
            <a:r>
              <a:rPr lang="en-US" sz="1400">
                <a:latin typeface="Trebuchet MS" panose="020B0603020202020204" pitchFamily="34" charset="0"/>
              </a:rPr>
              <a:t>Feel free to add more such slides as needed </a:t>
            </a:r>
          </a:p>
          <a:p>
            <a:pPr marL="324000" lvl="1" indent="-216000">
              <a:buClr>
                <a:schemeClr val="tx2"/>
              </a:buClr>
              <a:buSzPct val="100000"/>
              <a:buFont typeface="Trebuchet MS" panose="020B0603020202020204" pitchFamily="34" charset="0"/>
              <a:buChar char="•"/>
            </a:pPr>
            <a:endParaRPr lang="en-US" sz="1400">
              <a:latin typeface="Trebuchet MS" panose="020B0603020202020204" pitchFamily="34" charset="0"/>
            </a:endParaRPr>
          </a:p>
          <a:p>
            <a:pPr marL="324000" lvl="1" indent="-216000">
              <a:buClr>
                <a:schemeClr val="tx2"/>
              </a:buClr>
              <a:buSzPct val="100000"/>
              <a:buFont typeface="Trebuchet MS" panose="020B0603020202020204" pitchFamily="34" charset="0"/>
              <a:buChar char="•"/>
            </a:pPr>
            <a:r>
              <a:rPr lang="en-US" sz="1400">
                <a:latin typeface="Trebuchet MS" panose="020B0603020202020204" pitchFamily="34" charset="0"/>
              </a:rPr>
              <a:t>..</a:t>
            </a:r>
          </a:p>
          <a:p>
            <a:pPr marL="324000" lvl="1" indent="-216000">
              <a:buClr>
                <a:schemeClr val="tx2"/>
              </a:buClr>
              <a:buSzPct val="100000"/>
              <a:buFont typeface="Trebuchet MS" panose="020B0603020202020204" pitchFamily="34" charset="0"/>
              <a:buChar char="•"/>
            </a:pPr>
            <a:endParaRPr lang="en-US" sz="1400">
              <a:latin typeface="Trebuchet MS" panose="020B0603020202020204" pitchFamily="34" charset="0"/>
            </a:endParaRPr>
          </a:p>
          <a:p>
            <a:pPr marL="324000" lvl="1" indent="-216000">
              <a:buClr>
                <a:schemeClr val="tx2"/>
              </a:buClr>
              <a:buSzPct val="100000"/>
              <a:buFont typeface="Trebuchet MS" panose="020B0603020202020204" pitchFamily="34" charset="0"/>
              <a:buChar char="•"/>
            </a:pPr>
            <a:r>
              <a:rPr lang="en-US" sz="1400">
                <a:latin typeface="Trebuchet MS" panose="020B0603020202020204" pitchFamily="34" charset="0"/>
              </a:rPr>
              <a:t>..</a:t>
            </a:r>
          </a:p>
          <a:p>
            <a:pPr marL="324000" lvl="1" indent="-216000">
              <a:buClr>
                <a:schemeClr val="tx2"/>
              </a:buClr>
              <a:buSzPct val="100000"/>
              <a:buFont typeface="Trebuchet MS" panose="020B0603020202020204" pitchFamily="34" charset="0"/>
              <a:buChar char="•"/>
            </a:pPr>
            <a:endParaRPr lang="en-US" sz="1400">
              <a:latin typeface="Trebuchet MS" panose="020B0603020202020204" pitchFamily="34" charset="0"/>
            </a:endParaRPr>
          </a:p>
          <a:p>
            <a:pPr marL="324000" lvl="1" indent="-216000">
              <a:buClr>
                <a:schemeClr val="tx2"/>
              </a:buClr>
              <a:buSzPct val="100000"/>
              <a:buFont typeface="Trebuchet MS" panose="020B0603020202020204" pitchFamily="34" charset="0"/>
              <a:buChar char="•"/>
            </a:pPr>
            <a:r>
              <a:rPr lang="en-US" sz="1400">
                <a:latin typeface="Trebuchet MS" panose="020B0603020202020204" pitchFamily="34" charset="0"/>
              </a:rPr>
              <a:t>..</a:t>
            </a:r>
          </a:p>
        </p:txBody>
      </p:sp>
      <p:cxnSp>
        <p:nvCxnSpPr>
          <p:cNvPr id="7" name="Straight Connector 6">
            <a:extLst>
              <a:ext uri="{FF2B5EF4-FFF2-40B4-BE49-F238E27FC236}">
                <a16:creationId xmlns:a16="http://schemas.microsoft.com/office/drawing/2014/main" id="{0CFE224C-C08F-4A85-8742-DB2B6FC203A2}"/>
              </a:ext>
            </a:extLst>
          </p:cNvPr>
          <p:cNvCxnSpPr/>
          <p:nvPr/>
        </p:nvCxnSpPr>
        <p:spPr>
          <a:xfrm>
            <a:off x="1252620" y="1681397"/>
            <a:ext cx="26452" cy="4301791"/>
          </a:xfrm>
          <a:prstGeom prst="line">
            <a:avLst/>
          </a:prstGeom>
          <a:ln w="38100" cap="rnd">
            <a:solidFill>
              <a:srgbClr val="171D3C"/>
            </a:solidFill>
            <a:prstDash val="solid"/>
            <a:round/>
            <a:headEnd type="diamond"/>
            <a:tailEnd type="diamond"/>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4676484-B181-4FCE-95AD-A465A7DECECC}"/>
              </a:ext>
            </a:extLst>
          </p:cNvPr>
          <p:cNvSpPr>
            <a:spLocks noChangeAspect="1"/>
          </p:cNvSpPr>
          <p:nvPr/>
        </p:nvSpPr>
        <p:spPr>
          <a:xfrm>
            <a:off x="509275" y="2963124"/>
            <a:ext cx="1513143" cy="1513143"/>
          </a:xfrm>
          <a:prstGeom prst="ellipse">
            <a:avLst/>
          </a:prstGeom>
          <a:solidFill>
            <a:srgbClr val="FFFFFF"/>
          </a:solidFill>
          <a:ln w="3810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kern="0">
              <a:solidFill>
                <a:srgbClr val="575757"/>
              </a:solidFill>
            </a:endParaRPr>
          </a:p>
        </p:txBody>
      </p:sp>
      <p:sp>
        <p:nvSpPr>
          <p:cNvPr id="17" name="Rectangle 16">
            <a:extLst>
              <a:ext uri="{FF2B5EF4-FFF2-40B4-BE49-F238E27FC236}">
                <a16:creationId xmlns:a16="http://schemas.microsoft.com/office/drawing/2014/main" id="{2875A751-A063-4FF6-8155-8BBCF0966156}"/>
              </a:ext>
            </a:extLst>
          </p:cNvPr>
          <p:cNvSpPr/>
          <p:nvPr/>
        </p:nvSpPr>
        <p:spPr>
          <a:xfrm>
            <a:off x="140034" y="6264685"/>
            <a:ext cx="2494507" cy="46775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 name="Oval 9">
            <a:extLst>
              <a:ext uri="{FF2B5EF4-FFF2-40B4-BE49-F238E27FC236}">
                <a16:creationId xmlns:a16="http://schemas.microsoft.com/office/drawing/2014/main" id="{4C179AD7-B64A-4BDC-9D1D-3E06002BEA46}"/>
              </a:ext>
            </a:extLst>
          </p:cNvPr>
          <p:cNvSpPr>
            <a:spLocks noChangeAspect="1"/>
          </p:cNvSpPr>
          <p:nvPr/>
        </p:nvSpPr>
        <p:spPr>
          <a:xfrm>
            <a:off x="635475" y="3089323"/>
            <a:ext cx="1260744" cy="1260744"/>
          </a:xfrm>
          <a:prstGeom prst="ellipse">
            <a:avLst/>
          </a:prstGeom>
          <a:solidFill>
            <a:srgbClr val="FFFFFF"/>
          </a:solidFill>
          <a:ln w="1270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400" kern="0">
              <a:solidFill>
                <a:srgbClr val="575757"/>
              </a:solidFill>
            </a:endParaRPr>
          </a:p>
        </p:txBody>
      </p:sp>
      <p:grpSp>
        <p:nvGrpSpPr>
          <p:cNvPr id="20" name="Group 19">
            <a:extLst>
              <a:ext uri="{FF2B5EF4-FFF2-40B4-BE49-F238E27FC236}">
                <a16:creationId xmlns:a16="http://schemas.microsoft.com/office/drawing/2014/main" id="{71C06D69-934F-4922-A7EA-3A67190FF0BF}"/>
              </a:ext>
            </a:extLst>
          </p:cNvPr>
          <p:cNvGrpSpPr>
            <a:grpSpLocks noChangeAspect="1"/>
          </p:cNvGrpSpPr>
          <p:nvPr/>
        </p:nvGrpSpPr>
        <p:grpSpPr>
          <a:xfrm>
            <a:off x="755008" y="3208383"/>
            <a:ext cx="1021677" cy="1022624"/>
            <a:chOff x="5273801" y="2606040"/>
            <a:chExt cx="1644396" cy="1645920"/>
          </a:xfrm>
        </p:grpSpPr>
        <p:sp>
          <p:nvSpPr>
            <p:cNvPr id="21" name="AutoShape 18">
              <a:extLst>
                <a:ext uri="{FF2B5EF4-FFF2-40B4-BE49-F238E27FC236}">
                  <a16:creationId xmlns:a16="http://schemas.microsoft.com/office/drawing/2014/main" id="{82A160F2-78FB-4BE4-BEDB-B8A599D44838}"/>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2" name="Group 21">
              <a:extLst>
                <a:ext uri="{FF2B5EF4-FFF2-40B4-BE49-F238E27FC236}">
                  <a16:creationId xmlns:a16="http://schemas.microsoft.com/office/drawing/2014/main" id="{8B21CC3D-4DBC-4BC7-8CB1-E643726D3F42}"/>
                </a:ext>
              </a:extLst>
            </p:cNvPr>
            <p:cNvGrpSpPr/>
            <p:nvPr/>
          </p:nvGrpSpPr>
          <p:grpSpPr>
            <a:xfrm>
              <a:off x="5388863" y="2953131"/>
              <a:ext cx="1409319" cy="967359"/>
              <a:chOff x="5388863" y="2953131"/>
              <a:chExt cx="1409319" cy="967359"/>
            </a:xfrm>
          </p:grpSpPr>
          <p:sp>
            <p:nvSpPr>
              <p:cNvPr id="23" name="Freeform 20">
                <a:extLst>
                  <a:ext uri="{FF2B5EF4-FFF2-40B4-BE49-F238E27FC236}">
                    <a16:creationId xmlns:a16="http://schemas.microsoft.com/office/drawing/2014/main" id="{26114E29-264A-4E22-8C52-45159BA4765F}"/>
                  </a:ext>
                </a:extLst>
              </p:cNvPr>
              <p:cNvSpPr>
                <a:spLocks noEditPoints="1"/>
              </p:cNvSpPr>
              <p:nvPr/>
            </p:nvSpPr>
            <p:spPr bwMode="auto">
              <a:xfrm>
                <a:off x="5388863" y="3167634"/>
                <a:ext cx="737235" cy="75285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ED699F22-B4A0-4D43-902C-A84AC8F0D027}"/>
                  </a:ext>
                </a:extLst>
              </p:cNvPr>
              <p:cNvSpPr>
                <a:spLocks noEditPoints="1"/>
              </p:cNvSpPr>
              <p:nvPr/>
            </p:nvSpPr>
            <p:spPr bwMode="auto">
              <a:xfrm>
                <a:off x="6060947" y="2953131"/>
                <a:ext cx="737235" cy="75285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997843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3EB9C-E567-43FC-ACE4-B131FAF9596B}"/>
              </a:ext>
            </a:extLst>
          </p:cNvPr>
          <p:cNvSpPr>
            <a:spLocks noGrp="1"/>
          </p:cNvSpPr>
          <p:nvPr>
            <p:ph type="title"/>
          </p:nvPr>
        </p:nvSpPr>
        <p:spPr>
          <a:xfrm>
            <a:off x="486781" y="203554"/>
            <a:ext cx="10933350" cy="941796"/>
          </a:xfrm>
        </p:spPr>
        <p:txBody>
          <a:bodyPr/>
          <a:lstStyle/>
          <a:p>
            <a:r>
              <a:rPr lang="en-US" b="1"/>
              <a:t>Provide real time bus arrival and occupancy information</a:t>
            </a:r>
          </a:p>
        </p:txBody>
      </p:sp>
      <p:sp>
        <p:nvSpPr>
          <p:cNvPr id="3" name="Text Placeholder 2">
            <a:extLst>
              <a:ext uri="{FF2B5EF4-FFF2-40B4-BE49-F238E27FC236}">
                <a16:creationId xmlns:a16="http://schemas.microsoft.com/office/drawing/2014/main" id="{23B5890E-3952-4DA3-84DC-3B5A3B209183}"/>
              </a:ext>
            </a:extLst>
          </p:cNvPr>
          <p:cNvSpPr>
            <a:spLocks noGrp="1"/>
          </p:cNvSpPr>
          <p:nvPr>
            <p:ph type="body" sz="quarter" idx="10"/>
          </p:nvPr>
        </p:nvSpPr>
        <p:spPr>
          <a:xfrm>
            <a:off x="486781" y="1267141"/>
            <a:ext cx="11034452" cy="1207033"/>
          </a:xfrm>
        </p:spPr>
        <p:txBody>
          <a:bodyPr vert="horz" lIns="0" tIns="0" rIns="0" bIns="0" rtlCol="0" anchor="t">
            <a:noAutofit/>
          </a:bodyPr>
          <a:lstStyle/>
          <a:p>
            <a:r>
              <a:rPr lang="en-US"/>
              <a:t>Using real time information readily available in google map, provide bus arrival timings. </a:t>
            </a:r>
          </a:p>
          <a:p>
            <a:r>
              <a:rPr lang="en-US"/>
              <a:t>Provide overcrowding index. </a:t>
            </a:r>
          </a:p>
          <a:p>
            <a:r>
              <a:rPr lang="en-US"/>
              <a:t>1) Enhancement of Sentosa App – Arrival time missing, available capacity</a:t>
            </a:r>
          </a:p>
          <a:p>
            <a:r>
              <a:rPr lang="en-US"/>
              <a:t>2) </a:t>
            </a:r>
            <a:r>
              <a:rPr lang="en-US" b="1">
                <a:solidFill>
                  <a:srgbClr val="FF0000"/>
                </a:solidFill>
              </a:rPr>
              <a:t>Signboard at bus stops to indicate estimated Arrival time and seating.   </a:t>
            </a:r>
          </a:p>
          <a:p>
            <a:endParaRPr lang="en-US"/>
          </a:p>
          <a:p>
            <a:endParaRPr lang="en-US"/>
          </a:p>
        </p:txBody>
      </p:sp>
    </p:spTree>
    <p:extLst>
      <p:ext uri="{BB962C8B-B14F-4D97-AF65-F5344CB8AC3E}">
        <p14:creationId xmlns:p14="http://schemas.microsoft.com/office/powerpoint/2010/main" val="2307665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B5890E-3952-4DA3-84DC-3B5A3B209183}"/>
              </a:ext>
            </a:extLst>
          </p:cNvPr>
          <p:cNvSpPr>
            <a:spLocks noGrp="1"/>
          </p:cNvSpPr>
          <p:nvPr>
            <p:ph type="body" sz="quarter" idx="10"/>
          </p:nvPr>
        </p:nvSpPr>
        <p:spPr>
          <a:xfrm>
            <a:off x="629999" y="2127757"/>
            <a:ext cx="4817072" cy="3132139"/>
          </a:xfrm>
        </p:spPr>
        <p:txBody>
          <a:bodyPr vert="horz" lIns="0" tIns="0" rIns="0" bIns="0" rtlCol="0" anchor="t">
            <a:noAutofit/>
          </a:bodyPr>
          <a:lstStyle/>
          <a:p>
            <a:r>
              <a:rPr lang="en-US" sz="1600"/>
              <a:t>Using real time information readily available in google map, provide bus arrival timings. </a:t>
            </a:r>
          </a:p>
          <a:p>
            <a:r>
              <a:rPr lang="en-US" sz="1600"/>
              <a:t>Provide overcrowding index. </a:t>
            </a:r>
          </a:p>
          <a:p>
            <a:endParaRPr lang="en-US" sz="1600"/>
          </a:p>
          <a:p>
            <a:r>
              <a:rPr lang="en-US" sz="1600"/>
              <a:t>1) Enhancement of Sentosa App – Arrival time missing, available capacity</a:t>
            </a:r>
          </a:p>
          <a:p>
            <a:r>
              <a:rPr lang="en-US" sz="1600"/>
              <a:t>2) </a:t>
            </a:r>
            <a:r>
              <a:rPr lang="en-US" sz="1600" b="1">
                <a:solidFill>
                  <a:srgbClr val="FF0000"/>
                </a:solidFill>
              </a:rPr>
              <a:t>Signboard at bus stops to indicate estimated Arrival time and seating.   </a:t>
            </a:r>
          </a:p>
          <a:p>
            <a:endParaRPr lang="en-US" sz="1600"/>
          </a:p>
          <a:p>
            <a:endParaRPr lang="en-US" sz="1600"/>
          </a:p>
        </p:txBody>
      </p:sp>
      <p:pic>
        <p:nvPicPr>
          <p:cNvPr id="6" name="Picture 5">
            <a:extLst>
              <a:ext uri="{FF2B5EF4-FFF2-40B4-BE49-F238E27FC236}">
                <a16:creationId xmlns:a16="http://schemas.microsoft.com/office/drawing/2014/main" id="{AD827BB6-5A24-46DC-8558-895FE49292CC}"/>
              </a:ext>
            </a:extLst>
          </p:cNvPr>
          <p:cNvPicPr>
            <a:picLocks noChangeAspect="1"/>
          </p:cNvPicPr>
          <p:nvPr/>
        </p:nvPicPr>
        <p:blipFill rotWithShape="1">
          <a:blip r:embed="rId2"/>
          <a:srcRect l="419" t="-63" r="50081" b="63"/>
          <a:stretch/>
        </p:blipFill>
        <p:spPr>
          <a:xfrm>
            <a:off x="5525728" y="171897"/>
            <a:ext cx="6353757" cy="6514206"/>
          </a:xfrm>
          <a:prstGeom prst="rect">
            <a:avLst/>
          </a:prstGeom>
        </p:spPr>
      </p:pic>
      <p:sp>
        <p:nvSpPr>
          <p:cNvPr id="5" name="Title 1">
            <a:extLst>
              <a:ext uri="{FF2B5EF4-FFF2-40B4-BE49-F238E27FC236}">
                <a16:creationId xmlns:a16="http://schemas.microsoft.com/office/drawing/2014/main" id="{08DC735E-1A7F-457B-A1FA-9F4F07DCE495}"/>
              </a:ext>
            </a:extLst>
          </p:cNvPr>
          <p:cNvSpPr txBox="1">
            <a:spLocks/>
          </p:cNvSpPr>
          <p:nvPr/>
        </p:nvSpPr>
        <p:spPr>
          <a:xfrm>
            <a:off x="629999" y="1232400"/>
            <a:ext cx="4187806"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sz="2400">
                <a:solidFill>
                  <a:srgbClr val="002060"/>
                </a:solidFill>
              </a:rPr>
              <a:t>Provide real time bus arrival and occupancy information</a:t>
            </a:r>
          </a:p>
        </p:txBody>
      </p:sp>
      <p:sp>
        <p:nvSpPr>
          <p:cNvPr id="8" name="Title 1">
            <a:extLst>
              <a:ext uri="{FF2B5EF4-FFF2-40B4-BE49-F238E27FC236}">
                <a16:creationId xmlns:a16="http://schemas.microsoft.com/office/drawing/2014/main" id="{E6878894-26B8-4852-BD38-B27ACA222FCF}"/>
              </a:ext>
            </a:extLst>
          </p:cNvPr>
          <p:cNvSpPr>
            <a:spLocks noGrp="1"/>
          </p:cNvSpPr>
          <p:nvPr>
            <p:ph type="title"/>
          </p:nvPr>
        </p:nvSpPr>
        <p:spPr>
          <a:xfrm>
            <a:off x="629999" y="530942"/>
            <a:ext cx="3676530" cy="470898"/>
          </a:xfrm>
          <a:solidFill>
            <a:srgbClr val="002060"/>
          </a:solidFill>
        </p:spPr>
        <p:txBody>
          <a:bodyPr/>
          <a:lstStyle/>
          <a:p>
            <a:pPr algn="ctr"/>
            <a:r>
              <a:rPr lang="en-US">
                <a:solidFill>
                  <a:schemeClr val="bg1"/>
                </a:solidFill>
              </a:rPr>
              <a:t>Recommendation</a:t>
            </a:r>
          </a:p>
        </p:txBody>
      </p:sp>
      <p:sp>
        <p:nvSpPr>
          <p:cNvPr id="9" name="TextBox 8">
            <a:extLst>
              <a:ext uri="{FF2B5EF4-FFF2-40B4-BE49-F238E27FC236}">
                <a16:creationId xmlns:a16="http://schemas.microsoft.com/office/drawing/2014/main" id="{E3C0B427-9E9D-47EC-AFD8-3D8F22D59FE9}"/>
              </a:ext>
            </a:extLst>
          </p:cNvPr>
          <p:cNvSpPr txBox="1"/>
          <p:nvPr/>
        </p:nvSpPr>
        <p:spPr>
          <a:xfrm>
            <a:off x="551342" y="4343331"/>
            <a:ext cx="3538877" cy="617111"/>
          </a:xfrm>
          <a:prstGeom prst="rect">
            <a:avLst/>
          </a:prstGeom>
          <a:noFill/>
          <a:ln w="6350"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b="1">
                <a:solidFill>
                  <a:srgbClr val="002060"/>
                </a:solidFill>
              </a:rPr>
              <a:t>Addresses customer pain points in waiting for their buses. </a:t>
            </a:r>
            <a:endParaRPr lang="en-SG" sz="1600">
              <a:solidFill>
                <a:srgbClr val="002060"/>
              </a:solidFill>
            </a:endParaRPr>
          </a:p>
        </p:txBody>
      </p:sp>
    </p:spTree>
    <p:extLst>
      <p:ext uri="{BB962C8B-B14F-4D97-AF65-F5344CB8AC3E}">
        <p14:creationId xmlns:p14="http://schemas.microsoft.com/office/powerpoint/2010/main" val="768738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44C4747-39E5-4D38-9B95-E44C3986FFB8}"/>
              </a:ext>
            </a:extLst>
          </p:cNvPr>
          <p:cNvPicPr>
            <a:picLocks noChangeAspect="1"/>
          </p:cNvPicPr>
          <p:nvPr/>
        </p:nvPicPr>
        <p:blipFill>
          <a:blip r:embed="rId2"/>
          <a:stretch>
            <a:fillRect/>
          </a:stretch>
        </p:blipFill>
        <p:spPr>
          <a:xfrm>
            <a:off x="4168876" y="3190248"/>
            <a:ext cx="1858296" cy="3541112"/>
          </a:xfrm>
          <a:prstGeom prst="rect">
            <a:avLst/>
          </a:prstGeom>
        </p:spPr>
      </p:pic>
      <p:sp>
        <p:nvSpPr>
          <p:cNvPr id="3" name="Text Placeholder 2">
            <a:extLst>
              <a:ext uri="{FF2B5EF4-FFF2-40B4-BE49-F238E27FC236}">
                <a16:creationId xmlns:a16="http://schemas.microsoft.com/office/drawing/2014/main" id="{23B5890E-3952-4DA3-84DC-3B5A3B209183}"/>
              </a:ext>
            </a:extLst>
          </p:cNvPr>
          <p:cNvSpPr>
            <a:spLocks noGrp="1"/>
          </p:cNvSpPr>
          <p:nvPr>
            <p:ph type="body" sz="quarter" idx="10"/>
          </p:nvPr>
        </p:nvSpPr>
        <p:spPr>
          <a:xfrm>
            <a:off x="629999" y="2127757"/>
            <a:ext cx="3460220" cy="3132139"/>
          </a:xfrm>
        </p:spPr>
        <p:txBody>
          <a:bodyPr vert="horz" lIns="0" tIns="0" rIns="0" bIns="0" rtlCol="0" anchor="t">
            <a:noAutofit/>
          </a:bodyPr>
          <a:lstStyle/>
          <a:p>
            <a:r>
              <a:rPr lang="en-US" sz="1600"/>
              <a:t>Using real time information readily available in google map, provide bus arrival timings. </a:t>
            </a:r>
          </a:p>
          <a:p>
            <a:r>
              <a:rPr lang="en-US" sz="1600"/>
              <a:t>Provide overcrowding index. </a:t>
            </a:r>
          </a:p>
          <a:p>
            <a:endParaRPr lang="en-US" sz="1600"/>
          </a:p>
          <a:p>
            <a:r>
              <a:rPr lang="en-US" sz="1600"/>
              <a:t>1) Enhancement of Sentosa App – Arrival time missing, available capacity</a:t>
            </a:r>
          </a:p>
          <a:p>
            <a:r>
              <a:rPr lang="en-US" sz="1600"/>
              <a:t>2) </a:t>
            </a:r>
            <a:r>
              <a:rPr lang="en-US" sz="1600" b="1">
                <a:solidFill>
                  <a:srgbClr val="FF0000"/>
                </a:solidFill>
              </a:rPr>
              <a:t>Signboard at bus stops to indicate estimated Arrival time and seating.   </a:t>
            </a:r>
          </a:p>
          <a:p>
            <a:endParaRPr lang="en-US" sz="1600"/>
          </a:p>
          <a:p>
            <a:endParaRPr lang="en-US" sz="1600"/>
          </a:p>
        </p:txBody>
      </p:sp>
      <p:sp>
        <p:nvSpPr>
          <p:cNvPr id="5" name="Title 1">
            <a:extLst>
              <a:ext uri="{FF2B5EF4-FFF2-40B4-BE49-F238E27FC236}">
                <a16:creationId xmlns:a16="http://schemas.microsoft.com/office/drawing/2014/main" id="{08DC735E-1A7F-457B-A1FA-9F4F07DCE495}"/>
              </a:ext>
            </a:extLst>
          </p:cNvPr>
          <p:cNvSpPr txBox="1">
            <a:spLocks/>
          </p:cNvSpPr>
          <p:nvPr/>
        </p:nvSpPr>
        <p:spPr>
          <a:xfrm>
            <a:off x="629999" y="1232400"/>
            <a:ext cx="4187806"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sz="2400">
                <a:solidFill>
                  <a:srgbClr val="002060"/>
                </a:solidFill>
              </a:rPr>
              <a:t>Provide real time bus arrival and occupancy information</a:t>
            </a:r>
          </a:p>
        </p:txBody>
      </p:sp>
      <p:sp>
        <p:nvSpPr>
          <p:cNvPr id="8" name="Title 1">
            <a:extLst>
              <a:ext uri="{FF2B5EF4-FFF2-40B4-BE49-F238E27FC236}">
                <a16:creationId xmlns:a16="http://schemas.microsoft.com/office/drawing/2014/main" id="{E6878894-26B8-4852-BD38-B27ACA222FCF}"/>
              </a:ext>
            </a:extLst>
          </p:cNvPr>
          <p:cNvSpPr>
            <a:spLocks noGrp="1"/>
          </p:cNvSpPr>
          <p:nvPr>
            <p:ph type="title"/>
          </p:nvPr>
        </p:nvSpPr>
        <p:spPr>
          <a:xfrm>
            <a:off x="629999" y="530942"/>
            <a:ext cx="3676530" cy="470898"/>
          </a:xfrm>
          <a:solidFill>
            <a:srgbClr val="002060"/>
          </a:solidFill>
        </p:spPr>
        <p:txBody>
          <a:bodyPr/>
          <a:lstStyle/>
          <a:p>
            <a:pPr algn="ctr"/>
            <a:r>
              <a:rPr lang="en-US">
                <a:solidFill>
                  <a:schemeClr val="bg1"/>
                </a:solidFill>
              </a:rPr>
              <a:t>Recommendation</a:t>
            </a:r>
          </a:p>
        </p:txBody>
      </p:sp>
      <p:sp>
        <p:nvSpPr>
          <p:cNvPr id="9" name="TextBox 8">
            <a:extLst>
              <a:ext uri="{FF2B5EF4-FFF2-40B4-BE49-F238E27FC236}">
                <a16:creationId xmlns:a16="http://schemas.microsoft.com/office/drawing/2014/main" id="{E3C0B427-9E9D-47EC-AFD8-3D8F22D59FE9}"/>
              </a:ext>
            </a:extLst>
          </p:cNvPr>
          <p:cNvSpPr txBox="1"/>
          <p:nvPr/>
        </p:nvSpPr>
        <p:spPr>
          <a:xfrm>
            <a:off x="551342" y="5259896"/>
            <a:ext cx="3538877" cy="916565"/>
          </a:xfrm>
          <a:prstGeom prst="rect">
            <a:avLst/>
          </a:prstGeom>
          <a:noFill/>
          <a:ln w="6350"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b="1">
                <a:solidFill>
                  <a:srgbClr val="002060"/>
                </a:solidFill>
              </a:rPr>
              <a:t>Addresses customer pain points in waiting for their buses. </a:t>
            </a:r>
            <a:endParaRPr lang="en-SG" sz="1600">
              <a:solidFill>
                <a:srgbClr val="002060"/>
              </a:solidFill>
            </a:endParaRPr>
          </a:p>
        </p:txBody>
      </p:sp>
      <p:pic>
        <p:nvPicPr>
          <p:cNvPr id="7" name="Picture 6">
            <a:extLst>
              <a:ext uri="{FF2B5EF4-FFF2-40B4-BE49-F238E27FC236}">
                <a16:creationId xmlns:a16="http://schemas.microsoft.com/office/drawing/2014/main" id="{7C40B6EA-6194-4CAA-A041-A76C7A7A27A4}"/>
              </a:ext>
            </a:extLst>
          </p:cNvPr>
          <p:cNvPicPr>
            <a:picLocks noChangeAspect="1"/>
          </p:cNvPicPr>
          <p:nvPr/>
        </p:nvPicPr>
        <p:blipFill rotWithShape="1">
          <a:blip r:embed="rId3"/>
          <a:srcRect l="50043" r="832"/>
          <a:stretch/>
        </p:blipFill>
        <p:spPr>
          <a:xfrm>
            <a:off x="5961460" y="530942"/>
            <a:ext cx="6112523" cy="6202010"/>
          </a:xfrm>
          <a:prstGeom prst="rect">
            <a:avLst/>
          </a:prstGeom>
        </p:spPr>
      </p:pic>
    </p:spTree>
    <p:extLst>
      <p:ext uri="{BB962C8B-B14F-4D97-AF65-F5344CB8AC3E}">
        <p14:creationId xmlns:p14="http://schemas.microsoft.com/office/powerpoint/2010/main" val="4030892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AC40630-40AD-4D8B-9600-43918643D123}"/>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2" name="think-cell Slide" r:id="rId6" imgW="351" imgH="351" progId="TCLayout.ActiveDocument.1">
                  <p:embed/>
                </p:oleObj>
              </mc:Choice>
              <mc:Fallback>
                <p:oleObj name="think-cell Slide" r:id="rId6" imgW="351" imgH="351" progId="TCLayout.ActiveDocument.1">
                  <p:embed/>
                  <p:pic>
                    <p:nvPicPr>
                      <p:cNvPr id="9" name="Object 8" hidden="1">
                        <a:extLst>
                          <a:ext uri="{FF2B5EF4-FFF2-40B4-BE49-F238E27FC236}">
                            <a16:creationId xmlns:a16="http://schemas.microsoft.com/office/drawing/2014/main" id="{5AC40630-40AD-4D8B-9600-43918643D1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83" name="Group 82">
            <a:extLst>
              <a:ext uri="{FF2B5EF4-FFF2-40B4-BE49-F238E27FC236}">
                <a16:creationId xmlns:a16="http://schemas.microsoft.com/office/drawing/2014/main" id="{7204B308-BA36-4D56-9C52-FABFCC133194}"/>
              </a:ext>
            </a:extLst>
          </p:cNvPr>
          <p:cNvGrpSpPr/>
          <p:nvPr/>
        </p:nvGrpSpPr>
        <p:grpSpPr>
          <a:xfrm rot="5400000">
            <a:off x="9643828" y="2129964"/>
            <a:ext cx="306171" cy="3818467"/>
            <a:chOff x="5942914" y="2081213"/>
            <a:chExt cx="306171" cy="4079081"/>
          </a:xfrm>
        </p:grpSpPr>
        <p:cxnSp>
          <p:nvCxnSpPr>
            <p:cNvPr id="84" name="Straight Connector 83">
              <a:extLst>
                <a:ext uri="{FF2B5EF4-FFF2-40B4-BE49-F238E27FC236}">
                  <a16:creationId xmlns:a16="http://schemas.microsoft.com/office/drawing/2014/main" id="{8AC8DBC6-2D76-4708-8C31-176DC3ED8C69}"/>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D19B41F0-FD59-4A3E-8C5A-7562B8924930}"/>
                </a:ext>
              </a:extLst>
            </p:cNvPr>
            <p:cNvGrpSpPr/>
            <p:nvPr/>
          </p:nvGrpSpPr>
          <p:grpSpPr>
            <a:xfrm>
              <a:off x="5942914" y="3967299"/>
              <a:ext cx="306171" cy="306910"/>
              <a:chOff x="5937564" y="3833745"/>
              <a:chExt cx="306171" cy="306910"/>
            </a:xfrm>
          </p:grpSpPr>
          <p:sp>
            <p:nvSpPr>
              <p:cNvPr id="86" name="Freeform 94">
                <a:extLst>
                  <a:ext uri="{FF2B5EF4-FFF2-40B4-BE49-F238E27FC236}">
                    <a16:creationId xmlns:a16="http://schemas.microsoft.com/office/drawing/2014/main" id="{2D48EDE9-5353-40B8-B7CD-999BF3F3FEC0}"/>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87" name="Freeform 95">
                <a:extLst>
                  <a:ext uri="{FF2B5EF4-FFF2-40B4-BE49-F238E27FC236}">
                    <a16:creationId xmlns:a16="http://schemas.microsoft.com/office/drawing/2014/main" id="{7A57C118-2E3D-41F6-BBC8-933010304B3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2" name="Title 1"/>
          <p:cNvSpPr>
            <a:spLocks noGrp="1"/>
          </p:cNvSpPr>
          <p:nvPr>
            <p:ph type="title"/>
          </p:nvPr>
        </p:nvSpPr>
        <p:spPr>
          <a:xfrm>
            <a:off x="630000" y="622800"/>
            <a:ext cx="6256800" cy="387798"/>
          </a:xfrm>
        </p:spPr>
        <p:txBody>
          <a:bodyPr vert="horz"/>
          <a:lstStyle/>
          <a:p>
            <a:r>
              <a:rPr lang="en-US" sz="2800"/>
              <a:t>Sentosa</a:t>
            </a:r>
          </a:p>
        </p:txBody>
      </p:sp>
      <p:sp>
        <p:nvSpPr>
          <p:cNvPr id="43" name="Oval 42">
            <a:extLst>
              <a:ext uri="{FF2B5EF4-FFF2-40B4-BE49-F238E27FC236}">
                <a16:creationId xmlns:a16="http://schemas.microsoft.com/office/drawing/2014/main" id="{E00733D0-6050-4A6A-9B74-F7A02E3BF82B}"/>
              </a:ext>
            </a:extLst>
          </p:cNvPr>
          <p:cNvSpPr/>
          <p:nvPr/>
        </p:nvSpPr>
        <p:spPr>
          <a:xfrm>
            <a:off x="604170" y="1358437"/>
            <a:ext cx="898448" cy="898448"/>
          </a:xfrm>
          <a:prstGeom prst="ellipse">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6" name="Oval 45">
            <a:extLst>
              <a:ext uri="{FF2B5EF4-FFF2-40B4-BE49-F238E27FC236}">
                <a16:creationId xmlns:a16="http://schemas.microsoft.com/office/drawing/2014/main" id="{11EE7A06-B7C8-4624-BA7E-17139EBB8118}"/>
              </a:ext>
            </a:extLst>
          </p:cNvPr>
          <p:cNvSpPr/>
          <p:nvPr/>
        </p:nvSpPr>
        <p:spPr>
          <a:xfrm>
            <a:off x="630000" y="3495243"/>
            <a:ext cx="898448" cy="898448"/>
          </a:xfrm>
          <a:prstGeom prst="ellipse">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7" name="Oval 46">
            <a:extLst>
              <a:ext uri="{FF2B5EF4-FFF2-40B4-BE49-F238E27FC236}">
                <a16:creationId xmlns:a16="http://schemas.microsoft.com/office/drawing/2014/main" id="{F72C6B24-8418-4412-9865-FB9025226B82}"/>
              </a:ext>
            </a:extLst>
          </p:cNvPr>
          <p:cNvSpPr/>
          <p:nvPr/>
        </p:nvSpPr>
        <p:spPr>
          <a:xfrm>
            <a:off x="630000" y="5154184"/>
            <a:ext cx="898448" cy="898448"/>
          </a:xfrm>
          <a:prstGeom prst="ellipse">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48" name="Group 47">
            <a:extLst>
              <a:ext uri="{FF2B5EF4-FFF2-40B4-BE49-F238E27FC236}">
                <a16:creationId xmlns:a16="http://schemas.microsoft.com/office/drawing/2014/main" id="{55C40723-898F-49E1-820A-2D1BDAA53EBF}"/>
              </a:ext>
            </a:extLst>
          </p:cNvPr>
          <p:cNvGrpSpPr>
            <a:grpSpLocks noChangeAspect="1"/>
          </p:cNvGrpSpPr>
          <p:nvPr/>
        </p:nvGrpSpPr>
        <p:grpSpPr>
          <a:xfrm>
            <a:off x="519499" y="1273767"/>
            <a:ext cx="1067787" cy="1067787"/>
            <a:chOff x="5274038" y="2605402"/>
            <a:chExt cx="1645200" cy="1645200"/>
          </a:xfrm>
        </p:grpSpPr>
        <p:sp>
          <p:nvSpPr>
            <p:cNvPr id="49" name="AutoShape 3">
              <a:extLst>
                <a:ext uri="{FF2B5EF4-FFF2-40B4-BE49-F238E27FC236}">
                  <a16:creationId xmlns:a16="http://schemas.microsoft.com/office/drawing/2014/main" id="{3EC76C44-3ACA-419C-959A-B2334743F702}"/>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0" name="Group 49">
              <a:extLst>
                <a:ext uri="{FF2B5EF4-FFF2-40B4-BE49-F238E27FC236}">
                  <a16:creationId xmlns:a16="http://schemas.microsoft.com/office/drawing/2014/main" id="{E487BD5C-7BCC-41D8-BC0C-72EA93E15A9A}"/>
                </a:ext>
              </a:extLst>
            </p:cNvPr>
            <p:cNvGrpSpPr/>
            <p:nvPr/>
          </p:nvGrpSpPr>
          <p:grpSpPr>
            <a:xfrm>
              <a:off x="5577973" y="2880027"/>
              <a:ext cx="1037330" cy="1095951"/>
              <a:chOff x="5577973" y="2880027"/>
              <a:chExt cx="1037330" cy="1095951"/>
            </a:xfrm>
          </p:grpSpPr>
          <p:sp>
            <p:nvSpPr>
              <p:cNvPr id="51" name="Line 5">
                <a:extLst>
                  <a:ext uri="{FF2B5EF4-FFF2-40B4-BE49-F238E27FC236}">
                    <a16:creationId xmlns:a16="http://schemas.microsoft.com/office/drawing/2014/main" id="{55AF2899-16F8-494B-9AA8-F6CCA00BB2B6}"/>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Line 6">
                <a:extLst>
                  <a:ext uri="{FF2B5EF4-FFF2-40B4-BE49-F238E27FC236}">
                    <a16:creationId xmlns:a16="http://schemas.microsoft.com/office/drawing/2014/main" id="{B4EEBB4A-9F58-49D0-A309-6B45737DF758}"/>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2">
                <a:extLst>
                  <a:ext uri="{FF2B5EF4-FFF2-40B4-BE49-F238E27FC236}">
                    <a16:creationId xmlns:a16="http://schemas.microsoft.com/office/drawing/2014/main" id="{878A382E-D2C6-4DC0-85DD-A286F8555DD5}"/>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4">
                <a:extLst>
                  <a:ext uri="{FF2B5EF4-FFF2-40B4-BE49-F238E27FC236}">
                    <a16:creationId xmlns:a16="http://schemas.microsoft.com/office/drawing/2014/main" id="{D3F86C36-F16B-40B7-AF98-D48C2A428B6A}"/>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5" name="Freeform 23">
                <a:extLst>
                  <a:ext uri="{FF2B5EF4-FFF2-40B4-BE49-F238E27FC236}">
                    <a16:creationId xmlns:a16="http://schemas.microsoft.com/office/drawing/2014/main" id="{C11079BC-BA4D-421F-936C-38CBD586BBB7}"/>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57" name="Group 56">
            <a:extLst>
              <a:ext uri="{FF2B5EF4-FFF2-40B4-BE49-F238E27FC236}">
                <a16:creationId xmlns:a16="http://schemas.microsoft.com/office/drawing/2014/main" id="{C3466721-82AA-422B-AF19-FBD3928CDBD1}"/>
              </a:ext>
            </a:extLst>
          </p:cNvPr>
          <p:cNvGrpSpPr>
            <a:grpSpLocks noChangeAspect="1"/>
          </p:cNvGrpSpPr>
          <p:nvPr/>
        </p:nvGrpSpPr>
        <p:grpSpPr>
          <a:xfrm>
            <a:off x="629566" y="3495243"/>
            <a:ext cx="899316" cy="898448"/>
            <a:chOff x="6464300" y="2606675"/>
            <a:chExt cx="1646238" cy="1644650"/>
          </a:xfrm>
        </p:grpSpPr>
        <p:sp>
          <p:nvSpPr>
            <p:cNvPr id="58" name="AutoShape 13">
              <a:extLst>
                <a:ext uri="{FF2B5EF4-FFF2-40B4-BE49-F238E27FC236}">
                  <a16:creationId xmlns:a16="http://schemas.microsoft.com/office/drawing/2014/main" id="{1017E76E-7DDB-476E-A039-011C173CA129}"/>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9" name="Group 58">
              <a:extLst>
                <a:ext uri="{FF2B5EF4-FFF2-40B4-BE49-F238E27FC236}">
                  <a16:creationId xmlns:a16="http://schemas.microsoft.com/office/drawing/2014/main" id="{43B13EE7-3E7B-4C89-A68B-6DAB6B73C5D6}"/>
                </a:ext>
              </a:extLst>
            </p:cNvPr>
            <p:cNvGrpSpPr/>
            <p:nvPr/>
          </p:nvGrpSpPr>
          <p:grpSpPr>
            <a:xfrm>
              <a:off x="6729413" y="3032124"/>
              <a:ext cx="1153373" cy="976314"/>
              <a:chOff x="6729413" y="3032124"/>
              <a:chExt cx="1153373" cy="976314"/>
            </a:xfrm>
          </p:grpSpPr>
          <p:sp>
            <p:nvSpPr>
              <p:cNvPr id="60" name="Freeform 11">
                <a:extLst>
                  <a:ext uri="{FF2B5EF4-FFF2-40B4-BE49-F238E27FC236}">
                    <a16:creationId xmlns:a16="http://schemas.microsoft.com/office/drawing/2014/main" id="{D942C4CF-D40C-4568-B83F-852422A13EB5}"/>
                  </a:ext>
                </a:extLst>
              </p:cNvPr>
              <p:cNvSpPr>
                <a:spLocks/>
              </p:cNvSpPr>
              <p:nvPr/>
            </p:nvSpPr>
            <p:spPr bwMode="auto">
              <a:xfrm>
                <a:off x="7041869" y="3032124"/>
                <a:ext cx="840917" cy="580108"/>
              </a:xfrm>
              <a:custGeom>
                <a:avLst/>
                <a:gdLst>
                  <a:gd name="connsiteX0" fmla="*/ 20275 w 840917"/>
                  <a:gd name="connsiteY0" fmla="*/ 256303 h 580108"/>
                  <a:gd name="connsiteX1" fmla="*/ 200737 w 840917"/>
                  <a:gd name="connsiteY1" fmla="*/ 256303 h 580108"/>
                  <a:gd name="connsiteX2" fmla="*/ 218569 w 840917"/>
                  <a:gd name="connsiteY2" fmla="*/ 265589 h 580108"/>
                  <a:gd name="connsiteX3" fmla="*/ 274919 w 840917"/>
                  <a:gd name="connsiteY3" fmla="*/ 412751 h 580108"/>
                  <a:gd name="connsiteX4" fmla="*/ 159366 w 840917"/>
                  <a:gd name="connsiteY4" fmla="*/ 407036 h 580108"/>
                  <a:gd name="connsiteX5" fmla="*/ 16709 w 840917"/>
                  <a:gd name="connsiteY5" fmla="*/ 264161 h 580108"/>
                  <a:gd name="connsiteX6" fmla="*/ 20275 w 840917"/>
                  <a:gd name="connsiteY6" fmla="*/ 256303 h 580108"/>
                  <a:gd name="connsiteX7" fmla="*/ 651482 w 840917"/>
                  <a:gd name="connsiteY7" fmla="*/ 255588 h 580108"/>
                  <a:gd name="connsiteX8" fmla="*/ 824991 w 840917"/>
                  <a:gd name="connsiteY8" fmla="*/ 256301 h 580108"/>
                  <a:gd name="connsiteX9" fmla="*/ 828561 w 840917"/>
                  <a:gd name="connsiteY9" fmla="*/ 264138 h 580108"/>
                  <a:gd name="connsiteX10" fmla="*/ 514389 w 840917"/>
                  <a:gd name="connsiteY10" fmla="*/ 578338 h 580108"/>
                  <a:gd name="connsiteX11" fmla="*/ 506534 w 840917"/>
                  <a:gd name="connsiteY11" fmla="*/ 574063 h 580108"/>
                  <a:gd name="connsiteX12" fmla="*/ 506534 w 840917"/>
                  <a:gd name="connsiteY12" fmla="*/ 573351 h 580108"/>
                  <a:gd name="connsiteX13" fmla="*/ 617923 w 840917"/>
                  <a:gd name="connsiteY13" fmla="*/ 278387 h 580108"/>
                  <a:gd name="connsiteX14" fmla="*/ 651482 w 840917"/>
                  <a:gd name="connsiteY14" fmla="*/ 255588 h 580108"/>
                  <a:gd name="connsiteX15" fmla="*/ 268809 w 840917"/>
                  <a:gd name="connsiteY15" fmla="*/ 255588 h 580108"/>
                  <a:gd name="connsiteX16" fmla="*/ 574001 w 840917"/>
                  <a:gd name="connsiteY16" fmla="*/ 255588 h 580108"/>
                  <a:gd name="connsiteX17" fmla="*/ 578290 w 840917"/>
                  <a:gd name="connsiteY17" fmla="*/ 262020 h 580108"/>
                  <a:gd name="connsiteX18" fmla="*/ 497525 w 840917"/>
                  <a:gd name="connsiteY18" fmla="*/ 477838 h 580108"/>
                  <a:gd name="connsiteX19" fmla="*/ 405324 w 840917"/>
                  <a:gd name="connsiteY19" fmla="*/ 419238 h 580108"/>
                  <a:gd name="connsiteX20" fmla="*/ 321700 w 840917"/>
                  <a:gd name="connsiteY20" fmla="*/ 414951 h 580108"/>
                  <a:gd name="connsiteX21" fmla="*/ 264520 w 840917"/>
                  <a:gd name="connsiteY21" fmla="*/ 262020 h 580108"/>
                  <a:gd name="connsiteX22" fmla="*/ 268809 w 840917"/>
                  <a:gd name="connsiteY22" fmla="*/ 255588 h 580108"/>
                  <a:gd name="connsiteX23" fmla="*/ 375756 w 840917"/>
                  <a:gd name="connsiteY23" fmla="*/ 1433 h 580108"/>
                  <a:gd name="connsiteX24" fmla="*/ 466182 w 840917"/>
                  <a:gd name="connsiteY24" fmla="*/ 1433 h 580108"/>
                  <a:gd name="connsiteX25" fmla="*/ 486831 w 840917"/>
                  <a:gd name="connsiteY25" fmla="*/ 12176 h 580108"/>
                  <a:gd name="connsiteX26" fmla="*/ 575832 w 840917"/>
                  <a:gd name="connsiteY26" fmla="*/ 205563 h 580108"/>
                  <a:gd name="connsiteX27" fmla="*/ 571560 w 840917"/>
                  <a:gd name="connsiteY27" fmla="*/ 212725 h 580108"/>
                  <a:gd name="connsiteX28" fmla="*/ 271802 w 840917"/>
                  <a:gd name="connsiteY28" fmla="*/ 212725 h 580108"/>
                  <a:gd name="connsiteX29" fmla="*/ 267530 w 840917"/>
                  <a:gd name="connsiteY29" fmla="*/ 205563 h 580108"/>
                  <a:gd name="connsiteX30" fmla="*/ 357244 w 840917"/>
                  <a:gd name="connsiteY30" fmla="*/ 10028 h 580108"/>
                  <a:gd name="connsiteX31" fmla="*/ 375756 w 840917"/>
                  <a:gd name="connsiteY31" fmla="*/ 1433 h 580108"/>
                  <a:gd name="connsiteX32" fmla="*/ 535360 w 840917"/>
                  <a:gd name="connsiteY32" fmla="*/ 0 h 580108"/>
                  <a:gd name="connsiteX33" fmla="*/ 641992 w 840917"/>
                  <a:gd name="connsiteY33" fmla="*/ 1434 h 580108"/>
                  <a:gd name="connsiteX34" fmla="*/ 663461 w 840917"/>
                  <a:gd name="connsiteY34" fmla="*/ 12185 h 580108"/>
                  <a:gd name="connsiteX35" fmla="*/ 840226 w 840917"/>
                  <a:gd name="connsiteY35" fmla="*/ 204278 h 580108"/>
                  <a:gd name="connsiteX36" fmla="*/ 837363 w 840917"/>
                  <a:gd name="connsiteY36" fmla="*/ 212163 h 580108"/>
                  <a:gd name="connsiteX37" fmla="*/ 827344 w 840917"/>
                  <a:gd name="connsiteY37" fmla="*/ 213596 h 580108"/>
                  <a:gd name="connsiteX38" fmla="*/ 646285 w 840917"/>
                  <a:gd name="connsiteY38" fmla="*/ 213596 h 580108"/>
                  <a:gd name="connsiteX39" fmla="*/ 616228 w 840917"/>
                  <a:gd name="connsiteY39" fmla="*/ 194960 h 580108"/>
                  <a:gd name="connsiteX40" fmla="*/ 531066 w 840917"/>
                  <a:gd name="connsiteY40" fmla="*/ 7168 h 580108"/>
                  <a:gd name="connsiteX41" fmla="*/ 535360 w 840917"/>
                  <a:gd name="connsiteY41" fmla="*/ 0 h 580108"/>
                  <a:gd name="connsiteX42" fmla="*/ 308007 w 840917"/>
                  <a:gd name="connsiteY42" fmla="*/ 0 h 580108"/>
                  <a:gd name="connsiteX43" fmla="*/ 312303 w 840917"/>
                  <a:gd name="connsiteY43" fmla="*/ 7163 h 580108"/>
                  <a:gd name="connsiteX44" fmla="*/ 220654 w 840917"/>
                  <a:gd name="connsiteY44" fmla="*/ 202698 h 580108"/>
                  <a:gd name="connsiteX45" fmla="*/ 207050 w 840917"/>
                  <a:gd name="connsiteY45" fmla="*/ 212725 h 580108"/>
                  <a:gd name="connsiteX46" fmla="*/ 5138 w 840917"/>
                  <a:gd name="connsiteY46" fmla="*/ 212725 h 580108"/>
                  <a:gd name="connsiteX47" fmla="*/ 842 w 840917"/>
                  <a:gd name="connsiteY47" fmla="*/ 204846 h 580108"/>
                  <a:gd name="connsiteX48" fmla="*/ 71010 w 840917"/>
                  <a:gd name="connsiteY48" fmla="*/ 128924 h 580108"/>
                  <a:gd name="connsiteX49" fmla="*/ 176978 w 840917"/>
                  <a:gd name="connsiteY49" fmla="*/ 13609 h 580108"/>
                  <a:gd name="connsiteX50" fmla="*/ 200606 w 840917"/>
                  <a:gd name="connsiteY50" fmla="*/ 1433 h 580108"/>
                  <a:gd name="connsiteX51" fmla="*/ 308007 w 840917"/>
                  <a:gd name="connsiteY51" fmla="*/ 0 h 5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40917" h="580108">
                    <a:moveTo>
                      <a:pt x="20275" y="256303"/>
                    </a:moveTo>
                    <a:cubicBezTo>
                      <a:pt x="78051" y="256303"/>
                      <a:pt x="139394" y="255588"/>
                      <a:pt x="200737" y="256303"/>
                    </a:cubicBezTo>
                    <a:cubicBezTo>
                      <a:pt x="206443" y="256303"/>
                      <a:pt x="217142" y="260589"/>
                      <a:pt x="218569" y="265589"/>
                    </a:cubicBezTo>
                    <a:cubicBezTo>
                      <a:pt x="237828" y="314167"/>
                      <a:pt x="255660" y="364173"/>
                      <a:pt x="274919" y="412751"/>
                    </a:cubicBezTo>
                    <a:cubicBezTo>
                      <a:pt x="274919" y="412751"/>
                      <a:pt x="274919" y="412751"/>
                      <a:pt x="159366" y="407036"/>
                    </a:cubicBezTo>
                    <a:cubicBezTo>
                      <a:pt x="112289" y="359173"/>
                      <a:pt x="64499" y="312024"/>
                      <a:pt x="16709" y="264161"/>
                    </a:cubicBezTo>
                    <a:cubicBezTo>
                      <a:pt x="14569" y="261303"/>
                      <a:pt x="15995" y="256303"/>
                      <a:pt x="20275" y="256303"/>
                    </a:cubicBezTo>
                    <a:close/>
                    <a:moveTo>
                      <a:pt x="651482" y="255588"/>
                    </a:moveTo>
                    <a:cubicBezTo>
                      <a:pt x="710032" y="256301"/>
                      <a:pt x="768583" y="256301"/>
                      <a:pt x="824991" y="256301"/>
                    </a:cubicBezTo>
                    <a:cubicBezTo>
                      <a:pt x="829275" y="256301"/>
                      <a:pt x="832131" y="261288"/>
                      <a:pt x="828561" y="264138"/>
                    </a:cubicBezTo>
                    <a:cubicBezTo>
                      <a:pt x="723599" y="368871"/>
                      <a:pt x="618637" y="475030"/>
                      <a:pt x="514389" y="578338"/>
                    </a:cubicBezTo>
                    <a:cubicBezTo>
                      <a:pt x="510818" y="582613"/>
                      <a:pt x="505106" y="578338"/>
                      <a:pt x="506534" y="574063"/>
                    </a:cubicBezTo>
                    <a:cubicBezTo>
                      <a:pt x="506534" y="573351"/>
                      <a:pt x="506534" y="573351"/>
                      <a:pt x="506534" y="573351"/>
                    </a:cubicBezTo>
                    <a:cubicBezTo>
                      <a:pt x="544378" y="475742"/>
                      <a:pt x="581507" y="376708"/>
                      <a:pt x="617923" y="278387"/>
                    </a:cubicBezTo>
                    <a:cubicBezTo>
                      <a:pt x="624349" y="260575"/>
                      <a:pt x="632917" y="255588"/>
                      <a:pt x="651482" y="255588"/>
                    </a:cubicBezTo>
                    <a:close/>
                    <a:moveTo>
                      <a:pt x="268809" y="255588"/>
                    </a:moveTo>
                    <a:cubicBezTo>
                      <a:pt x="268809" y="255588"/>
                      <a:pt x="268809" y="255588"/>
                      <a:pt x="574001" y="255588"/>
                    </a:cubicBezTo>
                    <a:cubicBezTo>
                      <a:pt x="577575" y="255588"/>
                      <a:pt x="579719" y="259161"/>
                      <a:pt x="578290" y="262020"/>
                    </a:cubicBezTo>
                    <a:cubicBezTo>
                      <a:pt x="551130" y="334197"/>
                      <a:pt x="523970" y="406375"/>
                      <a:pt x="497525" y="477838"/>
                    </a:cubicBezTo>
                    <a:cubicBezTo>
                      <a:pt x="479656" y="444965"/>
                      <a:pt x="445349" y="421382"/>
                      <a:pt x="405324" y="419238"/>
                    </a:cubicBezTo>
                    <a:cubicBezTo>
                      <a:pt x="405324" y="419238"/>
                      <a:pt x="405324" y="419238"/>
                      <a:pt x="321700" y="414951"/>
                    </a:cubicBezTo>
                    <a:cubicBezTo>
                      <a:pt x="315982" y="400658"/>
                      <a:pt x="302402" y="362783"/>
                      <a:pt x="264520" y="262020"/>
                    </a:cubicBezTo>
                    <a:cubicBezTo>
                      <a:pt x="263806" y="259161"/>
                      <a:pt x="265235" y="255588"/>
                      <a:pt x="268809" y="255588"/>
                    </a:cubicBezTo>
                    <a:close/>
                    <a:moveTo>
                      <a:pt x="375756" y="1433"/>
                    </a:moveTo>
                    <a:cubicBezTo>
                      <a:pt x="406373" y="0"/>
                      <a:pt x="436278" y="0"/>
                      <a:pt x="466182" y="1433"/>
                    </a:cubicBezTo>
                    <a:cubicBezTo>
                      <a:pt x="472590" y="1433"/>
                      <a:pt x="483270" y="6446"/>
                      <a:pt x="486831" y="12176"/>
                    </a:cubicBezTo>
                    <a:cubicBezTo>
                      <a:pt x="516735" y="75206"/>
                      <a:pt x="544504" y="139668"/>
                      <a:pt x="575832" y="205563"/>
                    </a:cubicBezTo>
                    <a:cubicBezTo>
                      <a:pt x="576544" y="209144"/>
                      <a:pt x="575120" y="212725"/>
                      <a:pt x="571560" y="212725"/>
                    </a:cubicBezTo>
                    <a:cubicBezTo>
                      <a:pt x="571560" y="212725"/>
                      <a:pt x="571560" y="212725"/>
                      <a:pt x="271802" y="212725"/>
                    </a:cubicBezTo>
                    <a:cubicBezTo>
                      <a:pt x="268242" y="212725"/>
                      <a:pt x="265394" y="209144"/>
                      <a:pt x="267530" y="205563"/>
                    </a:cubicBezTo>
                    <a:cubicBezTo>
                      <a:pt x="297435" y="138236"/>
                      <a:pt x="327339" y="73057"/>
                      <a:pt x="357244" y="10028"/>
                    </a:cubicBezTo>
                    <a:cubicBezTo>
                      <a:pt x="360092" y="4298"/>
                      <a:pt x="369348" y="1433"/>
                      <a:pt x="375756" y="1433"/>
                    </a:cubicBezTo>
                    <a:close/>
                    <a:moveTo>
                      <a:pt x="535360" y="0"/>
                    </a:moveTo>
                    <a:cubicBezTo>
                      <a:pt x="573289" y="0"/>
                      <a:pt x="607640" y="0"/>
                      <a:pt x="641992" y="1434"/>
                    </a:cubicBezTo>
                    <a:cubicBezTo>
                      <a:pt x="649148" y="1434"/>
                      <a:pt x="658451" y="6451"/>
                      <a:pt x="663461" y="12185"/>
                    </a:cubicBezTo>
                    <a:cubicBezTo>
                      <a:pt x="722144" y="74544"/>
                      <a:pt x="779396" y="139053"/>
                      <a:pt x="840226" y="204278"/>
                    </a:cubicBezTo>
                    <a:cubicBezTo>
                      <a:pt x="841657" y="206429"/>
                      <a:pt x="840942" y="212163"/>
                      <a:pt x="837363" y="212163"/>
                    </a:cubicBezTo>
                    <a:cubicBezTo>
                      <a:pt x="833069" y="212880"/>
                      <a:pt x="829491" y="213596"/>
                      <a:pt x="827344" y="213596"/>
                    </a:cubicBezTo>
                    <a:cubicBezTo>
                      <a:pt x="766514" y="213596"/>
                      <a:pt x="706400" y="212880"/>
                      <a:pt x="646285" y="213596"/>
                    </a:cubicBezTo>
                    <a:cubicBezTo>
                      <a:pt x="630541" y="214313"/>
                      <a:pt x="621953" y="209296"/>
                      <a:pt x="616228" y="194960"/>
                    </a:cubicBezTo>
                    <a:cubicBezTo>
                      <a:pt x="588318" y="134035"/>
                      <a:pt x="560408" y="72393"/>
                      <a:pt x="531066" y="7168"/>
                    </a:cubicBezTo>
                    <a:cubicBezTo>
                      <a:pt x="528919" y="4301"/>
                      <a:pt x="531782" y="0"/>
                      <a:pt x="535360" y="0"/>
                    </a:cubicBezTo>
                    <a:close/>
                    <a:moveTo>
                      <a:pt x="308007" y="0"/>
                    </a:moveTo>
                    <a:cubicBezTo>
                      <a:pt x="310871" y="0"/>
                      <a:pt x="313019" y="4298"/>
                      <a:pt x="312303" y="7163"/>
                    </a:cubicBezTo>
                    <a:cubicBezTo>
                      <a:pt x="280083" y="75206"/>
                      <a:pt x="250727" y="138952"/>
                      <a:pt x="220654" y="202698"/>
                    </a:cubicBezTo>
                    <a:cubicBezTo>
                      <a:pt x="219222" y="206995"/>
                      <a:pt x="212062" y="211293"/>
                      <a:pt x="207050" y="212725"/>
                    </a:cubicBezTo>
                    <a:cubicBezTo>
                      <a:pt x="141178" y="212725"/>
                      <a:pt x="76022" y="212725"/>
                      <a:pt x="5138" y="212725"/>
                    </a:cubicBezTo>
                    <a:cubicBezTo>
                      <a:pt x="842" y="212725"/>
                      <a:pt x="-1306" y="206995"/>
                      <a:pt x="842" y="204846"/>
                    </a:cubicBezTo>
                    <a:cubicBezTo>
                      <a:pt x="26618" y="177629"/>
                      <a:pt x="48098" y="153277"/>
                      <a:pt x="71010" y="128924"/>
                    </a:cubicBezTo>
                    <a:cubicBezTo>
                      <a:pt x="106094" y="89531"/>
                      <a:pt x="140462" y="51570"/>
                      <a:pt x="176978" y="13609"/>
                    </a:cubicBezTo>
                    <a:cubicBezTo>
                      <a:pt x="182706" y="7879"/>
                      <a:pt x="192014" y="1433"/>
                      <a:pt x="200606" y="1433"/>
                    </a:cubicBezTo>
                    <a:cubicBezTo>
                      <a:pt x="234259" y="0"/>
                      <a:pt x="268627" y="0"/>
                      <a:pt x="30800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61" name="Freeform 12">
                <a:extLst>
                  <a:ext uri="{FF2B5EF4-FFF2-40B4-BE49-F238E27FC236}">
                    <a16:creationId xmlns:a16="http://schemas.microsoft.com/office/drawing/2014/main" id="{CF171BE9-69E1-4D35-9DAC-447B74056236}"/>
                  </a:ext>
                </a:extLst>
              </p:cNvPr>
              <p:cNvSpPr>
                <a:spLocks/>
              </p:cNvSpPr>
              <p:nvPr/>
            </p:nvSpPr>
            <p:spPr bwMode="auto">
              <a:xfrm>
                <a:off x="6729413" y="3467100"/>
                <a:ext cx="1123838" cy="541338"/>
              </a:xfrm>
              <a:custGeom>
                <a:avLst/>
                <a:gdLst>
                  <a:gd name="connsiteX0" fmla="*/ 409739 w 1123838"/>
                  <a:gd name="connsiteY0" fmla="*/ 31588 h 541338"/>
                  <a:gd name="connsiteX1" fmla="*/ 326138 w 1123838"/>
                  <a:gd name="connsiteY1" fmla="*/ 51530 h 541338"/>
                  <a:gd name="connsiteX2" fmla="*/ 31750 w 1123838"/>
                  <a:gd name="connsiteY2" fmla="*/ 218189 h 541338"/>
                  <a:gd name="connsiteX3" fmla="*/ 31750 w 1123838"/>
                  <a:gd name="connsiteY3" fmla="*/ 501651 h 541338"/>
                  <a:gd name="connsiteX4" fmla="*/ 368296 w 1123838"/>
                  <a:gd name="connsiteY4" fmla="*/ 372028 h 541338"/>
                  <a:gd name="connsiteX5" fmla="*/ 419028 w 1123838"/>
                  <a:gd name="connsiteY5" fmla="*/ 364193 h 541338"/>
                  <a:gd name="connsiteX6" fmla="*/ 568366 w 1123838"/>
                  <a:gd name="connsiteY6" fmla="*/ 374876 h 541338"/>
                  <a:gd name="connsiteX7" fmla="*/ 797017 w 1123838"/>
                  <a:gd name="connsiteY7" fmla="*/ 348524 h 541338"/>
                  <a:gd name="connsiteX8" fmla="*/ 1047818 w 1123838"/>
                  <a:gd name="connsiteY8" fmla="*/ 182578 h 541338"/>
                  <a:gd name="connsiteX9" fmla="*/ 1079972 w 1123838"/>
                  <a:gd name="connsiteY9" fmla="*/ 145542 h 541338"/>
                  <a:gd name="connsiteX10" fmla="*/ 1074971 w 1123838"/>
                  <a:gd name="connsiteY10" fmla="*/ 71472 h 541338"/>
                  <a:gd name="connsiteX11" fmla="*/ 1036386 w 1123838"/>
                  <a:gd name="connsiteY11" fmla="*/ 57940 h 541338"/>
                  <a:gd name="connsiteX12" fmla="*/ 999230 w 1123838"/>
                  <a:gd name="connsiteY12" fmla="*/ 75745 h 541338"/>
                  <a:gd name="connsiteX13" fmla="*/ 951356 w 1123838"/>
                  <a:gd name="connsiteY13" fmla="*/ 129161 h 541338"/>
                  <a:gd name="connsiteX14" fmla="*/ 805591 w 1123838"/>
                  <a:gd name="connsiteY14" fmla="*/ 220325 h 541338"/>
                  <a:gd name="connsiteX15" fmla="*/ 608380 w 1123838"/>
                  <a:gd name="connsiteY15" fmla="*/ 209642 h 541338"/>
                  <a:gd name="connsiteX16" fmla="*/ 553360 w 1123838"/>
                  <a:gd name="connsiteY16" fmla="*/ 187563 h 541338"/>
                  <a:gd name="connsiteX17" fmla="*/ 544071 w 1123838"/>
                  <a:gd name="connsiteY17" fmla="*/ 171182 h 541338"/>
                  <a:gd name="connsiteX18" fmla="*/ 557648 w 1123838"/>
                  <a:gd name="connsiteY18" fmla="*/ 157650 h 541338"/>
                  <a:gd name="connsiteX19" fmla="*/ 715560 w 1123838"/>
                  <a:gd name="connsiteY19" fmla="*/ 141981 h 541338"/>
                  <a:gd name="connsiteX20" fmla="*/ 759146 w 1123838"/>
                  <a:gd name="connsiteY20" fmla="*/ 94975 h 541338"/>
                  <a:gd name="connsiteX21" fmla="*/ 713416 w 1123838"/>
                  <a:gd name="connsiteY21" fmla="*/ 47256 h 541338"/>
                  <a:gd name="connsiteX22" fmla="*/ 409739 w 1123838"/>
                  <a:gd name="connsiteY22" fmla="*/ 31588 h 541338"/>
                  <a:gd name="connsiteX23" fmla="*/ 390213 w 1123838"/>
                  <a:gd name="connsiteY23" fmla="*/ 0 h 541338"/>
                  <a:gd name="connsiteX24" fmla="*/ 393072 w 1123838"/>
                  <a:gd name="connsiteY24" fmla="*/ 0 h 541338"/>
                  <a:gd name="connsiteX25" fmla="*/ 397360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4708 w 1123838"/>
                  <a:gd name="connsiteY50" fmla="*/ 195682 h 541338"/>
                  <a:gd name="connsiteX51" fmla="*/ 775423 w 1123838"/>
                  <a:gd name="connsiteY51" fmla="*/ 195682 h 541338"/>
                  <a:gd name="connsiteX52" fmla="*/ 785428 w 1123838"/>
                  <a:gd name="connsiteY52" fmla="*/ 193539 h 541338"/>
                  <a:gd name="connsiteX53" fmla="*/ 786858 w 1123838"/>
                  <a:gd name="connsiteY53" fmla="*/ 192825 h 541338"/>
                  <a:gd name="connsiteX54" fmla="*/ 796863 w 1123838"/>
                  <a:gd name="connsiteY54" fmla="*/ 190683 h 541338"/>
                  <a:gd name="connsiteX55" fmla="*/ 826880 w 1123838"/>
                  <a:gd name="connsiteY55" fmla="*/ 179970 h 541338"/>
                  <a:gd name="connsiteX56" fmla="*/ 909782 w 1123838"/>
                  <a:gd name="connsiteY56" fmla="*/ 127122 h 541338"/>
                  <a:gd name="connsiteX57" fmla="*/ 928363 w 1123838"/>
                  <a:gd name="connsiteY57" fmla="*/ 108553 h 541338"/>
                  <a:gd name="connsiteX58" fmla="*/ 975532 w 1123838"/>
                  <a:gd name="connsiteY58" fmla="*/ 54991 h 541338"/>
                  <a:gd name="connsiteX59" fmla="*/ 978391 w 1123838"/>
                  <a:gd name="connsiteY59" fmla="*/ 51420 h 541338"/>
                  <a:gd name="connsiteX60" fmla="*/ 979105 w 1123838"/>
                  <a:gd name="connsiteY60" fmla="*/ 51420 h 541338"/>
                  <a:gd name="connsiteX61" fmla="*/ 1034135 w 1123838"/>
                  <a:gd name="connsiteY61" fmla="*/ 26424 h 541338"/>
                  <a:gd name="connsiteX62" fmla="*/ 1034850 w 1123838"/>
                  <a:gd name="connsiteY62" fmla="*/ 26424 h 541338"/>
                  <a:gd name="connsiteX63" fmla="*/ 1039138 w 1123838"/>
                  <a:gd name="connsiteY63" fmla="*/ 26424 h 541338"/>
                  <a:gd name="connsiteX64" fmla="*/ 1040567 w 1123838"/>
                  <a:gd name="connsiteY64" fmla="*/ 26424 h 541338"/>
                  <a:gd name="connsiteX65" fmla="*/ 1079875 w 1123838"/>
                  <a:gd name="connsiteY65" fmla="*/ 37137 h 541338"/>
                  <a:gd name="connsiteX66" fmla="*/ 1083448 w 1123838"/>
                  <a:gd name="connsiteY66" fmla="*/ 39279 h 541338"/>
                  <a:gd name="connsiteX67" fmla="*/ 1086307 w 1123838"/>
                  <a:gd name="connsiteY67" fmla="*/ 40708 h 541338"/>
                  <a:gd name="connsiteX68" fmla="*/ 1087021 w 1123838"/>
                  <a:gd name="connsiteY68" fmla="*/ 41422 h 541338"/>
                  <a:gd name="connsiteX69" fmla="*/ 1089880 w 1123838"/>
                  <a:gd name="connsiteY69" fmla="*/ 43564 h 541338"/>
                  <a:gd name="connsiteX70" fmla="*/ 1090595 w 1123838"/>
                  <a:gd name="connsiteY70" fmla="*/ 44278 h 541338"/>
                  <a:gd name="connsiteX71" fmla="*/ 1092739 w 1123838"/>
                  <a:gd name="connsiteY71" fmla="*/ 45707 h 541338"/>
                  <a:gd name="connsiteX72" fmla="*/ 1095597 w 1123838"/>
                  <a:gd name="connsiteY72" fmla="*/ 47849 h 541338"/>
                  <a:gd name="connsiteX73" fmla="*/ 1095597 w 1123838"/>
                  <a:gd name="connsiteY73" fmla="*/ 48563 h 541338"/>
                  <a:gd name="connsiteX74" fmla="*/ 1103459 w 1123838"/>
                  <a:gd name="connsiteY74" fmla="*/ 165687 h 541338"/>
                  <a:gd name="connsiteX75" fmla="*/ 1072013 w 1123838"/>
                  <a:gd name="connsiteY75" fmla="*/ 203538 h 541338"/>
                  <a:gd name="connsiteX76" fmla="*/ 966241 w 1123838"/>
                  <a:gd name="connsiteY76" fmla="*/ 299950 h 541338"/>
                  <a:gd name="connsiteX77" fmla="*/ 956950 w 1123838"/>
                  <a:gd name="connsiteY77" fmla="*/ 306377 h 541338"/>
                  <a:gd name="connsiteX78" fmla="*/ 948374 w 1123838"/>
                  <a:gd name="connsiteY78" fmla="*/ 312091 h 541338"/>
                  <a:gd name="connsiteX79" fmla="*/ 806154 w 1123838"/>
                  <a:gd name="connsiteY79" fmla="*/ 379222 h 541338"/>
                  <a:gd name="connsiteX80" fmla="*/ 792575 w 1123838"/>
                  <a:gd name="connsiteY80" fmla="*/ 383507 h 541338"/>
                  <a:gd name="connsiteX81" fmla="*/ 788287 w 1123838"/>
                  <a:gd name="connsiteY81" fmla="*/ 384222 h 541338"/>
                  <a:gd name="connsiteX82" fmla="*/ 779711 w 1123838"/>
                  <a:gd name="connsiteY82" fmla="*/ 387078 h 541338"/>
                  <a:gd name="connsiteX83" fmla="*/ 773994 w 1123838"/>
                  <a:gd name="connsiteY83" fmla="*/ 388507 h 541338"/>
                  <a:gd name="connsiteX84" fmla="*/ 766132 w 1123838"/>
                  <a:gd name="connsiteY84" fmla="*/ 389935 h 541338"/>
                  <a:gd name="connsiteX85" fmla="*/ 759700 w 1123838"/>
                  <a:gd name="connsiteY85" fmla="*/ 392077 h 541338"/>
                  <a:gd name="connsiteX86" fmla="*/ 753983 w 1123838"/>
                  <a:gd name="connsiteY86" fmla="*/ 392792 h 541338"/>
                  <a:gd name="connsiteX87" fmla="*/ 723966 w 1123838"/>
                  <a:gd name="connsiteY87" fmla="*/ 399219 h 541338"/>
                  <a:gd name="connsiteX88" fmla="*/ 721822 w 1123838"/>
                  <a:gd name="connsiteY88" fmla="*/ 399219 h 541338"/>
                  <a:gd name="connsiteX89" fmla="*/ 711102 w 1123838"/>
                  <a:gd name="connsiteY89" fmla="*/ 401362 h 541338"/>
                  <a:gd name="connsiteX90" fmla="*/ 709673 w 1123838"/>
                  <a:gd name="connsiteY90" fmla="*/ 401362 h 541338"/>
                  <a:gd name="connsiteX91" fmla="*/ 650355 w 1123838"/>
                  <a:gd name="connsiteY91" fmla="*/ 407789 h 541338"/>
                  <a:gd name="connsiteX92" fmla="*/ 648211 w 1123838"/>
                  <a:gd name="connsiteY92" fmla="*/ 407789 h 541338"/>
                  <a:gd name="connsiteX93" fmla="*/ 637491 w 1123838"/>
                  <a:gd name="connsiteY93" fmla="*/ 408503 h 541338"/>
                  <a:gd name="connsiteX94" fmla="*/ 635347 w 1123838"/>
                  <a:gd name="connsiteY94" fmla="*/ 408503 h 541338"/>
                  <a:gd name="connsiteX95" fmla="*/ 621053 w 1123838"/>
                  <a:gd name="connsiteY95" fmla="*/ 408503 h 541338"/>
                  <a:gd name="connsiteX96" fmla="*/ 619624 w 1123838"/>
                  <a:gd name="connsiteY96" fmla="*/ 408503 h 541338"/>
                  <a:gd name="connsiteX97" fmla="*/ 612477 w 1123838"/>
                  <a:gd name="connsiteY97" fmla="*/ 408503 h 541338"/>
                  <a:gd name="connsiteX98" fmla="*/ 606045 w 1123838"/>
                  <a:gd name="connsiteY98" fmla="*/ 408503 h 541338"/>
                  <a:gd name="connsiteX99" fmla="*/ 598898 w 1123838"/>
                  <a:gd name="connsiteY99" fmla="*/ 408503 h 541338"/>
                  <a:gd name="connsiteX100" fmla="*/ 592466 w 1123838"/>
                  <a:gd name="connsiteY100" fmla="*/ 408503 h 541338"/>
                  <a:gd name="connsiteX101" fmla="*/ 584605 w 1123838"/>
                  <a:gd name="connsiteY101" fmla="*/ 407789 h 541338"/>
                  <a:gd name="connsiteX102" fmla="*/ 578887 w 1123838"/>
                  <a:gd name="connsiteY102" fmla="*/ 407789 h 541338"/>
                  <a:gd name="connsiteX103" fmla="*/ 566738 w 1123838"/>
                  <a:gd name="connsiteY103" fmla="*/ 407075 h 541338"/>
                  <a:gd name="connsiteX104" fmla="*/ 566023 w 1123838"/>
                  <a:gd name="connsiteY104" fmla="*/ 407075 h 541338"/>
                  <a:gd name="connsiteX105" fmla="*/ 485265 w 1123838"/>
                  <a:gd name="connsiteY105" fmla="*/ 401362 h 541338"/>
                  <a:gd name="connsiteX106" fmla="*/ 416656 w 1123838"/>
                  <a:gd name="connsiteY106" fmla="*/ 396362 h 541338"/>
                  <a:gd name="connsiteX107" fmla="*/ 410939 w 1123838"/>
                  <a:gd name="connsiteY107" fmla="*/ 396362 h 541338"/>
                  <a:gd name="connsiteX108" fmla="*/ 407365 w 1123838"/>
                  <a:gd name="connsiteY108" fmla="*/ 396362 h 541338"/>
                  <a:gd name="connsiteX109" fmla="*/ 393072 w 1123838"/>
                  <a:gd name="connsiteY109" fmla="*/ 397791 h 541338"/>
                  <a:gd name="connsiteX110" fmla="*/ 388784 w 1123838"/>
                  <a:gd name="connsiteY110" fmla="*/ 398505 h 541338"/>
                  <a:gd name="connsiteX111" fmla="*/ 388784 w 1123838"/>
                  <a:gd name="connsiteY111" fmla="*/ 399219 h 541338"/>
                  <a:gd name="connsiteX112" fmla="*/ 384496 w 1123838"/>
                  <a:gd name="connsiteY112" fmla="*/ 399933 h 541338"/>
                  <a:gd name="connsiteX113" fmla="*/ 383781 w 1123838"/>
                  <a:gd name="connsiteY113" fmla="*/ 400647 h 541338"/>
                  <a:gd name="connsiteX114" fmla="*/ 379493 w 1123838"/>
                  <a:gd name="connsiteY114" fmla="*/ 402076 h 541338"/>
                  <a:gd name="connsiteX115" fmla="*/ 21441 w 1123838"/>
                  <a:gd name="connsiteY115" fmla="*/ 540624 h 541338"/>
                  <a:gd name="connsiteX116" fmla="*/ 15723 w 1123838"/>
                  <a:gd name="connsiteY116" fmla="*/ 541338 h 541338"/>
                  <a:gd name="connsiteX117" fmla="*/ 7147 w 1123838"/>
                  <a:gd name="connsiteY117" fmla="*/ 538481 h 541338"/>
                  <a:gd name="connsiteX118" fmla="*/ 0 w 1123838"/>
                  <a:gd name="connsiteY118" fmla="*/ 525626 h 541338"/>
                  <a:gd name="connsiteX119" fmla="*/ 0 w 1123838"/>
                  <a:gd name="connsiteY119" fmla="*/ 209251 h 541338"/>
                  <a:gd name="connsiteX120" fmla="*/ 7862 w 1123838"/>
                  <a:gd name="connsiteY120" fmla="*/ 195682 h 541338"/>
                  <a:gd name="connsiteX121" fmla="*/ 310169 w 1123838"/>
                  <a:gd name="connsiteY121" fmla="*/ 24282 h 541338"/>
                  <a:gd name="connsiteX122" fmla="*/ 315887 w 1123838"/>
                  <a:gd name="connsiteY122" fmla="*/ 21425 h 541338"/>
                  <a:gd name="connsiteX123" fmla="*/ 318031 w 1123838"/>
                  <a:gd name="connsiteY123" fmla="*/ 19997 h 541338"/>
                  <a:gd name="connsiteX124" fmla="*/ 320889 w 1123838"/>
                  <a:gd name="connsiteY124" fmla="*/ 18568 h 541338"/>
                  <a:gd name="connsiteX125" fmla="*/ 324463 w 1123838"/>
                  <a:gd name="connsiteY125" fmla="*/ 17140 h 541338"/>
                  <a:gd name="connsiteX126" fmla="*/ 326607 w 1123838"/>
                  <a:gd name="connsiteY126" fmla="*/ 15712 h 541338"/>
                  <a:gd name="connsiteX127" fmla="*/ 330180 w 1123838"/>
                  <a:gd name="connsiteY127" fmla="*/ 14283 h 541338"/>
                  <a:gd name="connsiteX128" fmla="*/ 332324 w 1123838"/>
                  <a:gd name="connsiteY128" fmla="*/ 13569 h 541338"/>
                  <a:gd name="connsiteX129" fmla="*/ 336612 w 1123838"/>
                  <a:gd name="connsiteY129" fmla="*/ 12141 h 541338"/>
                  <a:gd name="connsiteX130" fmla="*/ 338042 w 1123838"/>
                  <a:gd name="connsiteY130" fmla="*/ 11427 h 541338"/>
                  <a:gd name="connsiteX131" fmla="*/ 342330 w 1123838"/>
                  <a:gd name="connsiteY131" fmla="*/ 9998 h 541338"/>
                  <a:gd name="connsiteX132" fmla="*/ 343759 w 1123838"/>
                  <a:gd name="connsiteY132" fmla="*/ 9284 h 541338"/>
                  <a:gd name="connsiteX133" fmla="*/ 348047 w 1123838"/>
                  <a:gd name="connsiteY133" fmla="*/ 7856 h 541338"/>
                  <a:gd name="connsiteX134" fmla="*/ 349476 w 1123838"/>
                  <a:gd name="connsiteY134" fmla="*/ 7856 h 541338"/>
                  <a:gd name="connsiteX135" fmla="*/ 354479 w 1123838"/>
                  <a:gd name="connsiteY135" fmla="*/ 6428 h 541338"/>
                  <a:gd name="connsiteX136" fmla="*/ 354479 w 1123838"/>
                  <a:gd name="connsiteY136" fmla="*/ 5713 h 541338"/>
                  <a:gd name="connsiteX137" fmla="*/ 381637 w 1123838"/>
                  <a:gd name="connsiteY137" fmla="*/ 1428 h 541338"/>
                  <a:gd name="connsiteX138" fmla="*/ 383781 w 1123838"/>
                  <a:gd name="connsiteY138" fmla="*/ 714 h 541338"/>
                  <a:gd name="connsiteX139" fmla="*/ 387354 w 1123838"/>
                  <a:gd name="connsiteY139" fmla="*/ 714 h 541338"/>
                  <a:gd name="connsiteX140" fmla="*/ 390213 w 1123838"/>
                  <a:gd name="connsiteY140"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123838" h="541338">
                    <a:moveTo>
                      <a:pt x="409739" y="31588"/>
                    </a:moveTo>
                    <a:cubicBezTo>
                      <a:pt x="380443" y="30163"/>
                      <a:pt x="351147" y="37285"/>
                      <a:pt x="326138" y="51530"/>
                    </a:cubicBezTo>
                    <a:cubicBezTo>
                      <a:pt x="326138" y="51530"/>
                      <a:pt x="326138" y="51530"/>
                      <a:pt x="31750" y="218189"/>
                    </a:cubicBezTo>
                    <a:cubicBezTo>
                      <a:pt x="31750" y="218189"/>
                      <a:pt x="31750" y="218189"/>
                      <a:pt x="31750" y="501651"/>
                    </a:cubicBezTo>
                    <a:cubicBezTo>
                      <a:pt x="31750" y="501651"/>
                      <a:pt x="31750" y="501651"/>
                      <a:pt x="368296" y="372028"/>
                    </a:cubicBezTo>
                    <a:cubicBezTo>
                      <a:pt x="384730" y="365618"/>
                      <a:pt x="401879" y="362769"/>
                      <a:pt x="419028" y="364193"/>
                    </a:cubicBezTo>
                    <a:cubicBezTo>
                      <a:pt x="419028" y="364193"/>
                      <a:pt x="419028" y="364193"/>
                      <a:pt x="568366" y="374876"/>
                    </a:cubicBezTo>
                    <a:cubicBezTo>
                      <a:pt x="645535" y="380574"/>
                      <a:pt x="722705" y="371315"/>
                      <a:pt x="797017" y="348524"/>
                    </a:cubicBezTo>
                    <a:cubicBezTo>
                      <a:pt x="894908" y="317899"/>
                      <a:pt x="981367" y="260922"/>
                      <a:pt x="1047818" y="182578"/>
                    </a:cubicBezTo>
                    <a:cubicBezTo>
                      <a:pt x="1047818" y="182578"/>
                      <a:pt x="1047818" y="182578"/>
                      <a:pt x="1079972" y="145542"/>
                    </a:cubicBezTo>
                    <a:cubicBezTo>
                      <a:pt x="1098550" y="123464"/>
                      <a:pt x="1096407" y="90702"/>
                      <a:pt x="1074971" y="71472"/>
                    </a:cubicBezTo>
                    <a:cubicBezTo>
                      <a:pt x="1064253" y="62213"/>
                      <a:pt x="1050676" y="57227"/>
                      <a:pt x="1036386" y="57940"/>
                    </a:cubicBezTo>
                    <a:cubicBezTo>
                      <a:pt x="1022095" y="58652"/>
                      <a:pt x="1008519" y="65062"/>
                      <a:pt x="999230" y="75745"/>
                    </a:cubicBezTo>
                    <a:cubicBezTo>
                      <a:pt x="999230" y="75745"/>
                      <a:pt x="999230" y="75745"/>
                      <a:pt x="951356" y="129161"/>
                    </a:cubicBezTo>
                    <a:cubicBezTo>
                      <a:pt x="912771" y="173319"/>
                      <a:pt x="862039" y="204656"/>
                      <a:pt x="805591" y="220325"/>
                    </a:cubicBezTo>
                    <a:cubicBezTo>
                      <a:pt x="740568" y="238843"/>
                      <a:pt x="670544" y="234570"/>
                      <a:pt x="608380" y="209642"/>
                    </a:cubicBezTo>
                    <a:cubicBezTo>
                      <a:pt x="608380" y="209642"/>
                      <a:pt x="608380" y="209642"/>
                      <a:pt x="553360" y="187563"/>
                    </a:cubicBezTo>
                    <a:cubicBezTo>
                      <a:pt x="546930" y="184714"/>
                      <a:pt x="542642" y="178304"/>
                      <a:pt x="544071" y="171182"/>
                    </a:cubicBezTo>
                    <a:cubicBezTo>
                      <a:pt x="544786" y="164060"/>
                      <a:pt x="550502" y="158362"/>
                      <a:pt x="557648" y="157650"/>
                    </a:cubicBezTo>
                    <a:cubicBezTo>
                      <a:pt x="557648" y="157650"/>
                      <a:pt x="557648" y="157650"/>
                      <a:pt x="715560" y="141981"/>
                    </a:cubicBezTo>
                    <a:cubicBezTo>
                      <a:pt x="740568" y="139845"/>
                      <a:pt x="759146" y="119190"/>
                      <a:pt x="759146" y="94975"/>
                    </a:cubicBezTo>
                    <a:cubicBezTo>
                      <a:pt x="759146" y="69335"/>
                      <a:pt x="739139" y="48681"/>
                      <a:pt x="713416" y="47256"/>
                    </a:cubicBezTo>
                    <a:cubicBezTo>
                      <a:pt x="713416" y="47256"/>
                      <a:pt x="713416" y="47256"/>
                      <a:pt x="409739" y="31588"/>
                    </a:cubicBezTo>
                    <a:close/>
                    <a:moveTo>
                      <a:pt x="390213" y="0"/>
                    </a:moveTo>
                    <a:cubicBezTo>
                      <a:pt x="391642" y="0"/>
                      <a:pt x="392357" y="0"/>
                      <a:pt x="393072" y="0"/>
                    </a:cubicBezTo>
                    <a:cubicBezTo>
                      <a:pt x="394501" y="0"/>
                      <a:pt x="395930" y="0"/>
                      <a:pt x="397360" y="0"/>
                    </a:cubicBezTo>
                    <a:cubicBezTo>
                      <a:pt x="398074" y="0"/>
                      <a:pt x="398789" y="0"/>
                      <a:pt x="399504" y="0"/>
                    </a:cubicBezTo>
                    <a:cubicBezTo>
                      <a:pt x="400933" y="0"/>
                      <a:pt x="401648" y="0"/>
                      <a:pt x="403077" y="0"/>
                    </a:cubicBezTo>
                    <a:cubicBezTo>
                      <a:pt x="405936" y="0"/>
                      <a:pt x="408794"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4708" y="195682"/>
                    </a:cubicBezTo>
                    <a:cubicBezTo>
                      <a:pt x="775423" y="195682"/>
                      <a:pt x="775423" y="195682"/>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3966"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1058" y="408503"/>
                      <a:pt x="626056" y="408503"/>
                      <a:pt x="621053" y="408503"/>
                    </a:cubicBezTo>
                    <a:cubicBezTo>
                      <a:pt x="621053" y="408503"/>
                      <a:pt x="620338" y="408503"/>
                      <a:pt x="619624"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8751"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2330" y="9284"/>
                      <a:pt x="343044" y="9284"/>
                      <a:pt x="343759" y="9284"/>
                    </a:cubicBezTo>
                    <a:cubicBezTo>
                      <a:pt x="345188" y="8570"/>
                      <a:pt x="346618" y="8570"/>
                      <a:pt x="348047" y="7856"/>
                    </a:cubicBezTo>
                    <a:cubicBezTo>
                      <a:pt x="348762" y="7856"/>
                      <a:pt x="348762" y="7856"/>
                      <a:pt x="349476" y="7856"/>
                    </a:cubicBezTo>
                    <a:cubicBezTo>
                      <a:pt x="350906" y="7142"/>
                      <a:pt x="352335" y="6428"/>
                      <a:pt x="354479" y="6428"/>
                    </a:cubicBezTo>
                    <a:cubicBezTo>
                      <a:pt x="354479" y="6428"/>
                      <a:pt x="354479" y="5713"/>
                      <a:pt x="354479" y="5713"/>
                    </a:cubicBezTo>
                    <a:cubicBezTo>
                      <a:pt x="363770" y="3571"/>
                      <a:pt x="372346" y="2143"/>
                      <a:pt x="381637" y="1428"/>
                    </a:cubicBezTo>
                    <a:cubicBezTo>
                      <a:pt x="382352" y="714"/>
                      <a:pt x="383066" y="714"/>
                      <a:pt x="383781" y="714"/>
                    </a:cubicBezTo>
                    <a:cubicBezTo>
                      <a:pt x="385210" y="714"/>
                      <a:pt x="385925" y="714"/>
                      <a:pt x="387354" y="714"/>
                    </a:cubicBezTo>
                    <a:cubicBezTo>
                      <a:pt x="388069" y="714"/>
                      <a:pt x="389498" y="714"/>
                      <a:pt x="390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67" name="Group 66">
            <a:extLst>
              <a:ext uri="{FF2B5EF4-FFF2-40B4-BE49-F238E27FC236}">
                <a16:creationId xmlns:a16="http://schemas.microsoft.com/office/drawing/2014/main" id="{299B0C39-7324-4E6D-AC11-992C7179AEB5}"/>
              </a:ext>
            </a:extLst>
          </p:cNvPr>
          <p:cNvGrpSpPr>
            <a:grpSpLocks noChangeAspect="1"/>
          </p:cNvGrpSpPr>
          <p:nvPr/>
        </p:nvGrpSpPr>
        <p:grpSpPr>
          <a:xfrm>
            <a:off x="697628" y="5222180"/>
            <a:ext cx="763192" cy="762455"/>
            <a:chOff x="5273675" y="2606675"/>
            <a:chExt cx="1646238" cy="1644650"/>
          </a:xfrm>
        </p:grpSpPr>
        <p:sp>
          <p:nvSpPr>
            <p:cNvPr id="68" name="AutoShape 3">
              <a:extLst>
                <a:ext uri="{FF2B5EF4-FFF2-40B4-BE49-F238E27FC236}">
                  <a16:creationId xmlns:a16="http://schemas.microsoft.com/office/drawing/2014/main" id="{6E676C98-23A0-473A-8F9A-B31671B63A0F}"/>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6C4B4BDF-A1CE-46D3-9B23-D58AA9F7835B}"/>
                </a:ext>
              </a:extLst>
            </p:cNvPr>
            <p:cNvGrpSpPr/>
            <p:nvPr/>
          </p:nvGrpSpPr>
          <p:grpSpPr>
            <a:xfrm>
              <a:off x="5646738" y="2774950"/>
              <a:ext cx="900113" cy="1306513"/>
              <a:chOff x="5646738" y="2774950"/>
              <a:chExt cx="900113" cy="1306513"/>
            </a:xfrm>
          </p:grpSpPr>
          <p:sp>
            <p:nvSpPr>
              <p:cNvPr id="70" name="Freeform 5">
                <a:extLst>
                  <a:ext uri="{FF2B5EF4-FFF2-40B4-BE49-F238E27FC236}">
                    <a16:creationId xmlns:a16="http://schemas.microsoft.com/office/drawing/2014/main" id="{E5F9123B-235E-48B8-A2BC-8463F4299A50}"/>
                  </a:ext>
                </a:extLst>
              </p:cNvPr>
              <p:cNvSpPr>
                <a:spLocks/>
              </p:cNvSpPr>
              <p:nvPr/>
            </p:nvSpPr>
            <p:spPr bwMode="auto">
              <a:xfrm>
                <a:off x="5646738" y="2889250"/>
                <a:ext cx="900113" cy="1192213"/>
              </a:xfrm>
              <a:custGeom>
                <a:avLst/>
                <a:gdLst>
                  <a:gd name="T0" fmla="*/ 1236 w 1258"/>
                  <a:gd name="T1" fmla="*/ 0 h 1670"/>
                  <a:gd name="T2" fmla="*/ 876 w 1258"/>
                  <a:gd name="T3" fmla="*/ 0 h 1670"/>
                  <a:gd name="T4" fmla="*/ 876 w 1258"/>
                  <a:gd name="T5" fmla="*/ 44 h 1670"/>
                  <a:gd name="T6" fmla="*/ 1214 w 1258"/>
                  <a:gd name="T7" fmla="*/ 44 h 1670"/>
                  <a:gd name="T8" fmla="*/ 1214 w 1258"/>
                  <a:gd name="T9" fmla="*/ 1626 h 1670"/>
                  <a:gd name="T10" fmla="*/ 44 w 1258"/>
                  <a:gd name="T11" fmla="*/ 1626 h 1670"/>
                  <a:gd name="T12" fmla="*/ 44 w 1258"/>
                  <a:gd name="T13" fmla="*/ 44 h 1670"/>
                  <a:gd name="T14" fmla="*/ 382 w 1258"/>
                  <a:gd name="T15" fmla="*/ 44 h 1670"/>
                  <a:gd name="T16" fmla="*/ 382 w 1258"/>
                  <a:gd name="T17" fmla="*/ 0 h 1670"/>
                  <a:gd name="T18" fmla="*/ 22 w 1258"/>
                  <a:gd name="T19" fmla="*/ 0 h 1670"/>
                  <a:gd name="T20" fmla="*/ 0 w 1258"/>
                  <a:gd name="T21" fmla="*/ 22 h 1670"/>
                  <a:gd name="T22" fmla="*/ 0 w 1258"/>
                  <a:gd name="T23" fmla="*/ 1648 h 1670"/>
                  <a:gd name="T24" fmla="*/ 22 w 1258"/>
                  <a:gd name="T25" fmla="*/ 1670 h 1670"/>
                  <a:gd name="T26" fmla="*/ 1236 w 1258"/>
                  <a:gd name="T27" fmla="*/ 1670 h 1670"/>
                  <a:gd name="T28" fmla="*/ 1258 w 1258"/>
                  <a:gd name="T29" fmla="*/ 1648 h 1670"/>
                  <a:gd name="T30" fmla="*/ 1258 w 1258"/>
                  <a:gd name="T31" fmla="*/ 22 h 1670"/>
                  <a:gd name="T32" fmla="*/ 1236 w 1258"/>
                  <a:gd name="T33" fmla="*/ 0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8" h="1670">
                    <a:moveTo>
                      <a:pt x="1236" y="0"/>
                    </a:move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ubicBezTo>
                      <a:pt x="1236" y="1670"/>
                      <a:pt x="1236" y="1670"/>
                      <a:pt x="1236" y="1670"/>
                    </a:cubicBezTo>
                    <a:cubicBezTo>
                      <a:pt x="1249" y="1670"/>
                      <a:pt x="1258" y="1661"/>
                      <a:pt x="1258" y="1648"/>
                    </a:cubicBezTo>
                    <a:cubicBezTo>
                      <a:pt x="1258" y="22"/>
                      <a:pt x="1258" y="22"/>
                      <a:pt x="1258" y="22"/>
                    </a:cubicBezTo>
                    <a:cubicBezTo>
                      <a:pt x="1258" y="10"/>
                      <a:pt x="1249" y="0"/>
                      <a:pt x="123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1">
                <a:extLst>
                  <a:ext uri="{FF2B5EF4-FFF2-40B4-BE49-F238E27FC236}">
                    <a16:creationId xmlns:a16="http://schemas.microsoft.com/office/drawing/2014/main" id="{E154CAD6-05E1-47B6-9374-BD72D08EC1AF}"/>
                  </a:ext>
                </a:extLst>
              </p:cNvPr>
              <p:cNvSpPr>
                <a:spLocks/>
              </p:cNvSpPr>
              <p:nvPr/>
            </p:nvSpPr>
            <p:spPr bwMode="auto">
              <a:xfrm>
                <a:off x="5783263" y="2774950"/>
                <a:ext cx="627063" cy="1089025"/>
              </a:xfrm>
              <a:custGeom>
                <a:avLst/>
                <a:gdLst>
                  <a:gd name="connsiteX0" fmla="*/ 15713 w 627063"/>
                  <a:gd name="connsiteY0" fmla="*/ 1057275 h 1089025"/>
                  <a:gd name="connsiteX1" fmla="*/ 611351 w 627063"/>
                  <a:gd name="connsiteY1" fmla="*/ 1057275 h 1089025"/>
                  <a:gd name="connsiteX2" fmla="*/ 627063 w 627063"/>
                  <a:gd name="connsiteY2" fmla="*/ 1073150 h 1089025"/>
                  <a:gd name="connsiteX3" fmla="*/ 611351 w 627063"/>
                  <a:gd name="connsiteY3" fmla="*/ 1089025 h 1089025"/>
                  <a:gd name="connsiteX4" fmla="*/ 15713 w 627063"/>
                  <a:gd name="connsiteY4" fmla="*/ 1089025 h 1089025"/>
                  <a:gd name="connsiteX5" fmla="*/ 0 w 627063"/>
                  <a:gd name="connsiteY5" fmla="*/ 1073150 h 1089025"/>
                  <a:gd name="connsiteX6" fmla="*/ 15713 w 627063"/>
                  <a:gd name="connsiteY6" fmla="*/ 1057275 h 1089025"/>
                  <a:gd name="connsiteX7" fmla="*/ 15713 w 627063"/>
                  <a:gd name="connsiteY7" fmla="*/ 941388 h 1089025"/>
                  <a:gd name="connsiteX8" fmla="*/ 611351 w 627063"/>
                  <a:gd name="connsiteY8" fmla="*/ 941388 h 1089025"/>
                  <a:gd name="connsiteX9" fmla="*/ 627063 w 627063"/>
                  <a:gd name="connsiteY9" fmla="*/ 957263 h 1089025"/>
                  <a:gd name="connsiteX10" fmla="*/ 611351 w 627063"/>
                  <a:gd name="connsiteY10" fmla="*/ 973138 h 1089025"/>
                  <a:gd name="connsiteX11" fmla="*/ 15713 w 627063"/>
                  <a:gd name="connsiteY11" fmla="*/ 973138 h 1089025"/>
                  <a:gd name="connsiteX12" fmla="*/ 0 w 627063"/>
                  <a:gd name="connsiteY12" fmla="*/ 957263 h 1089025"/>
                  <a:gd name="connsiteX13" fmla="*/ 15713 w 627063"/>
                  <a:gd name="connsiteY13" fmla="*/ 941388 h 1089025"/>
                  <a:gd name="connsiteX14" fmla="*/ 15713 w 627063"/>
                  <a:gd name="connsiteY14" fmla="*/ 825500 h 1089025"/>
                  <a:gd name="connsiteX15" fmla="*/ 611351 w 627063"/>
                  <a:gd name="connsiteY15" fmla="*/ 825500 h 1089025"/>
                  <a:gd name="connsiteX16" fmla="*/ 627063 w 627063"/>
                  <a:gd name="connsiteY16" fmla="*/ 841375 h 1089025"/>
                  <a:gd name="connsiteX17" fmla="*/ 611351 w 627063"/>
                  <a:gd name="connsiteY17" fmla="*/ 857250 h 1089025"/>
                  <a:gd name="connsiteX18" fmla="*/ 15713 w 627063"/>
                  <a:gd name="connsiteY18" fmla="*/ 857250 h 1089025"/>
                  <a:gd name="connsiteX19" fmla="*/ 0 w 627063"/>
                  <a:gd name="connsiteY19" fmla="*/ 841375 h 1089025"/>
                  <a:gd name="connsiteX20" fmla="*/ 15713 w 627063"/>
                  <a:gd name="connsiteY20" fmla="*/ 825500 h 1089025"/>
                  <a:gd name="connsiteX21" fmla="*/ 15713 w 627063"/>
                  <a:gd name="connsiteY21" fmla="*/ 709613 h 1089025"/>
                  <a:gd name="connsiteX22" fmla="*/ 611351 w 627063"/>
                  <a:gd name="connsiteY22" fmla="*/ 709613 h 1089025"/>
                  <a:gd name="connsiteX23" fmla="*/ 627063 w 627063"/>
                  <a:gd name="connsiteY23" fmla="*/ 725488 h 1089025"/>
                  <a:gd name="connsiteX24" fmla="*/ 611351 w 627063"/>
                  <a:gd name="connsiteY24" fmla="*/ 741363 h 1089025"/>
                  <a:gd name="connsiteX25" fmla="*/ 15713 w 627063"/>
                  <a:gd name="connsiteY25" fmla="*/ 741363 h 1089025"/>
                  <a:gd name="connsiteX26" fmla="*/ 0 w 627063"/>
                  <a:gd name="connsiteY26" fmla="*/ 725488 h 1089025"/>
                  <a:gd name="connsiteX27" fmla="*/ 15713 w 627063"/>
                  <a:gd name="connsiteY27" fmla="*/ 709613 h 1089025"/>
                  <a:gd name="connsiteX28" fmla="*/ 15713 w 627063"/>
                  <a:gd name="connsiteY28" fmla="*/ 593725 h 1089025"/>
                  <a:gd name="connsiteX29" fmla="*/ 611351 w 627063"/>
                  <a:gd name="connsiteY29" fmla="*/ 593725 h 1089025"/>
                  <a:gd name="connsiteX30" fmla="*/ 627063 w 627063"/>
                  <a:gd name="connsiteY30" fmla="*/ 609600 h 1089025"/>
                  <a:gd name="connsiteX31" fmla="*/ 611351 w 627063"/>
                  <a:gd name="connsiteY31" fmla="*/ 625475 h 1089025"/>
                  <a:gd name="connsiteX32" fmla="*/ 15713 w 627063"/>
                  <a:gd name="connsiteY32" fmla="*/ 625475 h 1089025"/>
                  <a:gd name="connsiteX33" fmla="*/ 0 w 627063"/>
                  <a:gd name="connsiteY33" fmla="*/ 609600 h 1089025"/>
                  <a:gd name="connsiteX34" fmla="*/ 15713 w 627063"/>
                  <a:gd name="connsiteY34" fmla="*/ 593725 h 1089025"/>
                  <a:gd name="connsiteX35" fmla="*/ 15713 w 627063"/>
                  <a:gd name="connsiteY35" fmla="*/ 477838 h 1089025"/>
                  <a:gd name="connsiteX36" fmla="*/ 611351 w 627063"/>
                  <a:gd name="connsiteY36" fmla="*/ 477838 h 1089025"/>
                  <a:gd name="connsiteX37" fmla="*/ 627063 w 627063"/>
                  <a:gd name="connsiteY37" fmla="*/ 493713 h 1089025"/>
                  <a:gd name="connsiteX38" fmla="*/ 611351 w 627063"/>
                  <a:gd name="connsiteY38" fmla="*/ 509588 h 1089025"/>
                  <a:gd name="connsiteX39" fmla="*/ 15713 w 627063"/>
                  <a:gd name="connsiteY39" fmla="*/ 509588 h 1089025"/>
                  <a:gd name="connsiteX40" fmla="*/ 0 w 627063"/>
                  <a:gd name="connsiteY40" fmla="*/ 493713 h 1089025"/>
                  <a:gd name="connsiteX41" fmla="*/ 15713 w 627063"/>
                  <a:gd name="connsiteY41" fmla="*/ 477838 h 1089025"/>
                  <a:gd name="connsiteX42" fmla="*/ 15713 w 627063"/>
                  <a:gd name="connsiteY42" fmla="*/ 361950 h 1089025"/>
                  <a:gd name="connsiteX43" fmla="*/ 611351 w 627063"/>
                  <a:gd name="connsiteY43" fmla="*/ 361950 h 1089025"/>
                  <a:gd name="connsiteX44" fmla="*/ 627063 w 627063"/>
                  <a:gd name="connsiteY44" fmla="*/ 377825 h 1089025"/>
                  <a:gd name="connsiteX45" fmla="*/ 611351 w 627063"/>
                  <a:gd name="connsiteY45" fmla="*/ 393700 h 1089025"/>
                  <a:gd name="connsiteX46" fmla="*/ 15713 w 627063"/>
                  <a:gd name="connsiteY46" fmla="*/ 393700 h 1089025"/>
                  <a:gd name="connsiteX47" fmla="*/ 0 w 627063"/>
                  <a:gd name="connsiteY47" fmla="*/ 377825 h 1089025"/>
                  <a:gd name="connsiteX48" fmla="*/ 15713 w 627063"/>
                  <a:gd name="connsiteY48" fmla="*/ 361950 h 1089025"/>
                  <a:gd name="connsiteX49" fmla="*/ 313532 w 627063"/>
                  <a:gd name="connsiteY49" fmla="*/ 31750 h 1089025"/>
                  <a:gd name="connsiteX50" fmla="*/ 291134 w 627063"/>
                  <a:gd name="connsiteY50" fmla="*/ 35314 h 1089025"/>
                  <a:gd name="connsiteX51" fmla="*/ 257175 w 627063"/>
                  <a:gd name="connsiteY51" fmla="*/ 66675 h 1089025"/>
                  <a:gd name="connsiteX52" fmla="*/ 369888 w 627063"/>
                  <a:gd name="connsiteY52" fmla="*/ 66675 h 1089025"/>
                  <a:gd name="connsiteX53" fmla="*/ 335930 w 627063"/>
                  <a:gd name="connsiteY53" fmla="*/ 35314 h 1089025"/>
                  <a:gd name="connsiteX54" fmla="*/ 313532 w 627063"/>
                  <a:gd name="connsiteY54" fmla="*/ 31750 h 1089025"/>
                  <a:gd name="connsiteX55" fmla="*/ 313532 w 627063"/>
                  <a:gd name="connsiteY55" fmla="*/ 0 h 1089025"/>
                  <a:gd name="connsiteX56" fmla="*/ 386160 w 627063"/>
                  <a:gd name="connsiteY56" fmla="*/ 34890 h 1089025"/>
                  <a:gd name="connsiteX57" fmla="*/ 402537 w 627063"/>
                  <a:gd name="connsiteY57" fmla="*/ 66220 h 1089025"/>
                  <a:gd name="connsiteX58" fmla="*/ 451668 w 627063"/>
                  <a:gd name="connsiteY58" fmla="*/ 66220 h 1089025"/>
                  <a:gd name="connsiteX59" fmla="*/ 458788 w 627063"/>
                  <a:gd name="connsiteY59" fmla="*/ 73340 h 1089025"/>
                  <a:gd name="connsiteX60" fmla="*/ 458788 w 627063"/>
                  <a:gd name="connsiteY60" fmla="*/ 113927 h 1089025"/>
                  <a:gd name="connsiteX61" fmla="*/ 458788 w 627063"/>
                  <a:gd name="connsiteY61" fmla="*/ 145256 h 1089025"/>
                  <a:gd name="connsiteX62" fmla="*/ 458788 w 627063"/>
                  <a:gd name="connsiteY62" fmla="*/ 178010 h 1089025"/>
                  <a:gd name="connsiteX63" fmla="*/ 443123 w 627063"/>
                  <a:gd name="connsiteY63" fmla="*/ 193675 h 1089025"/>
                  <a:gd name="connsiteX64" fmla="*/ 183940 w 627063"/>
                  <a:gd name="connsiteY64" fmla="*/ 193675 h 1089025"/>
                  <a:gd name="connsiteX65" fmla="*/ 168275 w 627063"/>
                  <a:gd name="connsiteY65" fmla="*/ 178010 h 1089025"/>
                  <a:gd name="connsiteX66" fmla="*/ 168275 w 627063"/>
                  <a:gd name="connsiteY66" fmla="*/ 145256 h 1089025"/>
                  <a:gd name="connsiteX67" fmla="*/ 168275 w 627063"/>
                  <a:gd name="connsiteY67" fmla="*/ 113927 h 1089025"/>
                  <a:gd name="connsiteX68" fmla="*/ 168275 w 627063"/>
                  <a:gd name="connsiteY68" fmla="*/ 73340 h 1089025"/>
                  <a:gd name="connsiteX69" fmla="*/ 175396 w 627063"/>
                  <a:gd name="connsiteY69" fmla="*/ 66220 h 1089025"/>
                  <a:gd name="connsiteX70" fmla="*/ 224527 w 627063"/>
                  <a:gd name="connsiteY70" fmla="*/ 66220 h 1089025"/>
                  <a:gd name="connsiteX71" fmla="*/ 240903 w 627063"/>
                  <a:gd name="connsiteY71" fmla="*/ 34890 h 1089025"/>
                  <a:gd name="connsiteX72" fmla="*/ 313532 w 627063"/>
                  <a:gd name="connsiteY72" fmla="*/ 0 h 108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27063" h="1089025">
                    <a:moveTo>
                      <a:pt x="15713" y="1057275"/>
                    </a:moveTo>
                    <a:cubicBezTo>
                      <a:pt x="15713" y="1057275"/>
                      <a:pt x="15713" y="1057275"/>
                      <a:pt x="611351" y="1057275"/>
                    </a:cubicBezTo>
                    <a:cubicBezTo>
                      <a:pt x="620635" y="1057275"/>
                      <a:pt x="627063" y="1064491"/>
                      <a:pt x="627063" y="1073150"/>
                    </a:cubicBezTo>
                    <a:cubicBezTo>
                      <a:pt x="627063" y="1081809"/>
                      <a:pt x="620635" y="1089025"/>
                      <a:pt x="611351" y="1089025"/>
                    </a:cubicBezTo>
                    <a:cubicBezTo>
                      <a:pt x="611351" y="1089025"/>
                      <a:pt x="611351" y="1089025"/>
                      <a:pt x="15713" y="1089025"/>
                    </a:cubicBezTo>
                    <a:cubicBezTo>
                      <a:pt x="6428" y="1089025"/>
                      <a:pt x="0" y="1081809"/>
                      <a:pt x="0" y="1073150"/>
                    </a:cubicBezTo>
                    <a:cubicBezTo>
                      <a:pt x="0" y="1064491"/>
                      <a:pt x="6428" y="1057275"/>
                      <a:pt x="15713" y="1057275"/>
                    </a:cubicBezTo>
                    <a:close/>
                    <a:moveTo>
                      <a:pt x="15713" y="941388"/>
                    </a:moveTo>
                    <a:cubicBezTo>
                      <a:pt x="15713" y="941388"/>
                      <a:pt x="15713" y="941388"/>
                      <a:pt x="611351" y="941388"/>
                    </a:cubicBezTo>
                    <a:cubicBezTo>
                      <a:pt x="620635" y="941388"/>
                      <a:pt x="627063" y="948604"/>
                      <a:pt x="627063" y="957263"/>
                    </a:cubicBezTo>
                    <a:cubicBezTo>
                      <a:pt x="627063" y="965922"/>
                      <a:pt x="620635" y="973138"/>
                      <a:pt x="611351" y="973138"/>
                    </a:cubicBezTo>
                    <a:cubicBezTo>
                      <a:pt x="611351" y="973138"/>
                      <a:pt x="611351" y="973138"/>
                      <a:pt x="15713" y="973138"/>
                    </a:cubicBezTo>
                    <a:cubicBezTo>
                      <a:pt x="6428" y="973138"/>
                      <a:pt x="0" y="965922"/>
                      <a:pt x="0" y="957263"/>
                    </a:cubicBezTo>
                    <a:cubicBezTo>
                      <a:pt x="0" y="948604"/>
                      <a:pt x="6428" y="941388"/>
                      <a:pt x="15713" y="941388"/>
                    </a:cubicBezTo>
                    <a:close/>
                    <a:moveTo>
                      <a:pt x="15713" y="825500"/>
                    </a:moveTo>
                    <a:cubicBezTo>
                      <a:pt x="15713" y="825500"/>
                      <a:pt x="15713" y="825500"/>
                      <a:pt x="611351" y="825500"/>
                    </a:cubicBezTo>
                    <a:cubicBezTo>
                      <a:pt x="620635" y="825500"/>
                      <a:pt x="627063" y="832716"/>
                      <a:pt x="627063" y="841375"/>
                    </a:cubicBezTo>
                    <a:cubicBezTo>
                      <a:pt x="627063" y="850756"/>
                      <a:pt x="620635" y="857250"/>
                      <a:pt x="611351" y="857250"/>
                    </a:cubicBezTo>
                    <a:cubicBezTo>
                      <a:pt x="611351" y="857250"/>
                      <a:pt x="611351" y="857250"/>
                      <a:pt x="15713" y="857250"/>
                    </a:cubicBezTo>
                    <a:cubicBezTo>
                      <a:pt x="6428" y="857250"/>
                      <a:pt x="0" y="850756"/>
                      <a:pt x="0" y="841375"/>
                    </a:cubicBezTo>
                    <a:cubicBezTo>
                      <a:pt x="0" y="832716"/>
                      <a:pt x="6428" y="825500"/>
                      <a:pt x="15713" y="825500"/>
                    </a:cubicBezTo>
                    <a:close/>
                    <a:moveTo>
                      <a:pt x="15713" y="709613"/>
                    </a:moveTo>
                    <a:cubicBezTo>
                      <a:pt x="15713" y="709613"/>
                      <a:pt x="15713" y="709613"/>
                      <a:pt x="611351" y="709613"/>
                    </a:cubicBezTo>
                    <a:cubicBezTo>
                      <a:pt x="620635" y="709613"/>
                      <a:pt x="627063" y="716829"/>
                      <a:pt x="627063" y="725488"/>
                    </a:cubicBezTo>
                    <a:cubicBezTo>
                      <a:pt x="627063" y="734147"/>
                      <a:pt x="620635" y="741363"/>
                      <a:pt x="611351" y="741363"/>
                    </a:cubicBezTo>
                    <a:cubicBezTo>
                      <a:pt x="611351" y="741363"/>
                      <a:pt x="611351" y="741363"/>
                      <a:pt x="15713" y="741363"/>
                    </a:cubicBezTo>
                    <a:cubicBezTo>
                      <a:pt x="6428" y="741363"/>
                      <a:pt x="0" y="734147"/>
                      <a:pt x="0" y="725488"/>
                    </a:cubicBezTo>
                    <a:cubicBezTo>
                      <a:pt x="0" y="716829"/>
                      <a:pt x="6428" y="709613"/>
                      <a:pt x="15713" y="709613"/>
                    </a:cubicBezTo>
                    <a:close/>
                    <a:moveTo>
                      <a:pt x="15713" y="593725"/>
                    </a:moveTo>
                    <a:cubicBezTo>
                      <a:pt x="15713" y="593725"/>
                      <a:pt x="15713" y="593725"/>
                      <a:pt x="611351" y="593725"/>
                    </a:cubicBezTo>
                    <a:cubicBezTo>
                      <a:pt x="620635" y="593725"/>
                      <a:pt x="627063" y="600941"/>
                      <a:pt x="627063" y="609600"/>
                    </a:cubicBezTo>
                    <a:cubicBezTo>
                      <a:pt x="627063" y="618259"/>
                      <a:pt x="620635" y="625475"/>
                      <a:pt x="611351" y="625475"/>
                    </a:cubicBezTo>
                    <a:cubicBezTo>
                      <a:pt x="611351" y="625475"/>
                      <a:pt x="611351" y="625475"/>
                      <a:pt x="15713" y="625475"/>
                    </a:cubicBezTo>
                    <a:cubicBezTo>
                      <a:pt x="6428" y="625475"/>
                      <a:pt x="0" y="618259"/>
                      <a:pt x="0" y="609600"/>
                    </a:cubicBezTo>
                    <a:cubicBezTo>
                      <a:pt x="0" y="600941"/>
                      <a:pt x="6428" y="593725"/>
                      <a:pt x="15713" y="593725"/>
                    </a:cubicBezTo>
                    <a:close/>
                    <a:moveTo>
                      <a:pt x="15713" y="477838"/>
                    </a:moveTo>
                    <a:cubicBezTo>
                      <a:pt x="15713" y="477838"/>
                      <a:pt x="15713" y="477838"/>
                      <a:pt x="611351" y="477838"/>
                    </a:cubicBezTo>
                    <a:cubicBezTo>
                      <a:pt x="620635" y="477838"/>
                      <a:pt x="627063" y="484332"/>
                      <a:pt x="627063" y="493713"/>
                    </a:cubicBezTo>
                    <a:cubicBezTo>
                      <a:pt x="627063" y="502372"/>
                      <a:pt x="620635" y="509588"/>
                      <a:pt x="611351" y="509588"/>
                    </a:cubicBezTo>
                    <a:cubicBezTo>
                      <a:pt x="611351" y="509588"/>
                      <a:pt x="611351" y="509588"/>
                      <a:pt x="15713" y="509588"/>
                    </a:cubicBezTo>
                    <a:cubicBezTo>
                      <a:pt x="6428" y="509588"/>
                      <a:pt x="0" y="502372"/>
                      <a:pt x="0" y="493713"/>
                    </a:cubicBezTo>
                    <a:cubicBezTo>
                      <a:pt x="0" y="484332"/>
                      <a:pt x="6428" y="477838"/>
                      <a:pt x="15713" y="477838"/>
                    </a:cubicBezTo>
                    <a:close/>
                    <a:moveTo>
                      <a:pt x="15713" y="361950"/>
                    </a:moveTo>
                    <a:cubicBezTo>
                      <a:pt x="15713" y="361950"/>
                      <a:pt x="15713" y="361950"/>
                      <a:pt x="611351" y="361950"/>
                    </a:cubicBezTo>
                    <a:cubicBezTo>
                      <a:pt x="620635" y="361950"/>
                      <a:pt x="627063" y="369166"/>
                      <a:pt x="627063" y="377825"/>
                    </a:cubicBezTo>
                    <a:cubicBezTo>
                      <a:pt x="627063" y="386484"/>
                      <a:pt x="620635" y="393700"/>
                      <a:pt x="611351" y="393700"/>
                    </a:cubicBezTo>
                    <a:cubicBezTo>
                      <a:pt x="611351" y="393700"/>
                      <a:pt x="611351" y="393700"/>
                      <a:pt x="15713" y="393700"/>
                    </a:cubicBezTo>
                    <a:cubicBezTo>
                      <a:pt x="6428" y="393700"/>
                      <a:pt x="0" y="386484"/>
                      <a:pt x="0" y="377825"/>
                    </a:cubicBezTo>
                    <a:cubicBezTo>
                      <a:pt x="0" y="369166"/>
                      <a:pt x="6428" y="361950"/>
                      <a:pt x="15713" y="361950"/>
                    </a:cubicBezTo>
                    <a:close/>
                    <a:moveTo>
                      <a:pt x="313532" y="31750"/>
                    </a:moveTo>
                    <a:cubicBezTo>
                      <a:pt x="305584" y="31750"/>
                      <a:pt x="298359" y="33176"/>
                      <a:pt x="291134" y="35314"/>
                    </a:cubicBezTo>
                    <a:cubicBezTo>
                      <a:pt x="276683" y="41016"/>
                      <a:pt x="264400" y="52420"/>
                      <a:pt x="257175" y="66675"/>
                    </a:cubicBezTo>
                    <a:cubicBezTo>
                      <a:pt x="257175" y="66675"/>
                      <a:pt x="257175" y="66675"/>
                      <a:pt x="369888" y="66675"/>
                    </a:cubicBezTo>
                    <a:cubicBezTo>
                      <a:pt x="362663" y="52420"/>
                      <a:pt x="350380" y="41016"/>
                      <a:pt x="335930" y="35314"/>
                    </a:cubicBezTo>
                    <a:cubicBezTo>
                      <a:pt x="328705" y="33176"/>
                      <a:pt x="321479" y="31750"/>
                      <a:pt x="313532" y="31750"/>
                    </a:cubicBezTo>
                    <a:close/>
                    <a:moveTo>
                      <a:pt x="313532" y="0"/>
                    </a:moveTo>
                    <a:cubicBezTo>
                      <a:pt x="342725" y="0"/>
                      <a:pt x="369071" y="13529"/>
                      <a:pt x="386160" y="34890"/>
                    </a:cubicBezTo>
                    <a:cubicBezTo>
                      <a:pt x="393280" y="44147"/>
                      <a:pt x="398977" y="54827"/>
                      <a:pt x="402537" y="66220"/>
                    </a:cubicBezTo>
                    <a:cubicBezTo>
                      <a:pt x="402537" y="66220"/>
                      <a:pt x="402537" y="66220"/>
                      <a:pt x="451668" y="66220"/>
                    </a:cubicBezTo>
                    <a:cubicBezTo>
                      <a:pt x="455228" y="66220"/>
                      <a:pt x="458788" y="69068"/>
                      <a:pt x="458788" y="73340"/>
                    </a:cubicBezTo>
                    <a:cubicBezTo>
                      <a:pt x="458788" y="73340"/>
                      <a:pt x="458788" y="73340"/>
                      <a:pt x="458788" y="113927"/>
                    </a:cubicBezTo>
                    <a:cubicBezTo>
                      <a:pt x="458788" y="113927"/>
                      <a:pt x="458788" y="113927"/>
                      <a:pt x="458788" y="145256"/>
                    </a:cubicBezTo>
                    <a:cubicBezTo>
                      <a:pt x="458788" y="145256"/>
                      <a:pt x="458788" y="145256"/>
                      <a:pt x="458788" y="178010"/>
                    </a:cubicBezTo>
                    <a:cubicBezTo>
                      <a:pt x="458788" y="186555"/>
                      <a:pt x="451668" y="193675"/>
                      <a:pt x="443123" y="193675"/>
                    </a:cubicBezTo>
                    <a:cubicBezTo>
                      <a:pt x="443123" y="193675"/>
                      <a:pt x="443123" y="193675"/>
                      <a:pt x="183940" y="193675"/>
                    </a:cubicBezTo>
                    <a:cubicBezTo>
                      <a:pt x="175396" y="193675"/>
                      <a:pt x="168275" y="186555"/>
                      <a:pt x="168275" y="178010"/>
                    </a:cubicBezTo>
                    <a:cubicBezTo>
                      <a:pt x="168275" y="178010"/>
                      <a:pt x="168275" y="178010"/>
                      <a:pt x="168275" y="145256"/>
                    </a:cubicBezTo>
                    <a:cubicBezTo>
                      <a:pt x="168275" y="145256"/>
                      <a:pt x="168275" y="145256"/>
                      <a:pt x="168275" y="113927"/>
                    </a:cubicBezTo>
                    <a:cubicBezTo>
                      <a:pt x="168275" y="113927"/>
                      <a:pt x="168275" y="113927"/>
                      <a:pt x="168275" y="73340"/>
                    </a:cubicBezTo>
                    <a:cubicBezTo>
                      <a:pt x="168275" y="69068"/>
                      <a:pt x="171835" y="66220"/>
                      <a:pt x="175396" y="66220"/>
                    </a:cubicBezTo>
                    <a:cubicBezTo>
                      <a:pt x="175396" y="66220"/>
                      <a:pt x="175396" y="66220"/>
                      <a:pt x="224527" y="66220"/>
                    </a:cubicBezTo>
                    <a:cubicBezTo>
                      <a:pt x="228087" y="54827"/>
                      <a:pt x="233783" y="44147"/>
                      <a:pt x="240903" y="34890"/>
                    </a:cubicBezTo>
                    <a:cubicBezTo>
                      <a:pt x="257992" y="13529"/>
                      <a:pt x="284338" y="0"/>
                      <a:pt x="3135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sp>
        <p:nvSpPr>
          <p:cNvPr id="72" name="TextBox 71">
            <a:extLst>
              <a:ext uri="{FF2B5EF4-FFF2-40B4-BE49-F238E27FC236}">
                <a16:creationId xmlns:a16="http://schemas.microsoft.com/office/drawing/2014/main" id="{65F9EC66-616F-4B8F-8401-29C0A4E4D6EB}"/>
              </a:ext>
            </a:extLst>
          </p:cNvPr>
          <p:cNvSpPr txBox="1"/>
          <p:nvPr/>
        </p:nvSpPr>
        <p:spPr>
          <a:xfrm>
            <a:off x="1465811" y="1802909"/>
            <a:ext cx="5657295" cy="1332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3850" lvl="1" indent="-215900">
              <a:buClr>
                <a:schemeClr val="tx2"/>
              </a:buClr>
              <a:buSzPct val="100000"/>
              <a:buFont typeface="Trebuchet MS" panose="020B0603020202020204" pitchFamily="34" charset="0"/>
              <a:buChar char="•"/>
            </a:pPr>
            <a:r>
              <a:rPr lang="en-US" sz="1600">
                <a:solidFill>
                  <a:srgbClr val="FF0000"/>
                </a:solidFill>
                <a:ea typeface="+mn-lt"/>
                <a:cs typeface="+mn-lt"/>
              </a:rPr>
              <a:t>is the population density of an area is higher than others where a lot of F&amp;B establishments surrounding it</a:t>
            </a:r>
          </a:p>
          <a:p>
            <a:pPr marL="323850" lvl="1" indent="-215900">
              <a:buClr>
                <a:schemeClr val="tx2"/>
              </a:buClr>
              <a:buSzPct val="100000"/>
              <a:buFont typeface="Trebuchet MS" panose="020B0603020202020204" pitchFamily="34" charset="0"/>
              <a:buChar char="•"/>
            </a:pPr>
            <a:r>
              <a:rPr lang="en-US" sz="1600">
                <a:solidFill>
                  <a:srgbClr val="FF0000"/>
                </a:solidFill>
                <a:ea typeface="+mn-lt"/>
                <a:cs typeface="+mn-lt"/>
              </a:rPr>
              <a:t>Popular Attractions near certain bus stops will directly affect the ridership</a:t>
            </a:r>
          </a:p>
          <a:p>
            <a:pPr marL="323850" lvl="1" indent="-215900">
              <a:buClr>
                <a:schemeClr val="tx2"/>
              </a:buClr>
              <a:buSzPct val="100000"/>
              <a:buFont typeface="Trebuchet MS" panose="020B0603020202020204" pitchFamily="34" charset="0"/>
              <a:buChar char="•"/>
            </a:pPr>
            <a:r>
              <a:rPr lang="en-US" sz="1600">
                <a:solidFill>
                  <a:srgbClr val="FF0000"/>
                </a:solidFill>
                <a:ea typeface="+mn-lt"/>
                <a:cs typeface="+mn-lt"/>
              </a:rPr>
              <a:t>Events at a certain location will increase ridership to and from the location during the period of the event</a:t>
            </a:r>
          </a:p>
          <a:p>
            <a:pPr marL="323850" lvl="1" indent="-215900">
              <a:buClr>
                <a:schemeClr val="tx2"/>
              </a:buClr>
              <a:buSzPct val="100000"/>
              <a:buFont typeface="Trebuchet MS" panose="020B0603020202020204" pitchFamily="34" charset="0"/>
              <a:buChar char="•"/>
            </a:pPr>
            <a:endParaRPr lang="en-US" sz="1600">
              <a:solidFill>
                <a:srgbClr val="FF0000"/>
              </a:solidFill>
              <a:ea typeface="+mn-lt"/>
              <a:cs typeface="+mn-lt"/>
            </a:endParaRPr>
          </a:p>
        </p:txBody>
      </p:sp>
      <p:sp>
        <p:nvSpPr>
          <p:cNvPr id="73" name="TextBox 72">
            <a:extLst>
              <a:ext uri="{FF2B5EF4-FFF2-40B4-BE49-F238E27FC236}">
                <a16:creationId xmlns:a16="http://schemas.microsoft.com/office/drawing/2014/main" id="{369CE325-0D8B-4331-A6A7-E86200883FFF}"/>
              </a:ext>
            </a:extLst>
          </p:cNvPr>
          <p:cNvSpPr txBox="1"/>
          <p:nvPr/>
        </p:nvSpPr>
        <p:spPr>
          <a:xfrm>
            <a:off x="1711201" y="3862224"/>
            <a:ext cx="5050279" cy="570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3850" lvl="1" indent="-215900">
              <a:buClr>
                <a:schemeClr val="tx2"/>
              </a:buClr>
              <a:buSzPct val="100000"/>
              <a:buFont typeface="Trebuchet MS" panose="020B0603020202020204" pitchFamily="34" charset="0"/>
              <a:buChar char="•"/>
            </a:pPr>
            <a:r>
              <a:rPr lang="en-US" sz="1600">
                <a:solidFill>
                  <a:srgbClr val="FF0000"/>
                </a:solidFill>
                <a:latin typeface="Trebuchet MS"/>
              </a:rPr>
              <a:t>By investigating the co-relationship in between above three points. We will know that some of the factors which contribute the population density in each bus-stop</a:t>
            </a:r>
            <a:endParaRPr lang="en-US" sz="1600">
              <a:solidFill>
                <a:srgbClr val="FF0000"/>
              </a:solidFill>
              <a:latin typeface="Trebuchet MS" panose="020B0603020202020204" pitchFamily="34" charset="0"/>
            </a:endParaRPr>
          </a:p>
        </p:txBody>
      </p:sp>
      <p:sp>
        <p:nvSpPr>
          <p:cNvPr id="74" name="TextBox 73">
            <a:extLst>
              <a:ext uri="{FF2B5EF4-FFF2-40B4-BE49-F238E27FC236}">
                <a16:creationId xmlns:a16="http://schemas.microsoft.com/office/drawing/2014/main" id="{E47B854F-35A3-41BB-975A-B1950D409CD0}"/>
              </a:ext>
            </a:extLst>
          </p:cNvPr>
          <p:cNvSpPr txBox="1"/>
          <p:nvPr/>
        </p:nvSpPr>
        <p:spPr>
          <a:xfrm>
            <a:off x="1711201" y="5521165"/>
            <a:ext cx="5050279" cy="570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3850" lvl="1" indent="-215900">
              <a:buClr>
                <a:schemeClr val="tx2"/>
              </a:buClr>
              <a:buSzPct val="100000"/>
              <a:buFont typeface="Trebuchet MS" panose="020B0603020202020204" pitchFamily="34" charset="0"/>
              <a:buChar char="•"/>
            </a:pPr>
            <a:r>
              <a:rPr lang="en-US" sz="1600">
                <a:solidFill>
                  <a:schemeClr val="tx1">
                    <a:lumMod val="100000"/>
                  </a:schemeClr>
                </a:solidFill>
                <a:latin typeface="Trebuchet MS"/>
              </a:rPr>
              <a:t>Asd</a:t>
            </a:r>
            <a:endParaRPr lang="en-US" sz="1600">
              <a:solidFill>
                <a:schemeClr val="tx1">
                  <a:lumMod val="100000"/>
                </a:schemeClr>
              </a:solidFill>
              <a:latin typeface="Trebuchet MS" panose="020B0603020202020204" pitchFamily="34" charset="0"/>
            </a:endParaRPr>
          </a:p>
          <a:p>
            <a:pPr marL="323850" lvl="1" indent="-215900">
              <a:buClr>
                <a:schemeClr val="tx2"/>
              </a:buClr>
              <a:buSzPct val="100000"/>
              <a:buFont typeface="Trebuchet MS" panose="020B0603020202020204" pitchFamily="34" charset="0"/>
              <a:buChar char="•"/>
            </a:pPr>
            <a:endParaRPr lang="en-US" sz="1600">
              <a:solidFill>
                <a:schemeClr val="tx1">
                  <a:lumMod val="100000"/>
                </a:schemeClr>
              </a:solidFill>
              <a:latin typeface="Trebuchet MS" panose="020B0603020202020204" pitchFamily="34" charset="0"/>
            </a:endParaRPr>
          </a:p>
        </p:txBody>
      </p:sp>
      <p:sp>
        <p:nvSpPr>
          <p:cNvPr id="75" name="TextBox 74">
            <a:extLst>
              <a:ext uri="{FF2B5EF4-FFF2-40B4-BE49-F238E27FC236}">
                <a16:creationId xmlns:a16="http://schemas.microsoft.com/office/drawing/2014/main" id="{17A161B2-27A5-4A69-8154-8169987D9A55}"/>
              </a:ext>
            </a:extLst>
          </p:cNvPr>
          <p:cNvSpPr txBox="1"/>
          <p:nvPr/>
        </p:nvSpPr>
        <p:spPr>
          <a:xfrm>
            <a:off x="1685371" y="1462644"/>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solidFill>
                  <a:srgbClr val="171D3C"/>
                </a:solidFill>
              </a:rPr>
              <a:t>What is the societal problem we chose?</a:t>
            </a:r>
          </a:p>
        </p:txBody>
      </p:sp>
      <p:sp>
        <p:nvSpPr>
          <p:cNvPr id="76" name="TextBox 75">
            <a:extLst>
              <a:ext uri="{FF2B5EF4-FFF2-40B4-BE49-F238E27FC236}">
                <a16:creationId xmlns:a16="http://schemas.microsoft.com/office/drawing/2014/main" id="{999AFC43-1C83-4477-9BF7-57F07EF5E9EB}"/>
              </a:ext>
            </a:extLst>
          </p:cNvPr>
          <p:cNvSpPr txBox="1"/>
          <p:nvPr/>
        </p:nvSpPr>
        <p:spPr>
          <a:xfrm>
            <a:off x="1711201" y="3599450"/>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solidFill>
                  <a:srgbClr val="171D3C"/>
                </a:solidFill>
              </a:rPr>
              <a:t>Why is it important?</a:t>
            </a:r>
          </a:p>
        </p:txBody>
      </p:sp>
      <p:sp>
        <p:nvSpPr>
          <p:cNvPr id="77" name="TextBox 76">
            <a:extLst>
              <a:ext uri="{FF2B5EF4-FFF2-40B4-BE49-F238E27FC236}">
                <a16:creationId xmlns:a16="http://schemas.microsoft.com/office/drawing/2014/main" id="{5B9186DF-20FD-44CD-9EFA-CE4BDD209EA7}"/>
              </a:ext>
            </a:extLst>
          </p:cNvPr>
          <p:cNvSpPr txBox="1"/>
          <p:nvPr/>
        </p:nvSpPr>
        <p:spPr>
          <a:xfrm>
            <a:off x="1711201" y="5258391"/>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solidFill>
                  <a:srgbClr val="171D3C"/>
                </a:solidFill>
              </a:rPr>
              <a:t>What are the existing stop gaps that have failed?</a:t>
            </a:r>
          </a:p>
        </p:txBody>
      </p:sp>
      <p:sp>
        <p:nvSpPr>
          <p:cNvPr id="78" name="Oval 77">
            <a:extLst>
              <a:ext uri="{FF2B5EF4-FFF2-40B4-BE49-F238E27FC236}">
                <a16:creationId xmlns:a16="http://schemas.microsoft.com/office/drawing/2014/main" id="{F49AC9FC-AB2A-4031-B936-C444B93BB417}"/>
              </a:ext>
            </a:extLst>
          </p:cNvPr>
          <p:cNvSpPr/>
          <p:nvPr/>
        </p:nvSpPr>
        <p:spPr>
          <a:xfrm>
            <a:off x="8744782" y="569637"/>
            <a:ext cx="2040467" cy="2040467"/>
          </a:xfrm>
          <a:prstGeom prst="ellipse">
            <a:avLst/>
          </a:prstGeom>
          <a:solidFill>
            <a:srgbClr val="FFFFFF"/>
          </a:solidFill>
          <a:ln w="31750" cap="rnd" cmpd="sng" algn="ctr">
            <a:solidFill>
              <a:srgbClr val="171D3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0" name="TextBox 79">
            <a:extLst>
              <a:ext uri="{FF2B5EF4-FFF2-40B4-BE49-F238E27FC236}">
                <a16:creationId xmlns:a16="http://schemas.microsoft.com/office/drawing/2014/main" id="{68A98C54-9A91-4450-9435-92A26178346F}"/>
              </a:ext>
            </a:extLst>
          </p:cNvPr>
          <p:cNvSpPr txBox="1"/>
          <p:nvPr/>
        </p:nvSpPr>
        <p:spPr>
          <a:xfrm>
            <a:off x="7887680" y="2801268"/>
            <a:ext cx="3818466" cy="6578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100">
                <a:solidFill>
                  <a:srgbClr val="FFFFFF"/>
                </a:solidFill>
              </a:rPr>
              <a:t>Citizens suffering from</a:t>
            </a:r>
            <a:endParaRPr lang="vi-VN" sz="2100">
              <a:solidFill>
                <a:srgbClr val="FFFFFF"/>
              </a:solidFill>
            </a:endParaRPr>
          </a:p>
          <a:p>
            <a:pPr algn="ctr"/>
            <a:r>
              <a:rPr lang="en-US" sz="2100">
                <a:solidFill>
                  <a:srgbClr val="FFFFFF"/>
                </a:solidFill>
              </a:rPr>
              <a:t>impact of problem</a:t>
            </a:r>
          </a:p>
        </p:txBody>
      </p:sp>
      <p:sp>
        <p:nvSpPr>
          <p:cNvPr id="81" name="TextBox 80">
            <a:extLst>
              <a:ext uri="{FF2B5EF4-FFF2-40B4-BE49-F238E27FC236}">
                <a16:creationId xmlns:a16="http://schemas.microsoft.com/office/drawing/2014/main" id="{297DC42B-7E22-4D87-9284-BD5CEC133A36}"/>
              </a:ext>
            </a:extLst>
          </p:cNvPr>
          <p:cNvSpPr txBox="1"/>
          <p:nvPr/>
        </p:nvSpPr>
        <p:spPr>
          <a:xfrm>
            <a:off x="7887680" y="5725563"/>
            <a:ext cx="1755778" cy="6578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FFFFFF"/>
                </a:solidFill>
              </a:rPr>
              <a:t>Citizens could</a:t>
            </a:r>
          </a:p>
          <a:p>
            <a:pPr algn="ctr"/>
            <a:r>
              <a:rPr lang="en-US" sz="1400">
                <a:solidFill>
                  <a:srgbClr val="FFFFFF"/>
                </a:solidFill>
              </a:rPr>
              <a:t> benefit</a:t>
            </a:r>
          </a:p>
        </p:txBody>
      </p:sp>
      <p:sp>
        <p:nvSpPr>
          <p:cNvPr id="82" name="TextBox 81">
            <a:extLst>
              <a:ext uri="{FF2B5EF4-FFF2-40B4-BE49-F238E27FC236}">
                <a16:creationId xmlns:a16="http://schemas.microsoft.com/office/drawing/2014/main" id="{D560FB43-1D41-4D0A-B599-F8CE8149D3AD}"/>
              </a:ext>
            </a:extLst>
          </p:cNvPr>
          <p:cNvSpPr txBox="1"/>
          <p:nvPr/>
        </p:nvSpPr>
        <p:spPr>
          <a:xfrm>
            <a:off x="9950369" y="5725563"/>
            <a:ext cx="1755778" cy="6578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FFFFFF"/>
                </a:solidFill>
              </a:rPr>
              <a:t>Incremental benefit per</a:t>
            </a:r>
          </a:p>
          <a:p>
            <a:pPr algn="ctr"/>
            <a:r>
              <a:rPr lang="en-US" sz="1400">
                <a:solidFill>
                  <a:srgbClr val="FFFFFF"/>
                </a:solidFill>
              </a:rPr>
              <a:t> citizen</a:t>
            </a:r>
          </a:p>
        </p:txBody>
      </p:sp>
      <p:sp>
        <p:nvSpPr>
          <p:cNvPr id="88" name="TextBox 87">
            <a:extLst>
              <a:ext uri="{FF2B5EF4-FFF2-40B4-BE49-F238E27FC236}">
                <a16:creationId xmlns:a16="http://schemas.microsoft.com/office/drawing/2014/main" id="{40E593F2-DC09-4683-8B41-50EE6491B07B}"/>
              </a:ext>
            </a:extLst>
          </p:cNvPr>
          <p:cNvSpPr txBox="1"/>
          <p:nvPr/>
        </p:nvSpPr>
        <p:spPr>
          <a:xfrm>
            <a:off x="7831382" y="5358714"/>
            <a:ext cx="1868372" cy="4950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vi-VN" sz="2100">
                <a:solidFill>
                  <a:srgbClr val="FFFFFF"/>
                </a:solidFill>
              </a:rPr>
              <a:t>Y M</a:t>
            </a:r>
            <a:endParaRPr lang="en-US" sz="2100" err="1">
              <a:solidFill>
                <a:srgbClr val="FFFFFF"/>
              </a:solidFill>
            </a:endParaRPr>
          </a:p>
        </p:txBody>
      </p:sp>
      <p:sp>
        <p:nvSpPr>
          <p:cNvPr id="89" name="TextBox 88">
            <a:extLst>
              <a:ext uri="{FF2B5EF4-FFF2-40B4-BE49-F238E27FC236}">
                <a16:creationId xmlns:a16="http://schemas.microsoft.com/office/drawing/2014/main" id="{5F43A3E0-3051-49DB-9776-BC1563C03125}"/>
              </a:ext>
            </a:extLst>
          </p:cNvPr>
          <p:cNvSpPr txBox="1"/>
          <p:nvPr/>
        </p:nvSpPr>
        <p:spPr>
          <a:xfrm>
            <a:off x="9894072" y="5358714"/>
            <a:ext cx="1868372" cy="4950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vi-VN" sz="2100">
                <a:solidFill>
                  <a:srgbClr val="FFFFFF"/>
                </a:solidFill>
              </a:rPr>
              <a:t>~5% </a:t>
            </a:r>
            <a:r>
              <a:rPr lang="vi-VN" sz="2100" err="1">
                <a:solidFill>
                  <a:srgbClr val="FFFFFF"/>
                </a:solidFill>
              </a:rPr>
              <a:t>p.a</a:t>
            </a:r>
            <a:endParaRPr lang="en-US" sz="2100" err="1">
              <a:solidFill>
                <a:srgbClr val="FFFFFF"/>
              </a:solidFill>
            </a:endParaRPr>
          </a:p>
        </p:txBody>
      </p:sp>
      <p:grpSp>
        <p:nvGrpSpPr>
          <p:cNvPr id="96" name="Group 95">
            <a:extLst>
              <a:ext uri="{FF2B5EF4-FFF2-40B4-BE49-F238E27FC236}">
                <a16:creationId xmlns:a16="http://schemas.microsoft.com/office/drawing/2014/main" id="{E76E79B8-B7C7-425D-8855-866318680544}"/>
              </a:ext>
            </a:extLst>
          </p:cNvPr>
          <p:cNvGrpSpPr>
            <a:grpSpLocks noChangeAspect="1"/>
          </p:cNvGrpSpPr>
          <p:nvPr/>
        </p:nvGrpSpPr>
        <p:grpSpPr>
          <a:xfrm>
            <a:off x="8348433" y="4554703"/>
            <a:ext cx="834269" cy="834269"/>
            <a:chOff x="5273675" y="2606675"/>
            <a:chExt cx="1644650" cy="1644650"/>
          </a:xfrm>
        </p:grpSpPr>
        <p:sp>
          <p:nvSpPr>
            <p:cNvPr id="97" name="AutoShape 3">
              <a:extLst>
                <a:ext uri="{FF2B5EF4-FFF2-40B4-BE49-F238E27FC236}">
                  <a16:creationId xmlns:a16="http://schemas.microsoft.com/office/drawing/2014/main" id="{A80E2684-F806-40AB-8050-6EBF1899735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1">
              <a:extLst>
                <a:ext uri="{FF2B5EF4-FFF2-40B4-BE49-F238E27FC236}">
                  <a16:creationId xmlns:a16="http://schemas.microsoft.com/office/drawing/2014/main" id="{FEF2E7CF-BB3A-49F5-B060-BD0A675EC8CD}"/>
                </a:ext>
              </a:extLst>
            </p:cNvPr>
            <p:cNvSpPr>
              <a:spLocks/>
            </p:cNvSpPr>
            <p:nvPr/>
          </p:nvSpPr>
          <p:spPr bwMode="auto">
            <a:xfrm>
              <a:off x="5335588" y="2770188"/>
              <a:ext cx="1517650" cy="1311275"/>
            </a:xfrm>
            <a:custGeom>
              <a:avLst/>
              <a:gdLst>
                <a:gd name="connsiteX0" fmla="*/ 955047 w 1517650"/>
                <a:gd name="connsiteY0" fmla="*/ 1035050 h 1311275"/>
                <a:gd name="connsiteX1" fmla="*/ 1088898 w 1517650"/>
                <a:gd name="connsiteY1" fmla="*/ 1144255 h 1311275"/>
                <a:gd name="connsiteX2" fmla="*/ 1095340 w 1517650"/>
                <a:gd name="connsiteY2" fmla="*/ 1144255 h 1311275"/>
                <a:gd name="connsiteX3" fmla="*/ 1228475 w 1517650"/>
                <a:gd name="connsiteY3" fmla="*/ 1035050 h 1311275"/>
                <a:gd name="connsiteX4" fmla="*/ 1410283 w 1517650"/>
                <a:gd name="connsiteY4" fmla="*/ 1065742 h 1311275"/>
                <a:gd name="connsiteX5" fmla="*/ 1466114 w 1517650"/>
                <a:gd name="connsiteY5" fmla="*/ 1119274 h 1311275"/>
                <a:gd name="connsiteX6" fmla="*/ 1517650 w 1517650"/>
                <a:gd name="connsiteY6" fmla="*/ 1293431 h 1311275"/>
                <a:gd name="connsiteX7" fmla="*/ 1517650 w 1517650"/>
                <a:gd name="connsiteY7" fmla="*/ 1295572 h 1311275"/>
                <a:gd name="connsiteX8" fmla="*/ 1501903 w 1517650"/>
                <a:gd name="connsiteY8" fmla="*/ 1311275 h 1311275"/>
                <a:gd name="connsiteX9" fmla="*/ 879175 w 1517650"/>
                <a:gd name="connsiteY9" fmla="*/ 1311275 h 1311275"/>
                <a:gd name="connsiteX10" fmla="*/ 882038 w 1517650"/>
                <a:gd name="connsiteY10" fmla="*/ 1295572 h 1311275"/>
                <a:gd name="connsiteX11" fmla="*/ 882038 w 1517650"/>
                <a:gd name="connsiteY11" fmla="*/ 1293431 h 1311275"/>
                <a:gd name="connsiteX12" fmla="*/ 824776 w 1517650"/>
                <a:gd name="connsiteY12" fmla="*/ 1102144 h 1311275"/>
                <a:gd name="connsiteX13" fmla="*/ 788987 w 1517650"/>
                <a:gd name="connsiteY13" fmla="*/ 1059318 h 1311275"/>
                <a:gd name="connsiteX14" fmla="*/ 955047 w 1517650"/>
                <a:gd name="connsiteY14" fmla="*/ 1035050 h 1311275"/>
                <a:gd name="connsiteX15" fmla="*/ 288162 w 1517650"/>
                <a:gd name="connsiteY15" fmla="*/ 1035050 h 1311275"/>
                <a:gd name="connsiteX16" fmla="*/ 366593 w 1517650"/>
                <a:gd name="connsiteY16" fmla="*/ 1090456 h 1311275"/>
                <a:gd name="connsiteX17" fmla="*/ 425092 w 1517650"/>
                <a:gd name="connsiteY17" fmla="*/ 1100295 h 1311275"/>
                <a:gd name="connsiteX18" fmla="*/ 422590 w 1517650"/>
                <a:gd name="connsiteY18" fmla="*/ 1100716 h 1311275"/>
                <a:gd name="connsiteX19" fmla="*/ 427595 w 1517650"/>
                <a:gd name="connsiteY19" fmla="*/ 1100716 h 1311275"/>
                <a:gd name="connsiteX20" fmla="*/ 425092 w 1517650"/>
                <a:gd name="connsiteY20" fmla="*/ 1100295 h 1311275"/>
                <a:gd name="connsiteX21" fmla="*/ 483592 w 1517650"/>
                <a:gd name="connsiteY21" fmla="*/ 1090456 h 1311275"/>
                <a:gd name="connsiteX22" fmla="*/ 562023 w 1517650"/>
                <a:gd name="connsiteY22" fmla="*/ 1035050 h 1311275"/>
                <a:gd name="connsiteX23" fmla="*/ 744359 w 1517650"/>
                <a:gd name="connsiteY23" fmla="*/ 1065742 h 1311275"/>
                <a:gd name="connsiteX24" fmla="*/ 799417 w 1517650"/>
                <a:gd name="connsiteY24" fmla="*/ 1119274 h 1311275"/>
                <a:gd name="connsiteX25" fmla="*/ 850900 w 1517650"/>
                <a:gd name="connsiteY25" fmla="*/ 1293431 h 1311275"/>
                <a:gd name="connsiteX26" fmla="*/ 850900 w 1517650"/>
                <a:gd name="connsiteY26" fmla="*/ 1295572 h 1311275"/>
                <a:gd name="connsiteX27" fmla="*/ 835169 w 1517650"/>
                <a:gd name="connsiteY27" fmla="*/ 1311275 h 1311275"/>
                <a:gd name="connsiteX28" fmla="*/ 15731 w 1517650"/>
                <a:gd name="connsiteY28" fmla="*/ 1311275 h 1311275"/>
                <a:gd name="connsiteX29" fmla="*/ 0 w 1517650"/>
                <a:gd name="connsiteY29" fmla="*/ 1295572 h 1311275"/>
                <a:gd name="connsiteX30" fmla="*/ 0 w 1517650"/>
                <a:gd name="connsiteY30" fmla="*/ 1293431 h 1311275"/>
                <a:gd name="connsiteX31" fmla="*/ 50768 w 1517650"/>
                <a:gd name="connsiteY31" fmla="*/ 1119274 h 1311275"/>
                <a:gd name="connsiteX32" fmla="*/ 106541 w 1517650"/>
                <a:gd name="connsiteY32" fmla="*/ 1065742 h 1311275"/>
                <a:gd name="connsiteX33" fmla="*/ 288162 w 1517650"/>
                <a:gd name="connsiteY33" fmla="*/ 1035050 h 1311275"/>
                <a:gd name="connsiteX34" fmla="*/ 1302460 w 1517650"/>
                <a:gd name="connsiteY34" fmla="*/ 871537 h 1311275"/>
                <a:gd name="connsiteX35" fmla="*/ 1355725 w 1517650"/>
                <a:gd name="connsiteY35" fmla="*/ 972693 h 1311275"/>
                <a:gd name="connsiteX36" fmla="*/ 1301020 w 1517650"/>
                <a:gd name="connsiteY36" fmla="*/ 1008062 h 1311275"/>
                <a:gd name="connsiteX37" fmla="*/ 1239837 w 1517650"/>
                <a:gd name="connsiteY37" fmla="*/ 1003110 h 1311275"/>
                <a:gd name="connsiteX38" fmla="*/ 1239837 w 1517650"/>
                <a:gd name="connsiteY38" fmla="*/ 990378 h 1311275"/>
                <a:gd name="connsiteX39" fmla="*/ 1302460 w 1517650"/>
                <a:gd name="connsiteY39" fmla="*/ 871537 h 1311275"/>
                <a:gd name="connsiteX40" fmla="*/ 880352 w 1517650"/>
                <a:gd name="connsiteY40" fmla="*/ 869950 h 1311275"/>
                <a:gd name="connsiteX41" fmla="*/ 942975 w 1517650"/>
                <a:gd name="connsiteY41" fmla="*/ 989553 h 1311275"/>
                <a:gd name="connsiteX42" fmla="*/ 942975 w 1517650"/>
                <a:gd name="connsiteY42" fmla="*/ 1003080 h 1311275"/>
                <a:gd name="connsiteX43" fmla="*/ 882511 w 1517650"/>
                <a:gd name="connsiteY43" fmla="*/ 1008063 h 1311275"/>
                <a:gd name="connsiteX44" fmla="*/ 827087 w 1517650"/>
                <a:gd name="connsiteY44" fmla="*/ 972467 h 1311275"/>
                <a:gd name="connsiteX45" fmla="*/ 880352 w 1517650"/>
                <a:gd name="connsiteY45" fmla="*/ 869950 h 1311275"/>
                <a:gd name="connsiteX46" fmla="*/ 863600 w 1517650"/>
                <a:gd name="connsiteY46" fmla="*/ 768350 h 1311275"/>
                <a:gd name="connsiteX47" fmla="*/ 901462 w 1517650"/>
                <a:gd name="connsiteY47" fmla="*/ 786177 h 1311275"/>
                <a:gd name="connsiteX48" fmla="*/ 917178 w 1517650"/>
                <a:gd name="connsiteY48" fmla="*/ 801153 h 1311275"/>
                <a:gd name="connsiteX49" fmla="*/ 924322 w 1517650"/>
                <a:gd name="connsiteY49" fmla="*/ 809710 h 1311275"/>
                <a:gd name="connsiteX50" fmla="*/ 990044 w 1517650"/>
                <a:gd name="connsiteY50" fmla="*/ 948765 h 1311275"/>
                <a:gd name="connsiteX51" fmla="*/ 1092200 w 1517650"/>
                <a:gd name="connsiteY51" fmla="*/ 1000108 h 1311275"/>
                <a:gd name="connsiteX52" fmla="*/ 1193641 w 1517650"/>
                <a:gd name="connsiteY52" fmla="*/ 948765 h 1311275"/>
                <a:gd name="connsiteX53" fmla="*/ 1260078 w 1517650"/>
                <a:gd name="connsiteY53" fmla="*/ 809710 h 1311275"/>
                <a:gd name="connsiteX54" fmla="*/ 1267222 w 1517650"/>
                <a:gd name="connsiteY54" fmla="*/ 801153 h 1311275"/>
                <a:gd name="connsiteX55" fmla="*/ 1282938 w 1517650"/>
                <a:gd name="connsiteY55" fmla="*/ 786177 h 1311275"/>
                <a:gd name="connsiteX56" fmla="*/ 1320800 w 1517650"/>
                <a:gd name="connsiteY56" fmla="*/ 768350 h 1311275"/>
                <a:gd name="connsiteX57" fmla="*/ 1320800 w 1517650"/>
                <a:gd name="connsiteY57" fmla="*/ 771915 h 1311275"/>
                <a:gd name="connsiteX58" fmla="*/ 1287225 w 1517650"/>
                <a:gd name="connsiteY58" fmla="*/ 826111 h 1311275"/>
                <a:gd name="connsiteX59" fmla="*/ 1215072 w 1517650"/>
                <a:gd name="connsiteY59" fmla="*/ 972297 h 1311275"/>
                <a:gd name="connsiteX60" fmla="*/ 1209357 w 1517650"/>
                <a:gd name="connsiteY60" fmla="*/ 976576 h 1311275"/>
                <a:gd name="connsiteX61" fmla="*/ 1209357 w 1517650"/>
                <a:gd name="connsiteY61" fmla="*/ 1009378 h 1311275"/>
                <a:gd name="connsiteX62" fmla="*/ 1208643 w 1517650"/>
                <a:gd name="connsiteY62" fmla="*/ 1010092 h 1311275"/>
                <a:gd name="connsiteX63" fmla="*/ 1177925 w 1517650"/>
                <a:gd name="connsiteY63" fmla="*/ 1035050 h 1311275"/>
                <a:gd name="connsiteX64" fmla="*/ 1177925 w 1517650"/>
                <a:gd name="connsiteY64" fmla="*/ 998682 h 1311275"/>
                <a:gd name="connsiteX65" fmla="*/ 1092200 w 1517650"/>
                <a:gd name="connsiteY65" fmla="*/ 1031485 h 1311275"/>
                <a:gd name="connsiteX66" fmla="*/ 1005760 w 1517650"/>
                <a:gd name="connsiteY66" fmla="*/ 998682 h 1311275"/>
                <a:gd name="connsiteX67" fmla="*/ 1005760 w 1517650"/>
                <a:gd name="connsiteY67" fmla="*/ 1035050 h 1311275"/>
                <a:gd name="connsiteX68" fmla="*/ 975757 w 1517650"/>
                <a:gd name="connsiteY68" fmla="*/ 1010092 h 1311275"/>
                <a:gd name="connsiteX69" fmla="*/ 974328 w 1517650"/>
                <a:gd name="connsiteY69" fmla="*/ 1009378 h 1311275"/>
                <a:gd name="connsiteX70" fmla="*/ 974328 w 1517650"/>
                <a:gd name="connsiteY70" fmla="*/ 975863 h 1311275"/>
                <a:gd name="connsiteX71" fmla="*/ 969327 w 1517650"/>
                <a:gd name="connsiteY71" fmla="*/ 972297 h 1311275"/>
                <a:gd name="connsiteX72" fmla="*/ 897175 w 1517650"/>
                <a:gd name="connsiteY72" fmla="*/ 826111 h 1311275"/>
                <a:gd name="connsiteX73" fmla="*/ 863600 w 1517650"/>
                <a:gd name="connsiteY73" fmla="*/ 773342 h 1311275"/>
                <a:gd name="connsiteX74" fmla="*/ 863600 w 1517650"/>
                <a:gd name="connsiteY74" fmla="*/ 768350 h 1311275"/>
                <a:gd name="connsiteX75" fmla="*/ 196850 w 1517650"/>
                <a:gd name="connsiteY75" fmla="*/ 768350 h 1311275"/>
                <a:gd name="connsiteX76" fmla="*/ 234653 w 1517650"/>
                <a:gd name="connsiteY76" fmla="*/ 786267 h 1311275"/>
                <a:gd name="connsiteX77" fmla="*/ 250344 w 1517650"/>
                <a:gd name="connsiteY77" fmla="*/ 801317 h 1311275"/>
                <a:gd name="connsiteX78" fmla="*/ 257477 w 1517650"/>
                <a:gd name="connsiteY78" fmla="*/ 809917 h 1311275"/>
                <a:gd name="connsiteX79" fmla="*/ 323097 w 1517650"/>
                <a:gd name="connsiteY79" fmla="*/ 949667 h 1311275"/>
                <a:gd name="connsiteX80" fmla="*/ 425093 w 1517650"/>
                <a:gd name="connsiteY80" fmla="*/ 1001267 h 1311275"/>
                <a:gd name="connsiteX81" fmla="*/ 527089 w 1517650"/>
                <a:gd name="connsiteY81" fmla="*/ 949667 h 1311275"/>
                <a:gd name="connsiteX82" fmla="*/ 593423 w 1517650"/>
                <a:gd name="connsiteY82" fmla="*/ 809917 h 1311275"/>
                <a:gd name="connsiteX83" fmla="*/ 600555 w 1517650"/>
                <a:gd name="connsiteY83" fmla="*/ 801317 h 1311275"/>
                <a:gd name="connsiteX84" fmla="*/ 616247 w 1517650"/>
                <a:gd name="connsiteY84" fmla="*/ 786267 h 1311275"/>
                <a:gd name="connsiteX85" fmla="*/ 654050 w 1517650"/>
                <a:gd name="connsiteY85" fmla="*/ 768350 h 1311275"/>
                <a:gd name="connsiteX86" fmla="*/ 654050 w 1517650"/>
                <a:gd name="connsiteY86" fmla="*/ 771933 h 1311275"/>
                <a:gd name="connsiteX87" fmla="*/ 620527 w 1517650"/>
                <a:gd name="connsiteY87" fmla="*/ 826400 h 1311275"/>
                <a:gd name="connsiteX88" fmla="*/ 548487 w 1517650"/>
                <a:gd name="connsiteY88" fmla="*/ 973317 h 1311275"/>
                <a:gd name="connsiteX89" fmla="*/ 543494 w 1517650"/>
                <a:gd name="connsiteY89" fmla="*/ 976900 h 1311275"/>
                <a:gd name="connsiteX90" fmla="*/ 543494 w 1517650"/>
                <a:gd name="connsiteY90" fmla="*/ 1008433 h 1311275"/>
                <a:gd name="connsiteX91" fmla="*/ 536362 w 1517650"/>
                <a:gd name="connsiteY91" fmla="*/ 1017033 h 1311275"/>
                <a:gd name="connsiteX92" fmla="*/ 512111 w 1517650"/>
                <a:gd name="connsiteY92" fmla="*/ 1041400 h 1311275"/>
                <a:gd name="connsiteX93" fmla="*/ 512111 w 1517650"/>
                <a:gd name="connsiteY93" fmla="*/ 999833 h 1311275"/>
                <a:gd name="connsiteX94" fmla="*/ 425093 w 1517650"/>
                <a:gd name="connsiteY94" fmla="*/ 1032800 h 1311275"/>
                <a:gd name="connsiteX95" fmla="*/ 339502 w 1517650"/>
                <a:gd name="connsiteY95" fmla="*/ 999833 h 1311275"/>
                <a:gd name="connsiteX96" fmla="*/ 339502 w 1517650"/>
                <a:gd name="connsiteY96" fmla="*/ 1041400 h 1311275"/>
                <a:gd name="connsiteX97" fmla="*/ 314538 w 1517650"/>
                <a:gd name="connsiteY97" fmla="*/ 1017033 h 1311275"/>
                <a:gd name="connsiteX98" fmla="*/ 308118 w 1517650"/>
                <a:gd name="connsiteY98" fmla="*/ 1008433 h 1311275"/>
                <a:gd name="connsiteX99" fmla="*/ 308118 w 1517650"/>
                <a:gd name="connsiteY99" fmla="*/ 977617 h 1311275"/>
                <a:gd name="connsiteX100" fmla="*/ 302412 w 1517650"/>
                <a:gd name="connsiteY100" fmla="*/ 973317 h 1311275"/>
                <a:gd name="connsiteX101" fmla="*/ 230373 w 1517650"/>
                <a:gd name="connsiteY101" fmla="*/ 826400 h 1311275"/>
                <a:gd name="connsiteX102" fmla="*/ 196850 w 1517650"/>
                <a:gd name="connsiteY102" fmla="*/ 773367 h 1311275"/>
                <a:gd name="connsiteX103" fmla="*/ 196850 w 1517650"/>
                <a:gd name="connsiteY103" fmla="*/ 768350 h 1311275"/>
                <a:gd name="connsiteX104" fmla="*/ 1091126 w 1517650"/>
                <a:gd name="connsiteY104" fmla="*/ 431800 h 1311275"/>
                <a:gd name="connsiteX105" fmla="*/ 1313734 w 1517650"/>
                <a:gd name="connsiteY105" fmla="*/ 656987 h 1311275"/>
                <a:gd name="connsiteX106" fmla="*/ 1305861 w 1517650"/>
                <a:gd name="connsiteY106" fmla="*/ 733479 h 1311275"/>
                <a:gd name="connsiteX107" fmla="*/ 1305861 w 1517650"/>
                <a:gd name="connsiteY107" fmla="*/ 732764 h 1311275"/>
                <a:gd name="connsiteX108" fmla="*/ 1281524 w 1517650"/>
                <a:gd name="connsiteY108" fmla="*/ 767793 h 1311275"/>
                <a:gd name="connsiteX109" fmla="*/ 1279377 w 1517650"/>
                <a:gd name="connsiteY109" fmla="*/ 768508 h 1311275"/>
                <a:gd name="connsiteX110" fmla="*/ 1265061 w 1517650"/>
                <a:gd name="connsiteY110" fmla="*/ 768508 h 1311275"/>
                <a:gd name="connsiteX111" fmla="*/ 1263630 w 1517650"/>
                <a:gd name="connsiteY111" fmla="*/ 768508 h 1311275"/>
                <a:gd name="connsiteX112" fmla="*/ 971591 w 1517650"/>
                <a:gd name="connsiteY112" fmla="*/ 612664 h 1311275"/>
                <a:gd name="connsiteX113" fmla="*/ 968728 w 1517650"/>
                <a:gd name="connsiteY113" fmla="*/ 612664 h 1311275"/>
                <a:gd name="connsiteX114" fmla="*/ 882118 w 1517650"/>
                <a:gd name="connsiteY114" fmla="*/ 749921 h 1311275"/>
                <a:gd name="connsiteX115" fmla="*/ 882118 w 1517650"/>
                <a:gd name="connsiteY115" fmla="*/ 749206 h 1311275"/>
                <a:gd name="connsiteX116" fmla="*/ 869950 w 1517650"/>
                <a:gd name="connsiteY116" fmla="*/ 656987 h 1311275"/>
                <a:gd name="connsiteX117" fmla="*/ 1091126 w 1517650"/>
                <a:gd name="connsiteY117" fmla="*/ 431800 h 1311275"/>
                <a:gd name="connsiteX118" fmla="*/ 425450 w 1517650"/>
                <a:gd name="connsiteY118" fmla="*/ 431800 h 1311275"/>
                <a:gd name="connsiteX119" fmla="*/ 646983 w 1517650"/>
                <a:gd name="connsiteY119" fmla="*/ 659000 h 1311275"/>
                <a:gd name="connsiteX120" fmla="*/ 639097 w 1517650"/>
                <a:gd name="connsiteY120" fmla="*/ 735689 h 1311275"/>
                <a:gd name="connsiteX121" fmla="*/ 614004 w 1517650"/>
                <a:gd name="connsiteY121" fmla="*/ 771525 h 1311275"/>
                <a:gd name="connsiteX122" fmla="*/ 597514 w 1517650"/>
                <a:gd name="connsiteY122" fmla="*/ 771525 h 1311275"/>
                <a:gd name="connsiteX123" fmla="*/ 595363 w 1517650"/>
                <a:gd name="connsiteY123" fmla="*/ 603813 h 1311275"/>
                <a:gd name="connsiteX124" fmla="*/ 303571 w 1517650"/>
                <a:gd name="connsiteY124" fmla="*/ 613847 h 1311275"/>
                <a:gd name="connsiteX125" fmla="*/ 249084 w 1517650"/>
                <a:gd name="connsiteY125" fmla="*/ 768658 h 1311275"/>
                <a:gd name="connsiteX126" fmla="*/ 234028 w 1517650"/>
                <a:gd name="connsiteY126" fmla="*/ 766508 h 1311275"/>
                <a:gd name="connsiteX127" fmla="*/ 211803 w 1517650"/>
                <a:gd name="connsiteY127" fmla="*/ 738556 h 1311275"/>
                <a:gd name="connsiteX128" fmla="*/ 211803 w 1517650"/>
                <a:gd name="connsiteY128" fmla="*/ 737839 h 1311275"/>
                <a:gd name="connsiteX129" fmla="*/ 203200 w 1517650"/>
                <a:gd name="connsiteY129" fmla="*/ 659000 h 1311275"/>
                <a:gd name="connsiteX130" fmla="*/ 425450 w 1517650"/>
                <a:gd name="connsiteY130" fmla="*/ 431800 h 1311275"/>
                <a:gd name="connsiteX131" fmla="*/ 1351838 w 1517650"/>
                <a:gd name="connsiteY131" fmla="*/ 417512 h 1311275"/>
                <a:gd name="connsiteX132" fmla="*/ 1470682 w 1517650"/>
                <a:gd name="connsiteY132" fmla="*/ 472908 h 1311275"/>
                <a:gd name="connsiteX133" fmla="*/ 1468547 w 1517650"/>
                <a:gd name="connsiteY133" fmla="*/ 494924 h 1311275"/>
                <a:gd name="connsiteX134" fmla="*/ 1458584 w 1517650"/>
                <a:gd name="connsiteY134" fmla="*/ 498475 h 1311275"/>
                <a:gd name="connsiteX135" fmla="*/ 1446486 w 1517650"/>
                <a:gd name="connsiteY135" fmla="*/ 492793 h 1311275"/>
                <a:gd name="connsiteX136" fmla="*/ 1351838 w 1517650"/>
                <a:gd name="connsiteY136" fmla="*/ 448761 h 1311275"/>
                <a:gd name="connsiteX137" fmla="*/ 1272135 w 1517650"/>
                <a:gd name="connsiteY137" fmla="*/ 477169 h 1311275"/>
                <a:gd name="connsiteX138" fmla="*/ 1272135 w 1517650"/>
                <a:gd name="connsiteY138" fmla="*/ 476459 h 1311275"/>
                <a:gd name="connsiteX139" fmla="*/ 1249362 w 1517650"/>
                <a:gd name="connsiteY139" fmla="*/ 455863 h 1311275"/>
                <a:gd name="connsiteX140" fmla="*/ 1351838 w 1517650"/>
                <a:gd name="connsiteY140" fmla="*/ 417512 h 1311275"/>
                <a:gd name="connsiteX141" fmla="*/ 759619 w 1517650"/>
                <a:gd name="connsiteY141" fmla="*/ 417512 h 1311275"/>
                <a:gd name="connsiteX142" fmla="*/ 878541 w 1517650"/>
                <a:gd name="connsiteY142" fmla="*/ 473604 h 1311275"/>
                <a:gd name="connsiteX143" fmla="*/ 877117 w 1517650"/>
                <a:gd name="connsiteY143" fmla="*/ 495897 h 1311275"/>
                <a:gd name="connsiteX144" fmla="*/ 867147 w 1517650"/>
                <a:gd name="connsiteY144" fmla="*/ 499492 h 1311275"/>
                <a:gd name="connsiteX145" fmla="*/ 855041 w 1517650"/>
                <a:gd name="connsiteY145" fmla="*/ 493739 h 1311275"/>
                <a:gd name="connsiteX146" fmla="*/ 759619 w 1517650"/>
                <a:gd name="connsiteY146" fmla="*/ 449154 h 1311275"/>
                <a:gd name="connsiteX147" fmla="*/ 664196 w 1517650"/>
                <a:gd name="connsiteY147" fmla="*/ 493739 h 1311275"/>
                <a:gd name="connsiteX148" fmla="*/ 642121 w 1517650"/>
                <a:gd name="connsiteY148" fmla="*/ 495897 h 1311275"/>
                <a:gd name="connsiteX149" fmla="*/ 640697 w 1517650"/>
                <a:gd name="connsiteY149" fmla="*/ 473604 h 1311275"/>
                <a:gd name="connsiteX150" fmla="*/ 759619 w 1517650"/>
                <a:gd name="connsiteY150" fmla="*/ 417512 h 1311275"/>
                <a:gd name="connsiteX151" fmla="*/ 165812 w 1517650"/>
                <a:gd name="connsiteY151" fmla="*/ 417512 h 1311275"/>
                <a:gd name="connsiteX152" fmla="*/ 268288 w 1517650"/>
                <a:gd name="connsiteY152" fmla="*/ 456345 h 1311275"/>
                <a:gd name="connsiteX153" fmla="*/ 244804 w 1517650"/>
                <a:gd name="connsiteY153" fmla="*/ 477200 h 1311275"/>
                <a:gd name="connsiteX154" fmla="*/ 165812 w 1517650"/>
                <a:gd name="connsiteY154" fmla="*/ 449154 h 1311275"/>
                <a:gd name="connsiteX155" fmla="*/ 71164 w 1517650"/>
                <a:gd name="connsiteY155" fmla="*/ 493739 h 1311275"/>
                <a:gd name="connsiteX156" fmla="*/ 49103 w 1517650"/>
                <a:gd name="connsiteY156" fmla="*/ 495897 h 1311275"/>
                <a:gd name="connsiteX157" fmla="*/ 46968 w 1517650"/>
                <a:gd name="connsiteY157" fmla="*/ 473604 h 1311275"/>
                <a:gd name="connsiteX158" fmla="*/ 165812 w 1517650"/>
                <a:gd name="connsiteY158" fmla="*/ 417512 h 1311275"/>
                <a:gd name="connsiteX159" fmla="*/ 1260912 w 1517650"/>
                <a:gd name="connsiteY159" fmla="*/ 277812 h 1311275"/>
                <a:gd name="connsiteX160" fmla="*/ 1380889 w 1517650"/>
                <a:gd name="connsiteY160" fmla="*/ 333904 h 1311275"/>
                <a:gd name="connsiteX161" fmla="*/ 1378747 w 1517650"/>
                <a:gd name="connsiteY161" fmla="*/ 356197 h 1311275"/>
                <a:gd name="connsiteX162" fmla="*/ 1368749 w 1517650"/>
                <a:gd name="connsiteY162" fmla="*/ 359792 h 1311275"/>
                <a:gd name="connsiteX163" fmla="*/ 1356608 w 1517650"/>
                <a:gd name="connsiteY163" fmla="*/ 354759 h 1311275"/>
                <a:gd name="connsiteX164" fmla="*/ 1260912 w 1517650"/>
                <a:gd name="connsiteY164" fmla="*/ 309454 h 1311275"/>
                <a:gd name="connsiteX165" fmla="*/ 1165930 w 1517650"/>
                <a:gd name="connsiteY165" fmla="*/ 354759 h 1311275"/>
                <a:gd name="connsiteX166" fmla="*/ 1143791 w 1517650"/>
                <a:gd name="connsiteY166" fmla="*/ 356197 h 1311275"/>
                <a:gd name="connsiteX167" fmla="*/ 1142363 w 1517650"/>
                <a:gd name="connsiteY167" fmla="*/ 333904 h 1311275"/>
                <a:gd name="connsiteX168" fmla="*/ 1260912 w 1517650"/>
                <a:gd name="connsiteY168" fmla="*/ 277812 h 1311275"/>
                <a:gd name="connsiteX169" fmla="*/ 926306 w 1517650"/>
                <a:gd name="connsiteY169" fmla="*/ 277812 h 1311275"/>
                <a:gd name="connsiteX170" fmla="*/ 1045940 w 1517650"/>
                <a:gd name="connsiteY170" fmla="*/ 333904 h 1311275"/>
                <a:gd name="connsiteX171" fmla="*/ 1043804 w 1517650"/>
                <a:gd name="connsiteY171" fmla="*/ 356197 h 1311275"/>
                <a:gd name="connsiteX172" fmla="*/ 1033834 w 1517650"/>
                <a:gd name="connsiteY172" fmla="*/ 359792 h 1311275"/>
                <a:gd name="connsiteX173" fmla="*/ 1021728 w 1517650"/>
                <a:gd name="connsiteY173" fmla="*/ 354759 h 1311275"/>
                <a:gd name="connsiteX174" fmla="*/ 926306 w 1517650"/>
                <a:gd name="connsiteY174" fmla="*/ 309454 h 1311275"/>
                <a:gd name="connsiteX175" fmla="*/ 830883 w 1517650"/>
                <a:gd name="connsiteY175" fmla="*/ 354759 h 1311275"/>
                <a:gd name="connsiteX176" fmla="*/ 808808 w 1517650"/>
                <a:gd name="connsiteY176" fmla="*/ 356197 h 1311275"/>
                <a:gd name="connsiteX177" fmla="*/ 807384 w 1517650"/>
                <a:gd name="connsiteY177" fmla="*/ 333904 h 1311275"/>
                <a:gd name="connsiteX178" fmla="*/ 926306 w 1517650"/>
                <a:gd name="connsiteY178" fmla="*/ 277812 h 1311275"/>
                <a:gd name="connsiteX179" fmla="*/ 592137 w 1517650"/>
                <a:gd name="connsiteY179" fmla="*/ 277812 h 1311275"/>
                <a:gd name="connsiteX180" fmla="*/ 711817 w 1517650"/>
                <a:gd name="connsiteY180" fmla="*/ 333904 h 1311275"/>
                <a:gd name="connsiteX181" fmla="*/ 710383 w 1517650"/>
                <a:gd name="connsiteY181" fmla="*/ 356197 h 1311275"/>
                <a:gd name="connsiteX182" fmla="*/ 700350 w 1517650"/>
                <a:gd name="connsiteY182" fmla="*/ 359792 h 1311275"/>
                <a:gd name="connsiteX183" fmla="*/ 688167 w 1517650"/>
                <a:gd name="connsiteY183" fmla="*/ 354759 h 1311275"/>
                <a:gd name="connsiteX184" fmla="*/ 592137 w 1517650"/>
                <a:gd name="connsiteY184" fmla="*/ 309454 h 1311275"/>
                <a:gd name="connsiteX185" fmla="*/ 496107 w 1517650"/>
                <a:gd name="connsiteY185" fmla="*/ 354759 h 1311275"/>
                <a:gd name="connsiteX186" fmla="*/ 473891 w 1517650"/>
                <a:gd name="connsiteY186" fmla="*/ 356197 h 1311275"/>
                <a:gd name="connsiteX187" fmla="*/ 471741 w 1517650"/>
                <a:gd name="connsiteY187" fmla="*/ 333904 h 1311275"/>
                <a:gd name="connsiteX188" fmla="*/ 592137 w 1517650"/>
                <a:gd name="connsiteY188" fmla="*/ 277812 h 1311275"/>
                <a:gd name="connsiteX189" fmla="*/ 257174 w 1517650"/>
                <a:gd name="connsiteY189" fmla="*/ 277812 h 1311275"/>
                <a:gd name="connsiteX190" fmla="*/ 376854 w 1517650"/>
                <a:gd name="connsiteY190" fmla="*/ 333904 h 1311275"/>
                <a:gd name="connsiteX191" fmla="*/ 375420 w 1517650"/>
                <a:gd name="connsiteY191" fmla="*/ 356197 h 1311275"/>
                <a:gd name="connsiteX192" fmla="*/ 365387 w 1517650"/>
                <a:gd name="connsiteY192" fmla="*/ 359792 h 1311275"/>
                <a:gd name="connsiteX193" fmla="*/ 353204 w 1517650"/>
                <a:gd name="connsiteY193" fmla="*/ 354759 h 1311275"/>
                <a:gd name="connsiteX194" fmla="*/ 257174 w 1517650"/>
                <a:gd name="connsiteY194" fmla="*/ 309454 h 1311275"/>
                <a:gd name="connsiteX195" fmla="*/ 161144 w 1517650"/>
                <a:gd name="connsiteY195" fmla="*/ 354759 h 1311275"/>
                <a:gd name="connsiteX196" fmla="*/ 138928 w 1517650"/>
                <a:gd name="connsiteY196" fmla="*/ 356197 h 1311275"/>
                <a:gd name="connsiteX197" fmla="*/ 136778 w 1517650"/>
                <a:gd name="connsiteY197" fmla="*/ 333904 h 1311275"/>
                <a:gd name="connsiteX198" fmla="*/ 257174 w 1517650"/>
                <a:gd name="connsiteY198" fmla="*/ 277812 h 1311275"/>
                <a:gd name="connsiteX199" fmla="*/ 1093351 w 1517650"/>
                <a:gd name="connsiteY199" fmla="*/ 139700 h 1311275"/>
                <a:gd name="connsiteX200" fmla="*/ 1212614 w 1517650"/>
                <a:gd name="connsiteY200" fmla="*/ 196030 h 1311275"/>
                <a:gd name="connsiteX201" fmla="*/ 1210471 w 1517650"/>
                <a:gd name="connsiteY201" fmla="*/ 218134 h 1311275"/>
                <a:gd name="connsiteX202" fmla="*/ 1200473 w 1517650"/>
                <a:gd name="connsiteY202" fmla="*/ 221699 h 1311275"/>
                <a:gd name="connsiteX203" fmla="*/ 1188333 w 1517650"/>
                <a:gd name="connsiteY203" fmla="*/ 215994 h 1311275"/>
                <a:gd name="connsiteX204" fmla="*/ 1093351 w 1517650"/>
                <a:gd name="connsiteY204" fmla="*/ 171786 h 1311275"/>
                <a:gd name="connsiteX205" fmla="*/ 997655 w 1517650"/>
                <a:gd name="connsiteY205" fmla="*/ 215994 h 1311275"/>
                <a:gd name="connsiteX206" fmla="*/ 975516 w 1517650"/>
                <a:gd name="connsiteY206" fmla="*/ 218134 h 1311275"/>
                <a:gd name="connsiteX207" fmla="*/ 974088 w 1517650"/>
                <a:gd name="connsiteY207" fmla="*/ 196030 h 1311275"/>
                <a:gd name="connsiteX208" fmla="*/ 1093351 w 1517650"/>
                <a:gd name="connsiteY208" fmla="*/ 139700 h 1311275"/>
                <a:gd name="connsiteX209" fmla="*/ 759619 w 1517650"/>
                <a:gd name="connsiteY209" fmla="*/ 139700 h 1311275"/>
                <a:gd name="connsiteX210" fmla="*/ 878541 w 1517650"/>
                <a:gd name="connsiteY210" fmla="*/ 196030 h 1311275"/>
                <a:gd name="connsiteX211" fmla="*/ 877117 w 1517650"/>
                <a:gd name="connsiteY211" fmla="*/ 218134 h 1311275"/>
                <a:gd name="connsiteX212" fmla="*/ 867147 w 1517650"/>
                <a:gd name="connsiteY212" fmla="*/ 221699 h 1311275"/>
                <a:gd name="connsiteX213" fmla="*/ 855041 w 1517650"/>
                <a:gd name="connsiteY213" fmla="*/ 215994 h 1311275"/>
                <a:gd name="connsiteX214" fmla="*/ 759619 w 1517650"/>
                <a:gd name="connsiteY214" fmla="*/ 171786 h 1311275"/>
                <a:gd name="connsiteX215" fmla="*/ 664196 w 1517650"/>
                <a:gd name="connsiteY215" fmla="*/ 215994 h 1311275"/>
                <a:gd name="connsiteX216" fmla="*/ 642121 w 1517650"/>
                <a:gd name="connsiteY216" fmla="*/ 218134 h 1311275"/>
                <a:gd name="connsiteX217" fmla="*/ 640697 w 1517650"/>
                <a:gd name="connsiteY217" fmla="*/ 196030 h 1311275"/>
                <a:gd name="connsiteX218" fmla="*/ 759619 w 1517650"/>
                <a:gd name="connsiteY218" fmla="*/ 139700 h 1311275"/>
                <a:gd name="connsiteX219" fmla="*/ 424656 w 1517650"/>
                <a:gd name="connsiteY219" fmla="*/ 139700 h 1311275"/>
                <a:gd name="connsiteX220" fmla="*/ 543578 w 1517650"/>
                <a:gd name="connsiteY220" fmla="*/ 196030 h 1311275"/>
                <a:gd name="connsiteX221" fmla="*/ 542154 w 1517650"/>
                <a:gd name="connsiteY221" fmla="*/ 218134 h 1311275"/>
                <a:gd name="connsiteX222" fmla="*/ 532184 w 1517650"/>
                <a:gd name="connsiteY222" fmla="*/ 221699 h 1311275"/>
                <a:gd name="connsiteX223" fmla="*/ 520078 w 1517650"/>
                <a:gd name="connsiteY223" fmla="*/ 215994 h 1311275"/>
                <a:gd name="connsiteX224" fmla="*/ 424656 w 1517650"/>
                <a:gd name="connsiteY224" fmla="*/ 171786 h 1311275"/>
                <a:gd name="connsiteX225" fmla="*/ 329233 w 1517650"/>
                <a:gd name="connsiteY225" fmla="*/ 215994 h 1311275"/>
                <a:gd name="connsiteX226" fmla="*/ 307158 w 1517650"/>
                <a:gd name="connsiteY226" fmla="*/ 218134 h 1311275"/>
                <a:gd name="connsiteX227" fmla="*/ 305022 w 1517650"/>
                <a:gd name="connsiteY227" fmla="*/ 196030 h 1311275"/>
                <a:gd name="connsiteX228" fmla="*/ 424656 w 1517650"/>
                <a:gd name="connsiteY228" fmla="*/ 139700 h 1311275"/>
                <a:gd name="connsiteX229" fmla="*/ 926306 w 1517650"/>
                <a:gd name="connsiteY229" fmla="*/ 0 h 1311275"/>
                <a:gd name="connsiteX230" fmla="*/ 1045940 w 1517650"/>
                <a:gd name="connsiteY230" fmla="*/ 56092 h 1311275"/>
                <a:gd name="connsiteX231" fmla="*/ 1043804 w 1517650"/>
                <a:gd name="connsiteY231" fmla="*/ 78385 h 1311275"/>
                <a:gd name="connsiteX232" fmla="*/ 1033834 w 1517650"/>
                <a:gd name="connsiteY232" fmla="*/ 81980 h 1311275"/>
                <a:gd name="connsiteX233" fmla="*/ 1021728 w 1517650"/>
                <a:gd name="connsiteY233" fmla="*/ 76947 h 1311275"/>
                <a:gd name="connsiteX234" fmla="*/ 926306 w 1517650"/>
                <a:gd name="connsiteY234" fmla="*/ 31642 h 1311275"/>
                <a:gd name="connsiteX235" fmla="*/ 830883 w 1517650"/>
                <a:gd name="connsiteY235" fmla="*/ 76947 h 1311275"/>
                <a:gd name="connsiteX236" fmla="*/ 808808 w 1517650"/>
                <a:gd name="connsiteY236" fmla="*/ 78385 h 1311275"/>
                <a:gd name="connsiteX237" fmla="*/ 807384 w 1517650"/>
                <a:gd name="connsiteY237" fmla="*/ 56092 h 1311275"/>
                <a:gd name="connsiteX238" fmla="*/ 926306 w 1517650"/>
                <a:gd name="connsiteY238" fmla="*/ 0 h 1311275"/>
                <a:gd name="connsiteX239" fmla="*/ 592137 w 1517650"/>
                <a:gd name="connsiteY239" fmla="*/ 0 h 1311275"/>
                <a:gd name="connsiteX240" fmla="*/ 711817 w 1517650"/>
                <a:gd name="connsiteY240" fmla="*/ 56092 h 1311275"/>
                <a:gd name="connsiteX241" fmla="*/ 710383 w 1517650"/>
                <a:gd name="connsiteY241" fmla="*/ 78385 h 1311275"/>
                <a:gd name="connsiteX242" fmla="*/ 700350 w 1517650"/>
                <a:gd name="connsiteY242" fmla="*/ 81980 h 1311275"/>
                <a:gd name="connsiteX243" fmla="*/ 688167 w 1517650"/>
                <a:gd name="connsiteY243" fmla="*/ 76947 h 1311275"/>
                <a:gd name="connsiteX244" fmla="*/ 592137 w 1517650"/>
                <a:gd name="connsiteY244" fmla="*/ 31642 h 1311275"/>
                <a:gd name="connsiteX245" fmla="*/ 496107 w 1517650"/>
                <a:gd name="connsiteY245" fmla="*/ 76947 h 1311275"/>
                <a:gd name="connsiteX246" fmla="*/ 473891 w 1517650"/>
                <a:gd name="connsiteY246" fmla="*/ 78385 h 1311275"/>
                <a:gd name="connsiteX247" fmla="*/ 471741 w 1517650"/>
                <a:gd name="connsiteY247" fmla="*/ 56092 h 1311275"/>
                <a:gd name="connsiteX248" fmla="*/ 592137 w 1517650"/>
                <a:gd name="connsiteY248" fmla="*/ 0 h 131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517650" h="1311275">
                  <a:moveTo>
                    <a:pt x="955047" y="1035050"/>
                  </a:moveTo>
                  <a:cubicBezTo>
                    <a:pt x="955047" y="1035050"/>
                    <a:pt x="1045951" y="1110709"/>
                    <a:pt x="1088898" y="1144255"/>
                  </a:cubicBezTo>
                  <a:cubicBezTo>
                    <a:pt x="1091045" y="1145683"/>
                    <a:pt x="1093193" y="1145683"/>
                    <a:pt x="1095340" y="1144255"/>
                  </a:cubicBezTo>
                  <a:cubicBezTo>
                    <a:pt x="1153318" y="1097861"/>
                    <a:pt x="1228475" y="1035050"/>
                    <a:pt x="1228475" y="1035050"/>
                  </a:cubicBezTo>
                  <a:cubicBezTo>
                    <a:pt x="1228475" y="1035050"/>
                    <a:pt x="1346579" y="1036478"/>
                    <a:pt x="1410283" y="1065742"/>
                  </a:cubicBezTo>
                  <a:cubicBezTo>
                    <a:pt x="1431757" y="1075734"/>
                    <a:pt x="1450367" y="1095720"/>
                    <a:pt x="1466114" y="1119274"/>
                  </a:cubicBezTo>
                  <a:cubicBezTo>
                    <a:pt x="1500472" y="1170664"/>
                    <a:pt x="1517650" y="1231334"/>
                    <a:pt x="1517650" y="1293431"/>
                  </a:cubicBezTo>
                  <a:cubicBezTo>
                    <a:pt x="1517650" y="1293431"/>
                    <a:pt x="1517650" y="1293431"/>
                    <a:pt x="1517650" y="1295572"/>
                  </a:cubicBezTo>
                  <a:cubicBezTo>
                    <a:pt x="1517650" y="1304138"/>
                    <a:pt x="1510492" y="1311275"/>
                    <a:pt x="1501903" y="1311275"/>
                  </a:cubicBezTo>
                  <a:cubicBezTo>
                    <a:pt x="1501903" y="1311275"/>
                    <a:pt x="1501903" y="1311275"/>
                    <a:pt x="879175" y="1311275"/>
                  </a:cubicBezTo>
                  <a:cubicBezTo>
                    <a:pt x="881322" y="1306279"/>
                    <a:pt x="882038" y="1300569"/>
                    <a:pt x="882038" y="1295572"/>
                  </a:cubicBezTo>
                  <a:cubicBezTo>
                    <a:pt x="882038" y="1295572"/>
                    <a:pt x="882038" y="1295572"/>
                    <a:pt x="882038" y="1293431"/>
                  </a:cubicBezTo>
                  <a:cubicBezTo>
                    <a:pt x="882038" y="1224196"/>
                    <a:pt x="862712" y="1157817"/>
                    <a:pt x="824776" y="1102144"/>
                  </a:cubicBezTo>
                  <a:cubicBezTo>
                    <a:pt x="813323" y="1085013"/>
                    <a:pt x="801871" y="1070738"/>
                    <a:pt x="788987" y="1059318"/>
                  </a:cubicBezTo>
                  <a:cubicBezTo>
                    <a:pt x="854838" y="1036478"/>
                    <a:pt x="955047" y="1035050"/>
                    <a:pt x="955047" y="1035050"/>
                  </a:cubicBezTo>
                  <a:close/>
                  <a:moveTo>
                    <a:pt x="288162" y="1035050"/>
                  </a:moveTo>
                  <a:cubicBezTo>
                    <a:pt x="288162" y="1035050"/>
                    <a:pt x="314305" y="1071987"/>
                    <a:pt x="366593" y="1090456"/>
                  </a:cubicBezTo>
                  <a:lnTo>
                    <a:pt x="425092" y="1100295"/>
                  </a:lnTo>
                  <a:lnTo>
                    <a:pt x="422590" y="1100716"/>
                  </a:lnTo>
                  <a:cubicBezTo>
                    <a:pt x="427595" y="1100716"/>
                    <a:pt x="427595" y="1100716"/>
                    <a:pt x="427595" y="1100716"/>
                  </a:cubicBezTo>
                  <a:lnTo>
                    <a:pt x="425092" y="1100295"/>
                  </a:lnTo>
                  <a:lnTo>
                    <a:pt x="483592" y="1090456"/>
                  </a:lnTo>
                  <a:cubicBezTo>
                    <a:pt x="535879" y="1071987"/>
                    <a:pt x="562023" y="1035050"/>
                    <a:pt x="562023" y="1035050"/>
                  </a:cubicBezTo>
                  <a:cubicBezTo>
                    <a:pt x="562023" y="1035050"/>
                    <a:pt x="680005" y="1036478"/>
                    <a:pt x="744359" y="1065742"/>
                  </a:cubicBezTo>
                  <a:cubicBezTo>
                    <a:pt x="765095" y="1075734"/>
                    <a:pt x="783686" y="1095720"/>
                    <a:pt x="799417" y="1119274"/>
                  </a:cubicBezTo>
                  <a:cubicBezTo>
                    <a:pt x="833739" y="1170664"/>
                    <a:pt x="850900" y="1231334"/>
                    <a:pt x="850900" y="1293431"/>
                  </a:cubicBezTo>
                  <a:cubicBezTo>
                    <a:pt x="850900" y="1293431"/>
                    <a:pt x="850900" y="1293431"/>
                    <a:pt x="850900" y="1295572"/>
                  </a:cubicBezTo>
                  <a:cubicBezTo>
                    <a:pt x="850900" y="1304138"/>
                    <a:pt x="843749" y="1311275"/>
                    <a:pt x="835169" y="1311275"/>
                  </a:cubicBezTo>
                  <a:cubicBezTo>
                    <a:pt x="835169" y="1311275"/>
                    <a:pt x="835169" y="1311275"/>
                    <a:pt x="15731" y="1311275"/>
                  </a:cubicBezTo>
                  <a:cubicBezTo>
                    <a:pt x="7150" y="1311275"/>
                    <a:pt x="0" y="1304138"/>
                    <a:pt x="0" y="1295572"/>
                  </a:cubicBezTo>
                  <a:cubicBezTo>
                    <a:pt x="0" y="1295572"/>
                    <a:pt x="0" y="1295572"/>
                    <a:pt x="0" y="1293431"/>
                  </a:cubicBezTo>
                  <a:cubicBezTo>
                    <a:pt x="0" y="1231334"/>
                    <a:pt x="17161" y="1170664"/>
                    <a:pt x="50768" y="1119274"/>
                  </a:cubicBezTo>
                  <a:cubicBezTo>
                    <a:pt x="66499" y="1095720"/>
                    <a:pt x="85090" y="1075734"/>
                    <a:pt x="106541" y="1065742"/>
                  </a:cubicBezTo>
                  <a:cubicBezTo>
                    <a:pt x="170180" y="1036478"/>
                    <a:pt x="288162" y="1035050"/>
                    <a:pt x="288162" y="1035050"/>
                  </a:cubicBezTo>
                  <a:close/>
                  <a:moveTo>
                    <a:pt x="1302460" y="871537"/>
                  </a:moveTo>
                  <a:cubicBezTo>
                    <a:pt x="1305339" y="913273"/>
                    <a:pt x="1312537" y="968449"/>
                    <a:pt x="1355725" y="972693"/>
                  </a:cubicBezTo>
                  <a:cubicBezTo>
                    <a:pt x="1337010" y="991792"/>
                    <a:pt x="1318296" y="1002403"/>
                    <a:pt x="1301020" y="1008062"/>
                  </a:cubicBezTo>
                  <a:cubicBezTo>
                    <a:pt x="1275827" y="1005233"/>
                    <a:pt x="1252794" y="1003818"/>
                    <a:pt x="1239837" y="1003110"/>
                  </a:cubicBezTo>
                  <a:cubicBezTo>
                    <a:pt x="1239837" y="1003110"/>
                    <a:pt x="1239837" y="1003110"/>
                    <a:pt x="1239837" y="990378"/>
                  </a:cubicBezTo>
                  <a:cubicBezTo>
                    <a:pt x="1255673" y="971986"/>
                    <a:pt x="1276547" y="932372"/>
                    <a:pt x="1302460" y="871537"/>
                  </a:cubicBezTo>
                  <a:close/>
                  <a:moveTo>
                    <a:pt x="880352" y="869950"/>
                  </a:moveTo>
                  <a:cubicBezTo>
                    <a:pt x="906265" y="931887"/>
                    <a:pt x="927139" y="971755"/>
                    <a:pt x="942975" y="989553"/>
                  </a:cubicBezTo>
                  <a:cubicBezTo>
                    <a:pt x="942975" y="989553"/>
                    <a:pt x="942975" y="989553"/>
                    <a:pt x="942975" y="1003080"/>
                  </a:cubicBezTo>
                  <a:cubicBezTo>
                    <a:pt x="930018" y="1003792"/>
                    <a:pt x="907704" y="1005215"/>
                    <a:pt x="882511" y="1008063"/>
                  </a:cubicBezTo>
                  <a:cubicBezTo>
                    <a:pt x="865236" y="1002368"/>
                    <a:pt x="846521" y="991689"/>
                    <a:pt x="827087" y="972467"/>
                  </a:cubicBezTo>
                  <a:cubicBezTo>
                    <a:pt x="870995" y="968195"/>
                    <a:pt x="878193" y="911954"/>
                    <a:pt x="880352" y="869950"/>
                  </a:cubicBezTo>
                  <a:close/>
                  <a:moveTo>
                    <a:pt x="863600" y="768350"/>
                  </a:moveTo>
                  <a:cubicBezTo>
                    <a:pt x="863600" y="768350"/>
                    <a:pt x="863600" y="768350"/>
                    <a:pt x="901462" y="786177"/>
                  </a:cubicBezTo>
                  <a:cubicBezTo>
                    <a:pt x="905034" y="791882"/>
                    <a:pt x="910034" y="797587"/>
                    <a:pt x="917178" y="801153"/>
                  </a:cubicBezTo>
                  <a:cubicBezTo>
                    <a:pt x="920035" y="802579"/>
                    <a:pt x="922893" y="806144"/>
                    <a:pt x="924322" y="809710"/>
                  </a:cubicBezTo>
                  <a:cubicBezTo>
                    <a:pt x="947896" y="868897"/>
                    <a:pt x="979329" y="938781"/>
                    <a:pt x="990044" y="948765"/>
                  </a:cubicBezTo>
                  <a:cubicBezTo>
                    <a:pt x="1010047" y="965879"/>
                    <a:pt x="1064339" y="1000108"/>
                    <a:pt x="1092200" y="1000108"/>
                  </a:cubicBezTo>
                  <a:cubicBezTo>
                    <a:pt x="1120775" y="1000108"/>
                    <a:pt x="1175067" y="965879"/>
                    <a:pt x="1193641" y="948765"/>
                  </a:cubicBezTo>
                  <a:cubicBezTo>
                    <a:pt x="1205071" y="938781"/>
                    <a:pt x="1236504" y="868897"/>
                    <a:pt x="1260078" y="809710"/>
                  </a:cubicBezTo>
                  <a:cubicBezTo>
                    <a:pt x="1261507" y="806144"/>
                    <a:pt x="1263650" y="802579"/>
                    <a:pt x="1267222" y="801153"/>
                  </a:cubicBezTo>
                  <a:cubicBezTo>
                    <a:pt x="1274366" y="797587"/>
                    <a:pt x="1279366" y="791882"/>
                    <a:pt x="1282938" y="786177"/>
                  </a:cubicBezTo>
                  <a:cubicBezTo>
                    <a:pt x="1282938" y="786177"/>
                    <a:pt x="1282938" y="786177"/>
                    <a:pt x="1320800" y="768350"/>
                  </a:cubicBezTo>
                  <a:cubicBezTo>
                    <a:pt x="1320800" y="769776"/>
                    <a:pt x="1320800" y="770489"/>
                    <a:pt x="1320800" y="771915"/>
                  </a:cubicBezTo>
                  <a:cubicBezTo>
                    <a:pt x="1318657" y="783325"/>
                    <a:pt x="1312228" y="810423"/>
                    <a:pt x="1287225" y="826111"/>
                  </a:cubicBezTo>
                  <a:cubicBezTo>
                    <a:pt x="1272937" y="861766"/>
                    <a:pt x="1235075" y="953757"/>
                    <a:pt x="1215072" y="972297"/>
                  </a:cubicBezTo>
                  <a:cubicBezTo>
                    <a:pt x="1213644" y="973010"/>
                    <a:pt x="1211500" y="974436"/>
                    <a:pt x="1209357" y="976576"/>
                  </a:cubicBezTo>
                  <a:cubicBezTo>
                    <a:pt x="1209357" y="976576"/>
                    <a:pt x="1209357" y="976576"/>
                    <a:pt x="1209357" y="1009378"/>
                  </a:cubicBezTo>
                  <a:cubicBezTo>
                    <a:pt x="1209357" y="1009378"/>
                    <a:pt x="1209357" y="1009378"/>
                    <a:pt x="1208643" y="1010092"/>
                  </a:cubicBezTo>
                  <a:cubicBezTo>
                    <a:pt x="1208643" y="1010092"/>
                    <a:pt x="1196499" y="1020788"/>
                    <a:pt x="1177925" y="1035050"/>
                  </a:cubicBezTo>
                  <a:cubicBezTo>
                    <a:pt x="1177925" y="1035050"/>
                    <a:pt x="1177925" y="1035050"/>
                    <a:pt x="1177925" y="998682"/>
                  </a:cubicBezTo>
                  <a:cubicBezTo>
                    <a:pt x="1152922" y="1015083"/>
                    <a:pt x="1118632" y="1031485"/>
                    <a:pt x="1092200" y="1031485"/>
                  </a:cubicBezTo>
                  <a:cubicBezTo>
                    <a:pt x="1066482" y="1031485"/>
                    <a:pt x="1032192" y="1015083"/>
                    <a:pt x="1005760" y="998682"/>
                  </a:cubicBezTo>
                  <a:cubicBezTo>
                    <a:pt x="1005760" y="998682"/>
                    <a:pt x="1005760" y="998682"/>
                    <a:pt x="1005760" y="1035050"/>
                  </a:cubicBezTo>
                  <a:cubicBezTo>
                    <a:pt x="988615" y="1020788"/>
                    <a:pt x="975757" y="1010805"/>
                    <a:pt x="975757" y="1010092"/>
                  </a:cubicBezTo>
                  <a:cubicBezTo>
                    <a:pt x="975757" y="1010092"/>
                    <a:pt x="975757" y="1010092"/>
                    <a:pt x="974328" y="1009378"/>
                  </a:cubicBezTo>
                  <a:cubicBezTo>
                    <a:pt x="974328" y="1009378"/>
                    <a:pt x="974328" y="1009378"/>
                    <a:pt x="974328" y="975863"/>
                  </a:cubicBezTo>
                  <a:cubicBezTo>
                    <a:pt x="972899" y="974436"/>
                    <a:pt x="970756" y="973010"/>
                    <a:pt x="969327" y="972297"/>
                  </a:cubicBezTo>
                  <a:cubicBezTo>
                    <a:pt x="949325" y="953757"/>
                    <a:pt x="911463" y="861766"/>
                    <a:pt x="897175" y="826111"/>
                  </a:cubicBezTo>
                  <a:cubicBezTo>
                    <a:pt x="873601" y="811136"/>
                    <a:pt x="866457" y="786891"/>
                    <a:pt x="863600" y="773342"/>
                  </a:cubicBezTo>
                  <a:cubicBezTo>
                    <a:pt x="863600" y="771202"/>
                    <a:pt x="863600" y="769776"/>
                    <a:pt x="863600" y="768350"/>
                  </a:cubicBezTo>
                  <a:close/>
                  <a:moveTo>
                    <a:pt x="196850" y="768350"/>
                  </a:moveTo>
                  <a:cubicBezTo>
                    <a:pt x="196850" y="768350"/>
                    <a:pt x="196850" y="768350"/>
                    <a:pt x="234653" y="786267"/>
                  </a:cubicBezTo>
                  <a:cubicBezTo>
                    <a:pt x="238219" y="792000"/>
                    <a:pt x="242498" y="797733"/>
                    <a:pt x="250344" y="801317"/>
                  </a:cubicBezTo>
                  <a:cubicBezTo>
                    <a:pt x="253197" y="802750"/>
                    <a:pt x="256050" y="806333"/>
                    <a:pt x="257477" y="809917"/>
                  </a:cubicBezTo>
                  <a:cubicBezTo>
                    <a:pt x="281014" y="869400"/>
                    <a:pt x="312398" y="939633"/>
                    <a:pt x="323097" y="949667"/>
                  </a:cubicBezTo>
                  <a:cubicBezTo>
                    <a:pt x="343068" y="966867"/>
                    <a:pt x="397276" y="1001267"/>
                    <a:pt x="425093" y="1001267"/>
                  </a:cubicBezTo>
                  <a:cubicBezTo>
                    <a:pt x="453624" y="1001267"/>
                    <a:pt x="507831" y="966867"/>
                    <a:pt x="527089" y="949667"/>
                  </a:cubicBezTo>
                  <a:cubicBezTo>
                    <a:pt x="538502" y="939633"/>
                    <a:pt x="569885" y="869400"/>
                    <a:pt x="593423" y="809917"/>
                  </a:cubicBezTo>
                  <a:cubicBezTo>
                    <a:pt x="594849" y="806333"/>
                    <a:pt x="596989" y="802750"/>
                    <a:pt x="600555" y="801317"/>
                  </a:cubicBezTo>
                  <a:cubicBezTo>
                    <a:pt x="607688" y="797733"/>
                    <a:pt x="612681" y="792000"/>
                    <a:pt x="616247" y="786267"/>
                  </a:cubicBezTo>
                  <a:cubicBezTo>
                    <a:pt x="616247" y="786267"/>
                    <a:pt x="616247" y="786267"/>
                    <a:pt x="654050" y="768350"/>
                  </a:cubicBezTo>
                  <a:cubicBezTo>
                    <a:pt x="654050" y="769783"/>
                    <a:pt x="654050" y="770500"/>
                    <a:pt x="654050" y="771933"/>
                  </a:cubicBezTo>
                  <a:cubicBezTo>
                    <a:pt x="651910" y="783400"/>
                    <a:pt x="645491" y="810633"/>
                    <a:pt x="620527" y="826400"/>
                  </a:cubicBezTo>
                  <a:cubicBezTo>
                    <a:pt x="606261" y="862233"/>
                    <a:pt x="568459" y="954683"/>
                    <a:pt x="548487" y="973317"/>
                  </a:cubicBezTo>
                  <a:cubicBezTo>
                    <a:pt x="547061" y="974033"/>
                    <a:pt x="544921" y="975467"/>
                    <a:pt x="543494" y="976900"/>
                  </a:cubicBezTo>
                  <a:cubicBezTo>
                    <a:pt x="543494" y="976900"/>
                    <a:pt x="543494" y="976900"/>
                    <a:pt x="543494" y="1008433"/>
                  </a:cubicBezTo>
                  <a:cubicBezTo>
                    <a:pt x="543494" y="1008433"/>
                    <a:pt x="543494" y="1008433"/>
                    <a:pt x="536362" y="1017033"/>
                  </a:cubicBezTo>
                  <a:cubicBezTo>
                    <a:pt x="536362" y="1017750"/>
                    <a:pt x="528516" y="1029217"/>
                    <a:pt x="512111" y="1041400"/>
                  </a:cubicBezTo>
                  <a:cubicBezTo>
                    <a:pt x="512111" y="1041400"/>
                    <a:pt x="512111" y="1041400"/>
                    <a:pt x="512111" y="999833"/>
                  </a:cubicBezTo>
                  <a:cubicBezTo>
                    <a:pt x="485720" y="1016317"/>
                    <a:pt x="451484" y="1032800"/>
                    <a:pt x="425093" y="1032800"/>
                  </a:cubicBezTo>
                  <a:cubicBezTo>
                    <a:pt x="399416" y="1032800"/>
                    <a:pt x="365179" y="1016317"/>
                    <a:pt x="339502" y="999833"/>
                  </a:cubicBezTo>
                  <a:cubicBezTo>
                    <a:pt x="339502" y="999833"/>
                    <a:pt x="339502" y="999833"/>
                    <a:pt x="339502" y="1041400"/>
                  </a:cubicBezTo>
                  <a:cubicBezTo>
                    <a:pt x="323097" y="1029217"/>
                    <a:pt x="315251" y="1018467"/>
                    <a:pt x="314538" y="1017033"/>
                  </a:cubicBezTo>
                  <a:cubicBezTo>
                    <a:pt x="314538" y="1017033"/>
                    <a:pt x="314538" y="1017033"/>
                    <a:pt x="308118" y="1008433"/>
                  </a:cubicBezTo>
                  <a:cubicBezTo>
                    <a:pt x="308118" y="1008433"/>
                    <a:pt x="308118" y="1008433"/>
                    <a:pt x="308118" y="977617"/>
                  </a:cubicBezTo>
                  <a:cubicBezTo>
                    <a:pt x="305979" y="975467"/>
                    <a:pt x="303839" y="974033"/>
                    <a:pt x="302412" y="973317"/>
                  </a:cubicBezTo>
                  <a:cubicBezTo>
                    <a:pt x="282441" y="954683"/>
                    <a:pt x="244638" y="862233"/>
                    <a:pt x="230373" y="826400"/>
                  </a:cubicBezTo>
                  <a:cubicBezTo>
                    <a:pt x="206835" y="811350"/>
                    <a:pt x="199703" y="786983"/>
                    <a:pt x="196850" y="773367"/>
                  </a:cubicBezTo>
                  <a:cubicBezTo>
                    <a:pt x="196850" y="771217"/>
                    <a:pt x="196850" y="769783"/>
                    <a:pt x="196850" y="768350"/>
                  </a:cubicBezTo>
                  <a:close/>
                  <a:moveTo>
                    <a:pt x="1091126" y="431800"/>
                  </a:moveTo>
                  <a:cubicBezTo>
                    <a:pt x="1217104" y="431800"/>
                    <a:pt x="1313734" y="532598"/>
                    <a:pt x="1313734" y="656987"/>
                  </a:cubicBezTo>
                  <a:cubicBezTo>
                    <a:pt x="1313734" y="684152"/>
                    <a:pt x="1314450" y="709888"/>
                    <a:pt x="1305861" y="733479"/>
                  </a:cubicBezTo>
                  <a:cubicBezTo>
                    <a:pt x="1305861" y="732764"/>
                    <a:pt x="1305861" y="732764"/>
                    <a:pt x="1305861" y="732764"/>
                  </a:cubicBezTo>
                  <a:cubicBezTo>
                    <a:pt x="1305145" y="733479"/>
                    <a:pt x="1301566" y="744202"/>
                    <a:pt x="1281524" y="767793"/>
                  </a:cubicBezTo>
                  <a:cubicBezTo>
                    <a:pt x="1280809" y="768508"/>
                    <a:pt x="1280093" y="768508"/>
                    <a:pt x="1279377" y="768508"/>
                  </a:cubicBezTo>
                  <a:cubicBezTo>
                    <a:pt x="1265061" y="768508"/>
                    <a:pt x="1265061" y="768508"/>
                    <a:pt x="1265061" y="768508"/>
                  </a:cubicBezTo>
                  <a:cubicBezTo>
                    <a:pt x="1264346" y="768508"/>
                    <a:pt x="1264346" y="768508"/>
                    <a:pt x="1263630" y="768508"/>
                  </a:cubicBezTo>
                  <a:cubicBezTo>
                    <a:pt x="971591" y="612664"/>
                    <a:pt x="971591" y="612664"/>
                    <a:pt x="971591" y="612664"/>
                  </a:cubicBezTo>
                  <a:cubicBezTo>
                    <a:pt x="970875" y="612664"/>
                    <a:pt x="969443" y="612664"/>
                    <a:pt x="968728" y="612664"/>
                  </a:cubicBezTo>
                  <a:cubicBezTo>
                    <a:pt x="903591" y="634111"/>
                    <a:pt x="904307" y="769938"/>
                    <a:pt x="882118" y="749921"/>
                  </a:cubicBezTo>
                  <a:cubicBezTo>
                    <a:pt x="882118" y="749206"/>
                    <a:pt x="882118" y="749206"/>
                    <a:pt x="882118" y="749206"/>
                  </a:cubicBezTo>
                  <a:cubicBezTo>
                    <a:pt x="872813" y="724900"/>
                    <a:pt x="869950" y="684867"/>
                    <a:pt x="869950" y="656987"/>
                  </a:cubicBezTo>
                  <a:cubicBezTo>
                    <a:pt x="869950" y="532598"/>
                    <a:pt x="966580" y="431800"/>
                    <a:pt x="1091126" y="431800"/>
                  </a:cubicBezTo>
                  <a:close/>
                  <a:moveTo>
                    <a:pt x="425450" y="431800"/>
                  </a:moveTo>
                  <a:cubicBezTo>
                    <a:pt x="550913" y="431800"/>
                    <a:pt x="646983" y="533574"/>
                    <a:pt x="646983" y="659000"/>
                  </a:cubicBezTo>
                  <a:cubicBezTo>
                    <a:pt x="646983" y="686235"/>
                    <a:pt x="647700" y="712037"/>
                    <a:pt x="639097" y="735689"/>
                  </a:cubicBezTo>
                  <a:cubicBezTo>
                    <a:pt x="638380" y="735689"/>
                    <a:pt x="634795" y="747156"/>
                    <a:pt x="614004" y="771525"/>
                  </a:cubicBezTo>
                  <a:cubicBezTo>
                    <a:pt x="614004" y="771525"/>
                    <a:pt x="614004" y="771525"/>
                    <a:pt x="597514" y="771525"/>
                  </a:cubicBezTo>
                  <a:cubicBezTo>
                    <a:pt x="597514" y="771525"/>
                    <a:pt x="597514" y="762924"/>
                    <a:pt x="595363" y="603813"/>
                  </a:cubicBezTo>
                  <a:cubicBezTo>
                    <a:pt x="570271" y="731389"/>
                    <a:pt x="303571" y="613847"/>
                    <a:pt x="303571" y="613847"/>
                  </a:cubicBezTo>
                  <a:cubicBezTo>
                    <a:pt x="236896" y="634631"/>
                    <a:pt x="249084" y="768658"/>
                    <a:pt x="249084" y="768658"/>
                  </a:cubicBezTo>
                  <a:cubicBezTo>
                    <a:pt x="249084" y="768658"/>
                    <a:pt x="249084" y="768658"/>
                    <a:pt x="234028" y="766508"/>
                  </a:cubicBezTo>
                  <a:cubicBezTo>
                    <a:pt x="234028" y="766508"/>
                    <a:pt x="234028" y="758624"/>
                    <a:pt x="211803" y="738556"/>
                  </a:cubicBezTo>
                  <a:cubicBezTo>
                    <a:pt x="211803" y="738556"/>
                    <a:pt x="211803" y="738556"/>
                    <a:pt x="211803" y="737839"/>
                  </a:cubicBezTo>
                  <a:cubicBezTo>
                    <a:pt x="203200" y="713471"/>
                    <a:pt x="203200" y="686952"/>
                    <a:pt x="203200" y="659000"/>
                  </a:cubicBezTo>
                  <a:cubicBezTo>
                    <a:pt x="203200" y="533574"/>
                    <a:pt x="299269" y="431800"/>
                    <a:pt x="425450" y="431800"/>
                  </a:cubicBezTo>
                  <a:close/>
                  <a:moveTo>
                    <a:pt x="1351838" y="417512"/>
                  </a:moveTo>
                  <a:cubicBezTo>
                    <a:pt x="1397383" y="417512"/>
                    <a:pt x="1440793" y="437398"/>
                    <a:pt x="1470682" y="472908"/>
                  </a:cubicBezTo>
                  <a:cubicBezTo>
                    <a:pt x="1476375" y="479299"/>
                    <a:pt x="1475664" y="489242"/>
                    <a:pt x="1468547" y="494924"/>
                  </a:cubicBezTo>
                  <a:cubicBezTo>
                    <a:pt x="1465701" y="497054"/>
                    <a:pt x="1462142" y="498475"/>
                    <a:pt x="1458584" y="498475"/>
                  </a:cubicBezTo>
                  <a:cubicBezTo>
                    <a:pt x="1454314" y="498475"/>
                    <a:pt x="1450045" y="496344"/>
                    <a:pt x="1446486" y="492793"/>
                  </a:cubicBezTo>
                  <a:cubicBezTo>
                    <a:pt x="1423002" y="465095"/>
                    <a:pt x="1388132" y="448761"/>
                    <a:pt x="1351838" y="448761"/>
                  </a:cubicBezTo>
                  <a:cubicBezTo>
                    <a:pt x="1322661" y="448761"/>
                    <a:pt x="1294907" y="458704"/>
                    <a:pt x="1272135" y="477169"/>
                  </a:cubicBezTo>
                  <a:cubicBezTo>
                    <a:pt x="1272135" y="477169"/>
                    <a:pt x="1272135" y="477169"/>
                    <a:pt x="1272135" y="476459"/>
                  </a:cubicBezTo>
                  <a:cubicBezTo>
                    <a:pt x="1265018" y="469357"/>
                    <a:pt x="1257190" y="462255"/>
                    <a:pt x="1249362" y="455863"/>
                  </a:cubicBezTo>
                  <a:cubicBezTo>
                    <a:pt x="1277116" y="431006"/>
                    <a:pt x="1313410" y="417512"/>
                    <a:pt x="1351838" y="417512"/>
                  </a:cubicBezTo>
                  <a:close/>
                  <a:moveTo>
                    <a:pt x="759619" y="417512"/>
                  </a:moveTo>
                  <a:cubicBezTo>
                    <a:pt x="805906" y="417512"/>
                    <a:pt x="849344" y="437647"/>
                    <a:pt x="878541" y="473604"/>
                  </a:cubicBezTo>
                  <a:cubicBezTo>
                    <a:pt x="884238" y="480076"/>
                    <a:pt x="883526" y="490144"/>
                    <a:pt x="877117" y="495897"/>
                  </a:cubicBezTo>
                  <a:cubicBezTo>
                    <a:pt x="874268" y="498054"/>
                    <a:pt x="870708" y="499492"/>
                    <a:pt x="867147" y="499492"/>
                  </a:cubicBezTo>
                  <a:cubicBezTo>
                    <a:pt x="862162" y="499492"/>
                    <a:pt x="857890" y="497335"/>
                    <a:pt x="855041" y="493739"/>
                  </a:cubicBezTo>
                  <a:cubicBezTo>
                    <a:pt x="830830" y="465693"/>
                    <a:pt x="796648" y="449154"/>
                    <a:pt x="759619" y="449154"/>
                  </a:cubicBezTo>
                  <a:cubicBezTo>
                    <a:pt x="722589" y="449154"/>
                    <a:pt x="688408" y="465693"/>
                    <a:pt x="664196" y="493739"/>
                  </a:cubicBezTo>
                  <a:cubicBezTo>
                    <a:pt x="658499" y="500212"/>
                    <a:pt x="649242" y="501650"/>
                    <a:pt x="642121" y="495897"/>
                  </a:cubicBezTo>
                  <a:cubicBezTo>
                    <a:pt x="635712" y="490144"/>
                    <a:pt x="635000" y="480076"/>
                    <a:pt x="640697" y="473604"/>
                  </a:cubicBezTo>
                  <a:cubicBezTo>
                    <a:pt x="669893" y="437647"/>
                    <a:pt x="713332" y="417512"/>
                    <a:pt x="759619" y="417512"/>
                  </a:cubicBezTo>
                  <a:close/>
                  <a:moveTo>
                    <a:pt x="165812" y="417512"/>
                  </a:moveTo>
                  <a:cubicBezTo>
                    <a:pt x="204240" y="417512"/>
                    <a:pt x="240534" y="431175"/>
                    <a:pt x="268288" y="456345"/>
                  </a:cubicBezTo>
                  <a:cubicBezTo>
                    <a:pt x="260460" y="462817"/>
                    <a:pt x="252632" y="470008"/>
                    <a:pt x="244804" y="477200"/>
                  </a:cubicBezTo>
                  <a:cubicBezTo>
                    <a:pt x="222743" y="459221"/>
                    <a:pt x="194989" y="449154"/>
                    <a:pt x="165812" y="449154"/>
                  </a:cubicBezTo>
                  <a:cubicBezTo>
                    <a:pt x="129518" y="449154"/>
                    <a:pt x="94648" y="465693"/>
                    <a:pt x="71164" y="493739"/>
                  </a:cubicBezTo>
                  <a:cubicBezTo>
                    <a:pt x="65470" y="500212"/>
                    <a:pt x="55508" y="501650"/>
                    <a:pt x="49103" y="495897"/>
                  </a:cubicBezTo>
                  <a:cubicBezTo>
                    <a:pt x="41986" y="490144"/>
                    <a:pt x="41275" y="480076"/>
                    <a:pt x="46968" y="473604"/>
                  </a:cubicBezTo>
                  <a:cubicBezTo>
                    <a:pt x="76857" y="437647"/>
                    <a:pt x="120267" y="417512"/>
                    <a:pt x="165812" y="417512"/>
                  </a:cubicBezTo>
                  <a:close/>
                  <a:moveTo>
                    <a:pt x="1260912" y="277812"/>
                  </a:moveTo>
                  <a:cubicBezTo>
                    <a:pt x="1307332" y="277812"/>
                    <a:pt x="1350895" y="298667"/>
                    <a:pt x="1380889" y="333904"/>
                  </a:cubicBezTo>
                  <a:cubicBezTo>
                    <a:pt x="1385888" y="341095"/>
                    <a:pt x="1385174" y="351163"/>
                    <a:pt x="1378747" y="356197"/>
                  </a:cubicBezTo>
                  <a:cubicBezTo>
                    <a:pt x="1375890" y="359073"/>
                    <a:pt x="1372319" y="359792"/>
                    <a:pt x="1368749" y="359792"/>
                  </a:cubicBezTo>
                  <a:cubicBezTo>
                    <a:pt x="1364464" y="359792"/>
                    <a:pt x="1359465" y="358354"/>
                    <a:pt x="1356608" y="354759"/>
                  </a:cubicBezTo>
                  <a:cubicBezTo>
                    <a:pt x="1333041" y="325993"/>
                    <a:pt x="1298048" y="309454"/>
                    <a:pt x="1260912" y="309454"/>
                  </a:cubicBezTo>
                  <a:cubicBezTo>
                    <a:pt x="1223776" y="309454"/>
                    <a:pt x="1189497" y="325993"/>
                    <a:pt x="1165930" y="354759"/>
                  </a:cubicBezTo>
                  <a:cubicBezTo>
                    <a:pt x="1160931" y="361231"/>
                    <a:pt x="1150933" y="361950"/>
                    <a:pt x="1143791" y="356197"/>
                  </a:cubicBezTo>
                  <a:cubicBezTo>
                    <a:pt x="1137364" y="351163"/>
                    <a:pt x="1136650" y="341095"/>
                    <a:pt x="1142363" y="333904"/>
                  </a:cubicBezTo>
                  <a:cubicBezTo>
                    <a:pt x="1171643" y="298667"/>
                    <a:pt x="1214492" y="277812"/>
                    <a:pt x="1260912" y="277812"/>
                  </a:cubicBezTo>
                  <a:close/>
                  <a:moveTo>
                    <a:pt x="926306" y="277812"/>
                  </a:moveTo>
                  <a:cubicBezTo>
                    <a:pt x="972593" y="277812"/>
                    <a:pt x="1016031" y="298667"/>
                    <a:pt x="1045940" y="333904"/>
                  </a:cubicBezTo>
                  <a:cubicBezTo>
                    <a:pt x="1050925" y="341095"/>
                    <a:pt x="1050213" y="351163"/>
                    <a:pt x="1043804" y="356197"/>
                  </a:cubicBezTo>
                  <a:cubicBezTo>
                    <a:pt x="1040955" y="359073"/>
                    <a:pt x="1037395" y="359792"/>
                    <a:pt x="1033834" y="359792"/>
                  </a:cubicBezTo>
                  <a:cubicBezTo>
                    <a:pt x="1028849" y="359792"/>
                    <a:pt x="1024577" y="358354"/>
                    <a:pt x="1021728" y="354759"/>
                  </a:cubicBezTo>
                  <a:cubicBezTo>
                    <a:pt x="998229" y="325993"/>
                    <a:pt x="963335" y="309454"/>
                    <a:pt x="926306" y="309454"/>
                  </a:cubicBezTo>
                  <a:cubicBezTo>
                    <a:pt x="889276" y="309454"/>
                    <a:pt x="855095" y="325993"/>
                    <a:pt x="830883" y="354759"/>
                  </a:cubicBezTo>
                  <a:cubicBezTo>
                    <a:pt x="825186" y="361231"/>
                    <a:pt x="815929" y="361950"/>
                    <a:pt x="808808" y="356197"/>
                  </a:cubicBezTo>
                  <a:cubicBezTo>
                    <a:pt x="802399" y="351163"/>
                    <a:pt x="801687" y="341095"/>
                    <a:pt x="807384" y="333904"/>
                  </a:cubicBezTo>
                  <a:cubicBezTo>
                    <a:pt x="836580" y="298667"/>
                    <a:pt x="880019" y="277812"/>
                    <a:pt x="926306" y="277812"/>
                  </a:cubicBezTo>
                  <a:close/>
                  <a:moveTo>
                    <a:pt x="592137" y="277812"/>
                  </a:moveTo>
                  <a:cubicBezTo>
                    <a:pt x="638719" y="277812"/>
                    <a:pt x="682434" y="298667"/>
                    <a:pt x="711817" y="333904"/>
                  </a:cubicBezTo>
                  <a:cubicBezTo>
                    <a:pt x="717550" y="341095"/>
                    <a:pt x="716833" y="351163"/>
                    <a:pt x="710383" y="356197"/>
                  </a:cubicBezTo>
                  <a:cubicBezTo>
                    <a:pt x="707517" y="359073"/>
                    <a:pt x="703934" y="359792"/>
                    <a:pt x="700350" y="359792"/>
                  </a:cubicBezTo>
                  <a:cubicBezTo>
                    <a:pt x="695334" y="359792"/>
                    <a:pt x="691034" y="358354"/>
                    <a:pt x="688167" y="354759"/>
                  </a:cubicBezTo>
                  <a:cubicBezTo>
                    <a:pt x="663802" y="325993"/>
                    <a:pt x="629403" y="309454"/>
                    <a:pt x="592137" y="309454"/>
                  </a:cubicBezTo>
                  <a:cubicBezTo>
                    <a:pt x="554872" y="309454"/>
                    <a:pt x="519756" y="325993"/>
                    <a:pt x="496107" y="354759"/>
                  </a:cubicBezTo>
                  <a:cubicBezTo>
                    <a:pt x="490374" y="361231"/>
                    <a:pt x="480341" y="361950"/>
                    <a:pt x="473891" y="356197"/>
                  </a:cubicBezTo>
                  <a:cubicBezTo>
                    <a:pt x="467441" y="351163"/>
                    <a:pt x="466725" y="341095"/>
                    <a:pt x="471741" y="333904"/>
                  </a:cubicBezTo>
                  <a:cubicBezTo>
                    <a:pt x="501840" y="298667"/>
                    <a:pt x="545555" y="277812"/>
                    <a:pt x="592137" y="277812"/>
                  </a:cubicBezTo>
                  <a:close/>
                  <a:moveTo>
                    <a:pt x="257174" y="277812"/>
                  </a:moveTo>
                  <a:cubicBezTo>
                    <a:pt x="303756" y="277812"/>
                    <a:pt x="347471" y="298667"/>
                    <a:pt x="376854" y="333904"/>
                  </a:cubicBezTo>
                  <a:cubicBezTo>
                    <a:pt x="382587" y="341095"/>
                    <a:pt x="381870" y="351163"/>
                    <a:pt x="375420" y="356197"/>
                  </a:cubicBezTo>
                  <a:cubicBezTo>
                    <a:pt x="372554" y="359073"/>
                    <a:pt x="368254" y="359792"/>
                    <a:pt x="365387" y="359792"/>
                  </a:cubicBezTo>
                  <a:cubicBezTo>
                    <a:pt x="360371" y="359792"/>
                    <a:pt x="356071" y="358354"/>
                    <a:pt x="353204" y="354759"/>
                  </a:cubicBezTo>
                  <a:cubicBezTo>
                    <a:pt x="328839" y="325993"/>
                    <a:pt x="294440" y="309454"/>
                    <a:pt x="257174" y="309454"/>
                  </a:cubicBezTo>
                  <a:cubicBezTo>
                    <a:pt x="219909" y="309454"/>
                    <a:pt x="184793" y="325993"/>
                    <a:pt x="161144" y="354759"/>
                  </a:cubicBezTo>
                  <a:cubicBezTo>
                    <a:pt x="155411" y="361231"/>
                    <a:pt x="145378" y="361950"/>
                    <a:pt x="138928" y="356197"/>
                  </a:cubicBezTo>
                  <a:cubicBezTo>
                    <a:pt x="132478" y="351163"/>
                    <a:pt x="131762" y="341095"/>
                    <a:pt x="136778" y="333904"/>
                  </a:cubicBezTo>
                  <a:cubicBezTo>
                    <a:pt x="166877" y="298667"/>
                    <a:pt x="210592" y="277812"/>
                    <a:pt x="257174" y="277812"/>
                  </a:cubicBezTo>
                  <a:close/>
                  <a:moveTo>
                    <a:pt x="1093351" y="139700"/>
                  </a:moveTo>
                  <a:cubicBezTo>
                    <a:pt x="1139771" y="139700"/>
                    <a:pt x="1182619" y="159665"/>
                    <a:pt x="1212614" y="196030"/>
                  </a:cubicBezTo>
                  <a:cubicBezTo>
                    <a:pt x="1217613" y="202447"/>
                    <a:pt x="1216899" y="212429"/>
                    <a:pt x="1210471" y="218134"/>
                  </a:cubicBezTo>
                  <a:cubicBezTo>
                    <a:pt x="1207615" y="220273"/>
                    <a:pt x="1204044" y="221699"/>
                    <a:pt x="1200473" y="221699"/>
                  </a:cubicBezTo>
                  <a:cubicBezTo>
                    <a:pt x="1195474" y="221699"/>
                    <a:pt x="1191189" y="219560"/>
                    <a:pt x="1188333" y="215994"/>
                  </a:cubicBezTo>
                  <a:cubicBezTo>
                    <a:pt x="1165480" y="188186"/>
                    <a:pt x="1130487" y="171786"/>
                    <a:pt x="1093351" y="171786"/>
                  </a:cubicBezTo>
                  <a:cubicBezTo>
                    <a:pt x="1056215" y="171786"/>
                    <a:pt x="1021936" y="188186"/>
                    <a:pt x="997655" y="215994"/>
                  </a:cubicBezTo>
                  <a:cubicBezTo>
                    <a:pt x="991942" y="222412"/>
                    <a:pt x="982658" y="223838"/>
                    <a:pt x="975516" y="218134"/>
                  </a:cubicBezTo>
                  <a:cubicBezTo>
                    <a:pt x="969089" y="212429"/>
                    <a:pt x="968375" y="202447"/>
                    <a:pt x="974088" y="196030"/>
                  </a:cubicBezTo>
                  <a:cubicBezTo>
                    <a:pt x="1003368" y="159665"/>
                    <a:pt x="1046931" y="139700"/>
                    <a:pt x="1093351" y="139700"/>
                  </a:cubicBezTo>
                  <a:close/>
                  <a:moveTo>
                    <a:pt x="759619" y="139700"/>
                  </a:moveTo>
                  <a:cubicBezTo>
                    <a:pt x="805906" y="139700"/>
                    <a:pt x="849344" y="159665"/>
                    <a:pt x="878541" y="196030"/>
                  </a:cubicBezTo>
                  <a:cubicBezTo>
                    <a:pt x="884238" y="202447"/>
                    <a:pt x="883526" y="212429"/>
                    <a:pt x="877117" y="218134"/>
                  </a:cubicBezTo>
                  <a:cubicBezTo>
                    <a:pt x="874268" y="220273"/>
                    <a:pt x="870708" y="221699"/>
                    <a:pt x="867147" y="221699"/>
                  </a:cubicBezTo>
                  <a:cubicBezTo>
                    <a:pt x="862162" y="221699"/>
                    <a:pt x="857890" y="219560"/>
                    <a:pt x="855041" y="215994"/>
                  </a:cubicBezTo>
                  <a:cubicBezTo>
                    <a:pt x="830830" y="188186"/>
                    <a:pt x="796648" y="171786"/>
                    <a:pt x="759619" y="171786"/>
                  </a:cubicBezTo>
                  <a:cubicBezTo>
                    <a:pt x="722589" y="171786"/>
                    <a:pt x="688408" y="188186"/>
                    <a:pt x="664196" y="215994"/>
                  </a:cubicBezTo>
                  <a:cubicBezTo>
                    <a:pt x="658499" y="222412"/>
                    <a:pt x="649242" y="223838"/>
                    <a:pt x="642121" y="218134"/>
                  </a:cubicBezTo>
                  <a:cubicBezTo>
                    <a:pt x="635712" y="212429"/>
                    <a:pt x="635000" y="202447"/>
                    <a:pt x="640697" y="196030"/>
                  </a:cubicBezTo>
                  <a:cubicBezTo>
                    <a:pt x="669893" y="159665"/>
                    <a:pt x="713332" y="139700"/>
                    <a:pt x="759619" y="139700"/>
                  </a:cubicBezTo>
                  <a:close/>
                  <a:moveTo>
                    <a:pt x="424656" y="139700"/>
                  </a:moveTo>
                  <a:cubicBezTo>
                    <a:pt x="470943" y="139700"/>
                    <a:pt x="514381" y="159665"/>
                    <a:pt x="543578" y="196030"/>
                  </a:cubicBezTo>
                  <a:cubicBezTo>
                    <a:pt x="549275" y="202447"/>
                    <a:pt x="548563" y="212429"/>
                    <a:pt x="542154" y="218134"/>
                  </a:cubicBezTo>
                  <a:cubicBezTo>
                    <a:pt x="539305" y="220273"/>
                    <a:pt x="535745" y="221699"/>
                    <a:pt x="532184" y="221699"/>
                  </a:cubicBezTo>
                  <a:cubicBezTo>
                    <a:pt x="527199" y="221699"/>
                    <a:pt x="522927" y="219560"/>
                    <a:pt x="520078" y="215994"/>
                  </a:cubicBezTo>
                  <a:cubicBezTo>
                    <a:pt x="495867" y="188186"/>
                    <a:pt x="461685" y="171786"/>
                    <a:pt x="424656" y="171786"/>
                  </a:cubicBezTo>
                  <a:cubicBezTo>
                    <a:pt x="387626" y="171786"/>
                    <a:pt x="352733" y="188186"/>
                    <a:pt x="329233" y="215994"/>
                  </a:cubicBezTo>
                  <a:cubicBezTo>
                    <a:pt x="323536" y="222412"/>
                    <a:pt x="313567" y="223838"/>
                    <a:pt x="307158" y="218134"/>
                  </a:cubicBezTo>
                  <a:cubicBezTo>
                    <a:pt x="300749" y="212429"/>
                    <a:pt x="300037" y="202447"/>
                    <a:pt x="305022" y="196030"/>
                  </a:cubicBezTo>
                  <a:cubicBezTo>
                    <a:pt x="334930" y="159665"/>
                    <a:pt x="378369" y="139700"/>
                    <a:pt x="424656" y="139700"/>
                  </a:cubicBezTo>
                  <a:close/>
                  <a:moveTo>
                    <a:pt x="926306" y="0"/>
                  </a:moveTo>
                  <a:cubicBezTo>
                    <a:pt x="972593" y="0"/>
                    <a:pt x="1016031" y="20855"/>
                    <a:pt x="1045940" y="56092"/>
                  </a:cubicBezTo>
                  <a:cubicBezTo>
                    <a:pt x="1050925" y="63283"/>
                    <a:pt x="1050213" y="72632"/>
                    <a:pt x="1043804" y="78385"/>
                  </a:cubicBezTo>
                  <a:cubicBezTo>
                    <a:pt x="1040955" y="81261"/>
                    <a:pt x="1037395" y="81980"/>
                    <a:pt x="1033834" y="81980"/>
                  </a:cubicBezTo>
                  <a:cubicBezTo>
                    <a:pt x="1028849" y="81980"/>
                    <a:pt x="1024577" y="80542"/>
                    <a:pt x="1021728" y="76947"/>
                  </a:cubicBezTo>
                  <a:cubicBezTo>
                    <a:pt x="998229" y="48181"/>
                    <a:pt x="963335" y="31642"/>
                    <a:pt x="926306" y="31642"/>
                  </a:cubicBezTo>
                  <a:cubicBezTo>
                    <a:pt x="889276" y="31642"/>
                    <a:pt x="855095" y="48181"/>
                    <a:pt x="830883" y="76947"/>
                  </a:cubicBezTo>
                  <a:cubicBezTo>
                    <a:pt x="825186" y="83419"/>
                    <a:pt x="815929" y="84138"/>
                    <a:pt x="808808" y="78385"/>
                  </a:cubicBezTo>
                  <a:cubicBezTo>
                    <a:pt x="802399" y="72632"/>
                    <a:pt x="801687" y="63283"/>
                    <a:pt x="807384" y="56092"/>
                  </a:cubicBezTo>
                  <a:cubicBezTo>
                    <a:pt x="836580" y="20855"/>
                    <a:pt x="880019" y="0"/>
                    <a:pt x="926306" y="0"/>
                  </a:cubicBezTo>
                  <a:close/>
                  <a:moveTo>
                    <a:pt x="592137" y="0"/>
                  </a:moveTo>
                  <a:cubicBezTo>
                    <a:pt x="638719" y="0"/>
                    <a:pt x="682434" y="20855"/>
                    <a:pt x="711817" y="56092"/>
                  </a:cubicBezTo>
                  <a:cubicBezTo>
                    <a:pt x="717550" y="63283"/>
                    <a:pt x="716833" y="72632"/>
                    <a:pt x="710383" y="78385"/>
                  </a:cubicBezTo>
                  <a:cubicBezTo>
                    <a:pt x="707517" y="81261"/>
                    <a:pt x="703934" y="81980"/>
                    <a:pt x="700350" y="81980"/>
                  </a:cubicBezTo>
                  <a:cubicBezTo>
                    <a:pt x="695334" y="81980"/>
                    <a:pt x="691034" y="80542"/>
                    <a:pt x="688167" y="76947"/>
                  </a:cubicBezTo>
                  <a:cubicBezTo>
                    <a:pt x="663802" y="48181"/>
                    <a:pt x="629403" y="31642"/>
                    <a:pt x="592137" y="31642"/>
                  </a:cubicBezTo>
                  <a:cubicBezTo>
                    <a:pt x="554872" y="31642"/>
                    <a:pt x="519756" y="48181"/>
                    <a:pt x="496107" y="76947"/>
                  </a:cubicBezTo>
                  <a:cubicBezTo>
                    <a:pt x="490374" y="83419"/>
                    <a:pt x="480341" y="84138"/>
                    <a:pt x="473891" y="78385"/>
                  </a:cubicBezTo>
                  <a:cubicBezTo>
                    <a:pt x="467441" y="72632"/>
                    <a:pt x="466725" y="63283"/>
                    <a:pt x="471741" y="56092"/>
                  </a:cubicBezTo>
                  <a:cubicBezTo>
                    <a:pt x="501840" y="20855"/>
                    <a:pt x="545555" y="0"/>
                    <a:pt x="59213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99" name="bcgBugs_GrowthChart">
            <a:extLst>
              <a:ext uri="{FF2B5EF4-FFF2-40B4-BE49-F238E27FC236}">
                <a16:creationId xmlns:a16="http://schemas.microsoft.com/office/drawing/2014/main" id="{A911DC6D-60C8-40D9-B8DC-7E80966F4A37}"/>
              </a:ext>
            </a:extLst>
          </p:cNvPr>
          <p:cNvGrpSpPr>
            <a:grpSpLocks noChangeAspect="1"/>
          </p:cNvGrpSpPr>
          <p:nvPr/>
        </p:nvGrpSpPr>
        <p:grpSpPr bwMode="auto">
          <a:xfrm>
            <a:off x="10467975" y="4711700"/>
            <a:ext cx="667684" cy="668338"/>
            <a:chOff x="2818" y="1137"/>
            <a:chExt cx="2044" cy="2046"/>
          </a:xfrm>
        </p:grpSpPr>
        <p:sp>
          <p:nvSpPr>
            <p:cNvPr id="100" name="AutoShape 3">
              <a:extLst>
                <a:ext uri="{FF2B5EF4-FFF2-40B4-BE49-F238E27FC236}">
                  <a16:creationId xmlns:a16="http://schemas.microsoft.com/office/drawing/2014/main" id="{119B3CD8-EA91-4077-886D-D26ACBFB3456}"/>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
              <a:extLst>
                <a:ext uri="{FF2B5EF4-FFF2-40B4-BE49-F238E27FC236}">
                  <a16:creationId xmlns:a16="http://schemas.microsoft.com/office/drawing/2014/main" id="{FFCA9A5C-8294-4BF6-9C63-57C6F31B26B3}"/>
                </a:ext>
              </a:extLst>
            </p:cNvPr>
            <p:cNvSpPr>
              <a:spLocks noEditPoints="1"/>
            </p:cNvSpPr>
            <p:nvPr/>
          </p:nvSpPr>
          <p:spPr bwMode="auto">
            <a:xfrm>
              <a:off x="3064" y="1383"/>
              <a:ext cx="1555" cy="1556"/>
            </a:xfrm>
            <a:custGeom>
              <a:avLst/>
              <a:gdLst>
                <a:gd name="T0" fmla="*/ 162 w 760"/>
                <a:gd name="T1" fmla="*/ 464 h 760"/>
                <a:gd name="T2" fmla="*/ 162 w 760"/>
                <a:gd name="T3" fmla="*/ 738 h 760"/>
                <a:gd name="T4" fmla="*/ 140 w 760"/>
                <a:gd name="T5" fmla="*/ 760 h 760"/>
                <a:gd name="T6" fmla="*/ 22 w 760"/>
                <a:gd name="T7" fmla="*/ 760 h 760"/>
                <a:gd name="T8" fmla="*/ 0 w 760"/>
                <a:gd name="T9" fmla="*/ 738 h 760"/>
                <a:gd name="T10" fmla="*/ 0 w 760"/>
                <a:gd name="T11" fmla="*/ 464 h 760"/>
                <a:gd name="T12" fmla="*/ 22 w 760"/>
                <a:gd name="T13" fmla="*/ 442 h 760"/>
                <a:gd name="T14" fmla="*/ 140 w 760"/>
                <a:gd name="T15" fmla="*/ 442 h 760"/>
                <a:gd name="T16" fmla="*/ 162 w 760"/>
                <a:gd name="T17" fmla="*/ 464 h 760"/>
                <a:gd name="T18" fmla="*/ 340 w 760"/>
                <a:gd name="T19" fmla="*/ 318 h 760"/>
                <a:gd name="T20" fmla="*/ 221 w 760"/>
                <a:gd name="T21" fmla="*/ 318 h 760"/>
                <a:gd name="T22" fmla="*/ 199 w 760"/>
                <a:gd name="T23" fmla="*/ 340 h 760"/>
                <a:gd name="T24" fmla="*/ 199 w 760"/>
                <a:gd name="T25" fmla="*/ 738 h 760"/>
                <a:gd name="T26" fmla="*/ 221 w 760"/>
                <a:gd name="T27" fmla="*/ 760 h 760"/>
                <a:gd name="T28" fmla="*/ 340 w 760"/>
                <a:gd name="T29" fmla="*/ 760 h 760"/>
                <a:gd name="T30" fmla="*/ 362 w 760"/>
                <a:gd name="T31" fmla="*/ 738 h 760"/>
                <a:gd name="T32" fmla="*/ 362 w 760"/>
                <a:gd name="T33" fmla="*/ 340 h 760"/>
                <a:gd name="T34" fmla="*/ 340 w 760"/>
                <a:gd name="T35" fmla="*/ 318 h 760"/>
                <a:gd name="T36" fmla="*/ 539 w 760"/>
                <a:gd name="T37" fmla="*/ 179 h 760"/>
                <a:gd name="T38" fmla="*/ 420 w 760"/>
                <a:gd name="T39" fmla="*/ 179 h 760"/>
                <a:gd name="T40" fmla="*/ 398 w 760"/>
                <a:gd name="T41" fmla="*/ 201 h 760"/>
                <a:gd name="T42" fmla="*/ 398 w 760"/>
                <a:gd name="T43" fmla="*/ 738 h 760"/>
                <a:gd name="T44" fmla="*/ 420 w 760"/>
                <a:gd name="T45" fmla="*/ 760 h 760"/>
                <a:gd name="T46" fmla="*/ 539 w 760"/>
                <a:gd name="T47" fmla="*/ 760 h 760"/>
                <a:gd name="T48" fmla="*/ 561 w 760"/>
                <a:gd name="T49" fmla="*/ 738 h 760"/>
                <a:gd name="T50" fmla="*/ 561 w 760"/>
                <a:gd name="T51" fmla="*/ 201 h 760"/>
                <a:gd name="T52" fmla="*/ 539 w 760"/>
                <a:gd name="T53" fmla="*/ 179 h 760"/>
                <a:gd name="T54" fmla="*/ 738 w 760"/>
                <a:gd name="T55" fmla="*/ 0 h 760"/>
                <a:gd name="T56" fmla="*/ 620 w 760"/>
                <a:gd name="T57" fmla="*/ 0 h 760"/>
                <a:gd name="T58" fmla="*/ 598 w 760"/>
                <a:gd name="T59" fmla="*/ 22 h 760"/>
                <a:gd name="T60" fmla="*/ 598 w 760"/>
                <a:gd name="T61" fmla="*/ 738 h 760"/>
                <a:gd name="T62" fmla="*/ 620 w 760"/>
                <a:gd name="T63" fmla="*/ 760 h 760"/>
                <a:gd name="T64" fmla="*/ 738 w 760"/>
                <a:gd name="T65" fmla="*/ 760 h 760"/>
                <a:gd name="T66" fmla="*/ 760 w 760"/>
                <a:gd name="T67" fmla="*/ 738 h 760"/>
                <a:gd name="T68" fmla="*/ 760 w 760"/>
                <a:gd name="T69" fmla="*/ 22 h 760"/>
                <a:gd name="T70" fmla="*/ 738 w 760"/>
                <a:gd name="T7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0" h="760">
                  <a:moveTo>
                    <a:pt x="162" y="464"/>
                  </a:moveTo>
                  <a:cubicBezTo>
                    <a:pt x="162" y="738"/>
                    <a:pt x="162" y="738"/>
                    <a:pt x="162" y="738"/>
                  </a:cubicBezTo>
                  <a:cubicBezTo>
                    <a:pt x="162" y="751"/>
                    <a:pt x="152" y="760"/>
                    <a:pt x="140" y="760"/>
                  </a:cubicBezTo>
                  <a:cubicBezTo>
                    <a:pt x="22" y="760"/>
                    <a:pt x="22" y="760"/>
                    <a:pt x="22" y="760"/>
                  </a:cubicBezTo>
                  <a:cubicBezTo>
                    <a:pt x="9" y="760"/>
                    <a:pt x="0" y="751"/>
                    <a:pt x="0" y="738"/>
                  </a:cubicBezTo>
                  <a:cubicBezTo>
                    <a:pt x="0" y="464"/>
                    <a:pt x="0" y="464"/>
                    <a:pt x="0" y="464"/>
                  </a:cubicBezTo>
                  <a:cubicBezTo>
                    <a:pt x="0" y="452"/>
                    <a:pt x="9" y="442"/>
                    <a:pt x="22" y="442"/>
                  </a:cubicBezTo>
                  <a:cubicBezTo>
                    <a:pt x="140" y="442"/>
                    <a:pt x="140" y="442"/>
                    <a:pt x="140" y="442"/>
                  </a:cubicBezTo>
                  <a:cubicBezTo>
                    <a:pt x="152" y="442"/>
                    <a:pt x="162" y="452"/>
                    <a:pt x="162" y="464"/>
                  </a:cubicBezTo>
                  <a:close/>
                  <a:moveTo>
                    <a:pt x="340" y="318"/>
                  </a:moveTo>
                  <a:cubicBezTo>
                    <a:pt x="221" y="318"/>
                    <a:pt x="221" y="318"/>
                    <a:pt x="221" y="318"/>
                  </a:cubicBezTo>
                  <a:cubicBezTo>
                    <a:pt x="209" y="318"/>
                    <a:pt x="199" y="328"/>
                    <a:pt x="199" y="340"/>
                  </a:cubicBezTo>
                  <a:cubicBezTo>
                    <a:pt x="199" y="738"/>
                    <a:pt x="199" y="738"/>
                    <a:pt x="199" y="738"/>
                  </a:cubicBezTo>
                  <a:cubicBezTo>
                    <a:pt x="199" y="751"/>
                    <a:pt x="209" y="760"/>
                    <a:pt x="221" y="760"/>
                  </a:cubicBezTo>
                  <a:cubicBezTo>
                    <a:pt x="340" y="760"/>
                    <a:pt x="340" y="760"/>
                    <a:pt x="340" y="760"/>
                  </a:cubicBezTo>
                  <a:cubicBezTo>
                    <a:pt x="352" y="760"/>
                    <a:pt x="362" y="751"/>
                    <a:pt x="362" y="738"/>
                  </a:cubicBezTo>
                  <a:cubicBezTo>
                    <a:pt x="362" y="340"/>
                    <a:pt x="362" y="340"/>
                    <a:pt x="362" y="340"/>
                  </a:cubicBezTo>
                  <a:cubicBezTo>
                    <a:pt x="362" y="328"/>
                    <a:pt x="352" y="318"/>
                    <a:pt x="340" y="318"/>
                  </a:cubicBezTo>
                  <a:close/>
                  <a:moveTo>
                    <a:pt x="539" y="179"/>
                  </a:moveTo>
                  <a:cubicBezTo>
                    <a:pt x="420" y="179"/>
                    <a:pt x="420" y="179"/>
                    <a:pt x="420" y="179"/>
                  </a:cubicBezTo>
                  <a:cubicBezTo>
                    <a:pt x="408" y="179"/>
                    <a:pt x="398" y="189"/>
                    <a:pt x="398" y="201"/>
                  </a:cubicBezTo>
                  <a:cubicBezTo>
                    <a:pt x="398" y="738"/>
                    <a:pt x="398" y="738"/>
                    <a:pt x="398" y="738"/>
                  </a:cubicBezTo>
                  <a:cubicBezTo>
                    <a:pt x="398" y="751"/>
                    <a:pt x="408" y="760"/>
                    <a:pt x="420" y="760"/>
                  </a:cubicBezTo>
                  <a:cubicBezTo>
                    <a:pt x="539" y="760"/>
                    <a:pt x="539" y="760"/>
                    <a:pt x="539" y="760"/>
                  </a:cubicBezTo>
                  <a:cubicBezTo>
                    <a:pt x="551" y="760"/>
                    <a:pt x="561" y="751"/>
                    <a:pt x="561" y="738"/>
                  </a:cubicBezTo>
                  <a:cubicBezTo>
                    <a:pt x="561" y="201"/>
                    <a:pt x="561" y="201"/>
                    <a:pt x="561" y="201"/>
                  </a:cubicBezTo>
                  <a:cubicBezTo>
                    <a:pt x="561" y="189"/>
                    <a:pt x="551" y="179"/>
                    <a:pt x="539" y="179"/>
                  </a:cubicBezTo>
                  <a:close/>
                  <a:moveTo>
                    <a:pt x="738" y="0"/>
                  </a:moveTo>
                  <a:cubicBezTo>
                    <a:pt x="620" y="0"/>
                    <a:pt x="620" y="0"/>
                    <a:pt x="620" y="0"/>
                  </a:cubicBezTo>
                  <a:cubicBezTo>
                    <a:pt x="608" y="0"/>
                    <a:pt x="598" y="9"/>
                    <a:pt x="598" y="22"/>
                  </a:cubicBezTo>
                  <a:cubicBezTo>
                    <a:pt x="598" y="738"/>
                    <a:pt x="598" y="738"/>
                    <a:pt x="598" y="738"/>
                  </a:cubicBezTo>
                  <a:cubicBezTo>
                    <a:pt x="598" y="751"/>
                    <a:pt x="608" y="760"/>
                    <a:pt x="620" y="760"/>
                  </a:cubicBezTo>
                  <a:cubicBezTo>
                    <a:pt x="738" y="760"/>
                    <a:pt x="738" y="760"/>
                    <a:pt x="738" y="760"/>
                  </a:cubicBezTo>
                  <a:cubicBezTo>
                    <a:pt x="751" y="760"/>
                    <a:pt x="760" y="751"/>
                    <a:pt x="760" y="738"/>
                  </a:cubicBezTo>
                  <a:cubicBezTo>
                    <a:pt x="760" y="22"/>
                    <a:pt x="760" y="22"/>
                    <a:pt x="760" y="22"/>
                  </a:cubicBezTo>
                  <a:cubicBezTo>
                    <a:pt x="760" y="9"/>
                    <a:pt x="751" y="0"/>
                    <a:pt x="73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2"/>
    </p:custDataLst>
    <p:extLst>
      <p:ext uri="{BB962C8B-B14F-4D97-AF65-F5344CB8AC3E}">
        <p14:creationId xmlns:p14="http://schemas.microsoft.com/office/powerpoint/2010/main" val="2864801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p:txBody>
          <a:bodyPr/>
          <a:lstStyle/>
          <a:p>
            <a:r>
              <a:rPr lang="en-US">
                <a:solidFill>
                  <a:srgbClr val="002060"/>
                </a:solidFill>
              </a:rPr>
              <a:t>Project Flow</a:t>
            </a:r>
          </a:p>
        </p:txBody>
      </p:sp>
      <p:sp>
        <p:nvSpPr>
          <p:cNvPr id="4" name="Flowchart: Connector 3">
            <a:extLst>
              <a:ext uri="{FF2B5EF4-FFF2-40B4-BE49-F238E27FC236}">
                <a16:creationId xmlns:a16="http://schemas.microsoft.com/office/drawing/2014/main" id="{F2781DB5-90E2-4089-BA07-2F83778C3F07}"/>
              </a:ext>
            </a:extLst>
          </p:cNvPr>
          <p:cNvSpPr>
            <a:spLocks noChangeAspect="1"/>
          </p:cNvSpPr>
          <p:nvPr/>
        </p:nvSpPr>
        <p:spPr>
          <a:xfrm>
            <a:off x="411352" y="1431888"/>
            <a:ext cx="2065105" cy="206525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ea typeface="+mn-lt"/>
              <a:cs typeface="+mn-lt"/>
            </a:endParaRPr>
          </a:p>
          <a:p>
            <a:pPr algn="ctr"/>
            <a:endParaRPr lang="en-SG">
              <a:ea typeface="+mn-lt"/>
              <a:cs typeface="+mn-lt"/>
            </a:endParaRPr>
          </a:p>
          <a:p>
            <a:pPr algn="ctr"/>
            <a:r>
              <a:rPr lang="en-SG">
                <a:ea typeface="+mn-lt"/>
                <a:cs typeface="+mn-lt"/>
              </a:rPr>
              <a:t>Research, Analyse and Hypothesize</a:t>
            </a:r>
            <a:endParaRPr lang="en-US"/>
          </a:p>
        </p:txBody>
      </p:sp>
      <p:sp>
        <p:nvSpPr>
          <p:cNvPr id="5" name="Flowchart: Connector 4">
            <a:extLst>
              <a:ext uri="{FF2B5EF4-FFF2-40B4-BE49-F238E27FC236}">
                <a16:creationId xmlns:a16="http://schemas.microsoft.com/office/drawing/2014/main" id="{AA1B9715-B961-42AF-90C9-79A87F13D1B8}"/>
              </a:ext>
            </a:extLst>
          </p:cNvPr>
          <p:cNvSpPr>
            <a:spLocks noChangeAspect="1"/>
          </p:cNvSpPr>
          <p:nvPr/>
        </p:nvSpPr>
        <p:spPr>
          <a:xfrm>
            <a:off x="2718422" y="1431888"/>
            <a:ext cx="2065105" cy="206525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ea typeface="+mn-lt"/>
              <a:cs typeface="+mn-lt"/>
            </a:endParaRPr>
          </a:p>
          <a:p>
            <a:pPr algn="ctr"/>
            <a:endParaRPr lang="en-SG">
              <a:ea typeface="+mn-lt"/>
              <a:cs typeface="+mn-lt"/>
            </a:endParaRPr>
          </a:p>
          <a:p>
            <a:pPr algn="ctr"/>
            <a:r>
              <a:rPr lang="en-SG">
                <a:ea typeface="+mn-lt"/>
                <a:cs typeface="+mn-lt"/>
              </a:rPr>
              <a:t>Data Processing</a:t>
            </a:r>
            <a:endParaRPr lang="en-US"/>
          </a:p>
        </p:txBody>
      </p:sp>
      <p:pic>
        <p:nvPicPr>
          <p:cNvPr id="7" name="Graphic 6" descr="Group brainstorm">
            <a:extLst>
              <a:ext uri="{FF2B5EF4-FFF2-40B4-BE49-F238E27FC236}">
                <a16:creationId xmlns:a16="http://schemas.microsoft.com/office/drawing/2014/main" id="{52098F02-F658-4E94-9501-A14F3E2D33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9204" y="1648443"/>
            <a:ext cx="722941" cy="722941"/>
          </a:xfrm>
          <a:prstGeom prst="rect">
            <a:avLst/>
          </a:prstGeom>
        </p:spPr>
      </p:pic>
      <p:pic>
        <p:nvPicPr>
          <p:cNvPr id="9" name="Graphic 8" descr="Research">
            <a:extLst>
              <a:ext uri="{FF2B5EF4-FFF2-40B4-BE49-F238E27FC236}">
                <a16:creationId xmlns:a16="http://schemas.microsoft.com/office/drawing/2014/main" id="{A7D42D63-B632-4192-9AF9-4120DFBDAF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29420" y="1734732"/>
            <a:ext cx="763708" cy="763708"/>
          </a:xfrm>
          <a:prstGeom prst="rect">
            <a:avLst/>
          </a:prstGeom>
        </p:spPr>
      </p:pic>
      <p:sp>
        <p:nvSpPr>
          <p:cNvPr id="10" name="Flowchart: Connector 9">
            <a:extLst>
              <a:ext uri="{FF2B5EF4-FFF2-40B4-BE49-F238E27FC236}">
                <a16:creationId xmlns:a16="http://schemas.microsoft.com/office/drawing/2014/main" id="{6903E9BF-EB5F-4900-A7C3-8046B86C2485}"/>
              </a:ext>
            </a:extLst>
          </p:cNvPr>
          <p:cNvSpPr>
            <a:spLocks noChangeAspect="1"/>
          </p:cNvSpPr>
          <p:nvPr/>
        </p:nvSpPr>
        <p:spPr>
          <a:xfrm>
            <a:off x="5020154" y="1431888"/>
            <a:ext cx="2065048" cy="206525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ea typeface="+mn-lt"/>
              <a:cs typeface="+mn-lt"/>
            </a:endParaRPr>
          </a:p>
          <a:p>
            <a:pPr algn="ctr"/>
            <a:endParaRPr lang="en-SG">
              <a:ea typeface="+mn-lt"/>
              <a:cs typeface="+mn-lt"/>
            </a:endParaRPr>
          </a:p>
          <a:p>
            <a:pPr algn="ctr"/>
            <a:endParaRPr lang="en-SG"/>
          </a:p>
          <a:p>
            <a:pPr algn="ctr"/>
            <a:r>
              <a:rPr lang="en-SG"/>
              <a:t>Exploratory Data Analysis</a:t>
            </a:r>
          </a:p>
        </p:txBody>
      </p:sp>
      <p:sp>
        <p:nvSpPr>
          <p:cNvPr id="11" name="Flowchart: Connector 10">
            <a:extLst>
              <a:ext uri="{FF2B5EF4-FFF2-40B4-BE49-F238E27FC236}">
                <a16:creationId xmlns:a16="http://schemas.microsoft.com/office/drawing/2014/main" id="{41409821-5DD4-4CE8-8A23-90E7022670FB}"/>
              </a:ext>
            </a:extLst>
          </p:cNvPr>
          <p:cNvSpPr>
            <a:spLocks noChangeAspect="1"/>
          </p:cNvSpPr>
          <p:nvPr/>
        </p:nvSpPr>
        <p:spPr>
          <a:xfrm>
            <a:off x="7328644" y="1462716"/>
            <a:ext cx="2065105" cy="206525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ea typeface="+mn-lt"/>
              <a:cs typeface="+mn-lt"/>
            </a:endParaRPr>
          </a:p>
          <a:p>
            <a:pPr algn="ctr"/>
            <a:endParaRPr lang="en-SG">
              <a:ea typeface="+mn-lt"/>
              <a:cs typeface="+mn-lt"/>
            </a:endParaRPr>
          </a:p>
          <a:p>
            <a:pPr algn="ctr"/>
            <a:r>
              <a:rPr lang="en-SG"/>
              <a:t>Feature Engineering</a:t>
            </a:r>
          </a:p>
        </p:txBody>
      </p:sp>
      <p:pic>
        <p:nvPicPr>
          <p:cNvPr id="13" name="Graphic 12" descr="Bar chart">
            <a:extLst>
              <a:ext uri="{FF2B5EF4-FFF2-40B4-BE49-F238E27FC236}">
                <a16:creationId xmlns:a16="http://schemas.microsoft.com/office/drawing/2014/main" id="{9D9C893F-03E6-48D6-942D-542F03E4CD7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57454" y="1781427"/>
            <a:ext cx="677092" cy="677092"/>
          </a:xfrm>
          <a:prstGeom prst="rect">
            <a:avLst/>
          </a:prstGeom>
        </p:spPr>
      </p:pic>
      <p:sp>
        <p:nvSpPr>
          <p:cNvPr id="17" name="Flowchart: Connector 16">
            <a:extLst>
              <a:ext uri="{FF2B5EF4-FFF2-40B4-BE49-F238E27FC236}">
                <a16:creationId xmlns:a16="http://schemas.microsoft.com/office/drawing/2014/main" id="{A342E76F-CBEB-45ED-8735-A83C6AD5D2B1}"/>
              </a:ext>
            </a:extLst>
          </p:cNvPr>
          <p:cNvSpPr>
            <a:spLocks noChangeAspect="1"/>
          </p:cNvSpPr>
          <p:nvPr/>
        </p:nvSpPr>
        <p:spPr>
          <a:xfrm>
            <a:off x="9629535" y="1431888"/>
            <a:ext cx="2065105" cy="206525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ea typeface="+mn-lt"/>
              <a:cs typeface="+mn-lt"/>
            </a:endParaRPr>
          </a:p>
          <a:p>
            <a:pPr algn="ctr"/>
            <a:endParaRPr lang="en-SG"/>
          </a:p>
          <a:p>
            <a:pPr algn="ctr"/>
            <a:endParaRPr lang="en-SG"/>
          </a:p>
          <a:p>
            <a:pPr algn="ctr"/>
            <a:r>
              <a:rPr lang="en-SG"/>
              <a:t>Machine Learning Modelling</a:t>
            </a:r>
          </a:p>
          <a:p>
            <a:pPr algn="ctr"/>
            <a:endParaRPr lang="en-SG">
              <a:ea typeface="+mn-lt"/>
              <a:cs typeface="+mn-lt"/>
            </a:endParaRPr>
          </a:p>
        </p:txBody>
      </p:sp>
      <p:pic>
        <p:nvPicPr>
          <p:cNvPr id="21" name="Graphic 20" descr="Gears">
            <a:extLst>
              <a:ext uri="{FF2B5EF4-FFF2-40B4-BE49-F238E27FC236}">
                <a16:creationId xmlns:a16="http://schemas.microsoft.com/office/drawing/2014/main" id="{270AFCE7-EE99-4D66-AE35-2E7503A4611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92971" y="1779984"/>
            <a:ext cx="736450" cy="736450"/>
          </a:xfrm>
          <a:prstGeom prst="rect">
            <a:avLst/>
          </a:prstGeom>
        </p:spPr>
      </p:pic>
      <p:pic>
        <p:nvPicPr>
          <p:cNvPr id="23" name="Graphic 22" descr="Arrow circle">
            <a:extLst>
              <a:ext uri="{FF2B5EF4-FFF2-40B4-BE49-F238E27FC236}">
                <a16:creationId xmlns:a16="http://schemas.microsoft.com/office/drawing/2014/main" id="{AEC9587C-3F93-4045-ACEB-A1A4AFB0FC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09881" y="1577802"/>
            <a:ext cx="839954" cy="839954"/>
          </a:xfrm>
          <a:prstGeom prst="rect">
            <a:avLst/>
          </a:prstGeom>
        </p:spPr>
      </p:pic>
      <p:pic>
        <p:nvPicPr>
          <p:cNvPr id="29" name="Graphic 28" descr="Single gear">
            <a:extLst>
              <a:ext uri="{FF2B5EF4-FFF2-40B4-BE49-F238E27FC236}">
                <a16:creationId xmlns:a16="http://schemas.microsoft.com/office/drawing/2014/main" id="{4F6899D5-3109-4938-82DA-041DEA46D7E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470193" y="1801269"/>
            <a:ext cx="363124" cy="363124"/>
          </a:xfrm>
          <a:prstGeom prst="rect">
            <a:avLst/>
          </a:prstGeom>
        </p:spPr>
      </p:pic>
      <p:sp>
        <p:nvSpPr>
          <p:cNvPr id="32" name="TextBox 31">
            <a:extLst>
              <a:ext uri="{FF2B5EF4-FFF2-40B4-BE49-F238E27FC236}">
                <a16:creationId xmlns:a16="http://schemas.microsoft.com/office/drawing/2014/main" id="{19924F50-9976-41A7-88C1-641F1509CEE0}"/>
              </a:ext>
            </a:extLst>
          </p:cNvPr>
          <p:cNvSpPr txBox="1"/>
          <p:nvPr/>
        </p:nvSpPr>
        <p:spPr>
          <a:xfrm>
            <a:off x="365314" y="3809643"/>
            <a:ext cx="2162325" cy="12526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SG" sz="1600">
                <a:solidFill>
                  <a:srgbClr val="002060"/>
                </a:solidFill>
              </a:rPr>
              <a:t>Industry Research</a:t>
            </a:r>
          </a:p>
          <a:p>
            <a:pPr marL="285750" indent="-285750">
              <a:buFont typeface="Arial" panose="020B0604020202020204" pitchFamily="34" charset="0"/>
              <a:buChar char="•"/>
            </a:pPr>
            <a:r>
              <a:rPr lang="en-SG" sz="1600">
                <a:solidFill>
                  <a:srgbClr val="002060"/>
                </a:solidFill>
              </a:rPr>
              <a:t>Formulate the problem</a:t>
            </a:r>
          </a:p>
          <a:p>
            <a:pPr marL="285750" indent="-285750">
              <a:buFont typeface="Arial" panose="020B0604020202020204" pitchFamily="34" charset="0"/>
              <a:buChar char="•"/>
            </a:pPr>
            <a:r>
              <a:rPr lang="en-SG" sz="1600">
                <a:solidFill>
                  <a:srgbClr val="002060"/>
                </a:solidFill>
              </a:rPr>
              <a:t>Hypothesis Framing</a:t>
            </a:r>
          </a:p>
        </p:txBody>
      </p:sp>
      <p:sp>
        <p:nvSpPr>
          <p:cNvPr id="33" name="TextBox 32">
            <a:extLst>
              <a:ext uri="{FF2B5EF4-FFF2-40B4-BE49-F238E27FC236}">
                <a16:creationId xmlns:a16="http://schemas.microsoft.com/office/drawing/2014/main" id="{C9B7F08E-D629-47BA-B28C-40CF22219379}"/>
              </a:ext>
            </a:extLst>
          </p:cNvPr>
          <p:cNvSpPr txBox="1"/>
          <p:nvPr/>
        </p:nvSpPr>
        <p:spPr>
          <a:xfrm>
            <a:off x="2662446" y="3807731"/>
            <a:ext cx="2303413" cy="12526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SG" sz="1600">
                <a:solidFill>
                  <a:srgbClr val="002060"/>
                </a:solidFill>
              </a:rPr>
              <a:t>Reading/cleaning of data</a:t>
            </a:r>
          </a:p>
          <a:p>
            <a:pPr marL="285750" indent="-285750">
              <a:buFont typeface="Arial" panose="020B0604020202020204" pitchFamily="34" charset="0"/>
              <a:buChar char="•"/>
            </a:pPr>
            <a:r>
              <a:rPr lang="en-SG" sz="1600">
                <a:solidFill>
                  <a:srgbClr val="002060"/>
                </a:solidFill>
              </a:rPr>
              <a:t>Replace/removal of null values</a:t>
            </a:r>
          </a:p>
          <a:p>
            <a:pPr marL="285750" indent="-285750">
              <a:buFont typeface="Arial" panose="020B0604020202020204" pitchFamily="34" charset="0"/>
              <a:buChar char="•"/>
            </a:pPr>
            <a:r>
              <a:rPr lang="en-SG" sz="1600">
                <a:solidFill>
                  <a:srgbClr val="002060"/>
                </a:solidFill>
              </a:rPr>
              <a:t>Merging of dataset</a:t>
            </a:r>
          </a:p>
        </p:txBody>
      </p:sp>
      <p:sp>
        <p:nvSpPr>
          <p:cNvPr id="34" name="TextBox 33">
            <a:extLst>
              <a:ext uri="{FF2B5EF4-FFF2-40B4-BE49-F238E27FC236}">
                <a16:creationId xmlns:a16="http://schemas.microsoft.com/office/drawing/2014/main" id="{06D19D76-F677-4AAA-AA6A-7CA4B9DAF436}"/>
              </a:ext>
            </a:extLst>
          </p:cNvPr>
          <p:cNvSpPr txBox="1"/>
          <p:nvPr/>
        </p:nvSpPr>
        <p:spPr>
          <a:xfrm>
            <a:off x="4981944" y="3835328"/>
            <a:ext cx="2235397" cy="19412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SG" sz="1600">
                <a:solidFill>
                  <a:srgbClr val="002060"/>
                </a:solidFill>
              </a:rPr>
              <a:t>Understanding of data</a:t>
            </a:r>
          </a:p>
          <a:p>
            <a:pPr marL="285750" indent="-285750">
              <a:buFont typeface="Arial" panose="020B0604020202020204" pitchFamily="34" charset="0"/>
              <a:buChar char="•"/>
            </a:pPr>
            <a:r>
              <a:rPr lang="en-SG" sz="1600">
                <a:solidFill>
                  <a:srgbClr val="002060"/>
                </a:solidFill>
              </a:rPr>
              <a:t>Checking of relationship between variables</a:t>
            </a:r>
          </a:p>
          <a:p>
            <a:pPr marL="285750" indent="-285750">
              <a:buFont typeface="Arial" panose="020B0604020202020204" pitchFamily="34" charset="0"/>
              <a:buChar char="•"/>
            </a:pPr>
            <a:r>
              <a:rPr lang="en-SG" sz="1600">
                <a:solidFill>
                  <a:srgbClr val="002060"/>
                </a:solidFill>
              </a:rPr>
              <a:t>Visualising Data</a:t>
            </a:r>
          </a:p>
          <a:p>
            <a:pPr marL="285750" indent="-285750">
              <a:buFont typeface="Arial" panose="020B0604020202020204" pitchFamily="34" charset="0"/>
              <a:buChar char="•"/>
            </a:pPr>
            <a:r>
              <a:rPr lang="en-SG" sz="1600">
                <a:solidFill>
                  <a:srgbClr val="002060"/>
                </a:solidFill>
              </a:rPr>
              <a:t>Hypothesis testing</a:t>
            </a:r>
          </a:p>
          <a:p>
            <a:pPr marL="285750" indent="-285750">
              <a:buFont typeface="Arial" panose="020B0604020202020204" pitchFamily="34" charset="0"/>
              <a:buChar char="•"/>
            </a:pPr>
            <a:endParaRPr lang="en-SG" sz="1600">
              <a:solidFill>
                <a:srgbClr val="002060"/>
              </a:solidFill>
            </a:endParaRPr>
          </a:p>
        </p:txBody>
      </p:sp>
      <p:sp>
        <p:nvSpPr>
          <p:cNvPr id="35" name="TextBox 34">
            <a:extLst>
              <a:ext uri="{FF2B5EF4-FFF2-40B4-BE49-F238E27FC236}">
                <a16:creationId xmlns:a16="http://schemas.microsoft.com/office/drawing/2014/main" id="{E20AAA99-395B-4009-AF86-AC6B211B7758}"/>
              </a:ext>
            </a:extLst>
          </p:cNvPr>
          <p:cNvSpPr txBox="1"/>
          <p:nvPr/>
        </p:nvSpPr>
        <p:spPr>
          <a:xfrm>
            <a:off x="7392915" y="3864593"/>
            <a:ext cx="2179448" cy="14725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SG" sz="1600">
                <a:solidFill>
                  <a:srgbClr val="002060"/>
                </a:solidFill>
              </a:rPr>
              <a:t>Feature selection</a:t>
            </a:r>
          </a:p>
          <a:p>
            <a:pPr marL="285750" indent="-285750">
              <a:buFont typeface="Arial" panose="020B0604020202020204" pitchFamily="34" charset="0"/>
              <a:buChar char="•"/>
            </a:pPr>
            <a:r>
              <a:rPr lang="en-SG" sz="1600">
                <a:solidFill>
                  <a:srgbClr val="002060"/>
                </a:solidFill>
              </a:rPr>
              <a:t>Create new features</a:t>
            </a:r>
          </a:p>
          <a:p>
            <a:pPr marL="285750" indent="-285750">
              <a:buFont typeface="Arial" panose="020B0604020202020204" pitchFamily="34" charset="0"/>
              <a:buChar char="•"/>
            </a:pPr>
            <a:r>
              <a:rPr lang="en-SG" sz="1600">
                <a:solidFill>
                  <a:srgbClr val="002060"/>
                </a:solidFill>
              </a:rPr>
              <a:t>Eliminate low variance features</a:t>
            </a:r>
          </a:p>
          <a:p>
            <a:pPr marL="285750" indent="-285750">
              <a:buFont typeface="Arial" panose="020B0604020202020204" pitchFamily="34" charset="0"/>
              <a:buChar char="•"/>
            </a:pPr>
            <a:endParaRPr lang="en-SG" sz="1600">
              <a:solidFill>
                <a:srgbClr val="002060"/>
              </a:solidFill>
            </a:endParaRPr>
          </a:p>
        </p:txBody>
      </p:sp>
      <p:sp>
        <p:nvSpPr>
          <p:cNvPr id="37" name="TextBox 36">
            <a:extLst>
              <a:ext uri="{FF2B5EF4-FFF2-40B4-BE49-F238E27FC236}">
                <a16:creationId xmlns:a16="http://schemas.microsoft.com/office/drawing/2014/main" id="{1AA86EF9-D1F2-488E-902B-9C25FAEFDD52}"/>
              </a:ext>
            </a:extLst>
          </p:cNvPr>
          <p:cNvSpPr txBox="1"/>
          <p:nvPr/>
        </p:nvSpPr>
        <p:spPr>
          <a:xfrm>
            <a:off x="9770194" y="3835328"/>
            <a:ext cx="2179448" cy="9452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SG" sz="1600">
                <a:solidFill>
                  <a:srgbClr val="002060"/>
                </a:solidFill>
              </a:rPr>
              <a:t>Model Selection</a:t>
            </a:r>
          </a:p>
          <a:p>
            <a:pPr marL="285750" indent="-285750">
              <a:buFont typeface="Arial" panose="020B0604020202020204" pitchFamily="34" charset="0"/>
              <a:buChar char="•"/>
            </a:pPr>
            <a:r>
              <a:rPr lang="en-SG" sz="1600">
                <a:solidFill>
                  <a:srgbClr val="002060"/>
                </a:solidFill>
              </a:rPr>
              <a:t>Build and test model</a:t>
            </a:r>
          </a:p>
          <a:p>
            <a:pPr marL="285750" indent="-285750">
              <a:buFont typeface="Arial" panose="020B0604020202020204" pitchFamily="34" charset="0"/>
              <a:buChar char="•"/>
            </a:pPr>
            <a:r>
              <a:rPr lang="en-SG" sz="1600">
                <a:solidFill>
                  <a:srgbClr val="002060"/>
                </a:solidFill>
              </a:rPr>
              <a:t>Model prediction</a:t>
            </a:r>
          </a:p>
        </p:txBody>
      </p:sp>
    </p:spTree>
    <p:extLst>
      <p:ext uri="{BB962C8B-B14F-4D97-AF65-F5344CB8AC3E}">
        <p14:creationId xmlns:p14="http://schemas.microsoft.com/office/powerpoint/2010/main" val="416007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AC40630-40AD-4D8B-9600-43918643D123}"/>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0" name="think-cell Slide" r:id="rId6" imgW="351" imgH="351" progId="TCLayout.ActiveDocument.1">
                  <p:embed/>
                </p:oleObj>
              </mc:Choice>
              <mc:Fallback>
                <p:oleObj name="think-cell Slide" r:id="rId6" imgW="351" imgH="351" progId="TCLayout.ActiveDocument.1">
                  <p:embed/>
                  <p:pic>
                    <p:nvPicPr>
                      <p:cNvPr id="9" name="Object 8" hidden="1">
                        <a:extLst>
                          <a:ext uri="{FF2B5EF4-FFF2-40B4-BE49-F238E27FC236}">
                            <a16:creationId xmlns:a16="http://schemas.microsoft.com/office/drawing/2014/main" id="{5AC40630-40AD-4D8B-9600-43918643D1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83" name="Group 82">
            <a:extLst>
              <a:ext uri="{FF2B5EF4-FFF2-40B4-BE49-F238E27FC236}">
                <a16:creationId xmlns:a16="http://schemas.microsoft.com/office/drawing/2014/main" id="{7204B308-BA36-4D56-9C52-FABFCC133194}"/>
              </a:ext>
            </a:extLst>
          </p:cNvPr>
          <p:cNvGrpSpPr/>
          <p:nvPr/>
        </p:nvGrpSpPr>
        <p:grpSpPr>
          <a:xfrm rot="5400000">
            <a:off x="9643828" y="2129964"/>
            <a:ext cx="306171" cy="3818467"/>
            <a:chOff x="5942914" y="2081213"/>
            <a:chExt cx="306171" cy="4079081"/>
          </a:xfrm>
        </p:grpSpPr>
        <p:cxnSp>
          <p:nvCxnSpPr>
            <p:cNvPr id="84" name="Straight Connector 83">
              <a:extLst>
                <a:ext uri="{FF2B5EF4-FFF2-40B4-BE49-F238E27FC236}">
                  <a16:creationId xmlns:a16="http://schemas.microsoft.com/office/drawing/2014/main" id="{8AC8DBC6-2D76-4708-8C31-176DC3ED8C69}"/>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D19B41F0-FD59-4A3E-8C5A-7562B8924930}"/>
                </a:ext>
              </a:extLst>
            </p:cNvPr>
            <p:cNvGrpSpPr/>
            <p:nvPr/>
          </p:nvGrpSpPr>
          <p:grpSpPr>
            <a:xfrm>
              <a:off x="5942914" y="3967299"/>
              <a:ext cx="306171" cy="306910"/>
              <a:chOff x="5937564" y="3833745"/>
              <a:chExt cx="306171" cy="306910"/>
            </a:xfrm>
          </p:grpSpPr>
          <p:sp>
            <p:nvSpPr>
              <p:cNvPr id="86" name="Freeform 94">
                <a:extLst>
                  <a:ext uri="{FF2B5EF4-FFF2-40B4-BE49-F238E27FC236}">
                    <a16:creationId xmlns:a16="http://schemas.microsoft.com/office/drawing/2014/main" id="{2D48EDE9-5353-40B8-B7CD-999BF3F3FEC0}"/>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87" name="Freeform 95">
                <a:extLst>
                  <a:ext uri="{FF2B5EF4-FFF2-40B4-BE49-F238E27FC236}">
                    <a16:creationId xmlns:a16="http://schemas.microsoft.com/office/drawing/2014/main" id="{7A57C118-2E3D-41F6-BBC8-933010304B3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2" name="Title 1"/>
          <p:cNvSpPr>
            <a:spLocks noGrp="1"/>
          </p:cNvSpPr>
          <p:nvPr>
            <p:ph type="title"/>
          </p:nvPr>
        </p:nvSpPr>
        <p:spPr>
          <a:xfrm>
            <a:off x="630000" y="181642"/>
            <a:ext cx="6256800" cy="1163395"/>
          </a:xfrm>
        </p:spPr>
        <p:txBody>
          <a:bodyPr vert="horz"/>
          <a:lstStyle/>
          <a:p>
            <a:r>
              <a:rPr lang="en-US" sz="2800">
                <a:ea typeface="+mj-lt"/>
                <a:cs typeface="+mj-lt"/>
              </a:rPr>
              <a:t>&lt;</a:t>
            </a:r>
            <a:r>
              <a:rPr lang="en-US" sz="2800">
                <a:solidFill>
                  <a:srgbClr val="FF0000"/>
                </a:solidFill>
                <a:ea typeface="+mj-lt"/>
                <a:cs typeface="+mj-lt"/>
              </a:rPr>
              <a:t>Automatic bus deployment system</a:t>
            </a:r>
            <a:r>
              <a:rPr lang="en-US" sz="2800">
                <a:ea typeface="+mj-lt"/>
                <a:cs typeface="+mj-lt"/>
              </a:rPr>
              <a:t>&gt; could</a:t>
            </a:r>
            <a:br>
              <a:rPr lang="en-US" sz="2800">
                <a:ea typeface="+mj-lt"/>
                <a:cs typeface="+mj-lt"/>
              </a:rPr>
            </a:br>
            <a:r>
              <a:rPr lang="en-US" sz="2800">
                <a:ea typeface="+mj-lt"/>
                <a:cs typeface="+mj-lt"/>
              </a:rPr>
              <a:t> </a:t>
            </a:r>
            <a:r>
              <a:rPr lang="en-US" sz="2800">
                <a:solidFill>
                  <a:srgbClr val="FF0000"/>
                </a:solidFill>
                <a:ea typeface="+mj-lt"/>
                <a:cs typeface="+mj-lt"/>
              </a:rPr>
              <a:t>help reduce the crowded bus problem</a:t>
            </a:r>
            <a:endParaRPr lang="en-US">
              <a:solidFill>
                <a:srgbClr val="FF0000"/>
              </a:solidFill>
            </a:endParaRPr>
          </a:p>
        </p:txBody>
      </p:sp>
      <p:sp>
        <p:nvSpPr>
          <p:cNvPr id="43" name="Oval 42">
            <a:extLst>
              <a:ext uri="{FF2B5EF4-FFF2-40B4-BE49-F238E27FC236}">
                <a16:creationId xmlns:a16="http://schemas.microsoft.com/office/drawing/2014/main" id="{E00733D0-6050-4A6A-9B74-F7A02E3BF82B}"/>
              </a:ext>
            </a:extLst>
          </p:cNvPr>
          <p:cNvSpPr/>
          <p:nvPr/>
        </p:nvSpPr>
        <p:spPr>
          <a:xfrm>
            <a:off x="630000" y="1836301"/>
            <a:ext cx="898448" cy="898448"/>
          </a:xfrm>
          <a:prstGeom prst="ellipse">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6" name="Oval 45">
            <a:extLst>
              <a:ext uri="{FF2B5EF4-FFF2-40B4-BE49-F238E27FC236}">
                <a16:creationId xmlns:a16="http://schemas.microsoft.com/office/drawing/2014/main" id="{11EE7A06-B7C8-4624-BA7E-17139EBB8118}"/>
              </a:ext>
            </a:extLst>
          </p:cNvPr>
          <p:cNvSpPr/>
          <p:nvPr/>
        </p:nvSpPr>
        <p:spPr>
          <a:xfrm>
            <a:off x="630000" y="3495243"/>
            <a:ext cx="898448" cy="898448"/>
          </a:xfrm>
          <a:prstGeom prst="ellipse">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7" name="Oval 46">
            <a:extLst>
              <a:ext uri="{FF2B5EF4-FFF2-40B4-BE49-F238E27FC236}">
                <a16:creationId xmlns:a16="http://schemas.microsoft.com/office/drawing/2014/main" id="{F72C6B24-8418-4412-9865-FB9025226B82}"/>
              </a:ext>
            </a:extLst>
          </p:cNvPr>
          <p:cNvSpPr/>
          <p:nvPr/>
        </p:nvSpPr>
        <p:spPr>
          <a:xfrm>
            <a:off x="630000" y="5154184"/>
            <a:ext cx="898448" cy="898448"/>
          </a:xfrm>
          <a:prstGeom prst="ellipse">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48" name="Group 47">
            <a:extLst>
              <a:ext uri="{FF2B5EF4-FFF2-40B4-BE49-F238E27FC236}">
                <a16:creationId xmlns:a16="http://schemas.microsoft.com/office/drawing/2014/main" id="{55C40723-898F-49E1-820A-2D1BDAA53EBF}"/>
              </a:ext>
            </a:extLst>
          </p:cNvPr>
          <p:cNvGrpSpPr>
            <a:grpSpLocks noChangeAspect="1"/>
          </p:cNvGrpSpPr>
          <p:nvPr/>
        </p:nvGrpSpPr>
        <p:grpSpPr>
          <a:xfrm>
            <a:off x="545330" y="1751631"/>
            <a:ext cx="1067787" cy="1067787"/>
            <a:chOff x="5274038" y="2605402"/>
            <a:chExt cx="1645200" cy="1645200"/>
          </a:xfrm>
        </p:grpSpPr>
        <p:sp>
          <p:nvSpPr>
            <p:cNvPr id="49" name="AutoShape 3">
              <a:extLst>
                <a:ext uri="{FF2B5EF4-FFF2-40B4-BE49-F238E27FC236}">
                  <a16:creationId xmlns:a16="http://schemas.microsoft.com/office/drawing/2014/main" id="{3EC76C44-3ACA-419C-959A-B2334743F702}"/>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0" name="Group 49">
              <a:extLst>
                <a:ext uri="{FF2B5EF4-FFF2-40B4-BE49-F238E27FC236}">
                  <a16:creationId xmlns:a16="http://schemas.microsoft.com/office/drawing/2014/main" id="{E487BD5C-7BCC-41D8-BC0C-72EA93E15A9A}"/>
                </a:ext>
              </a:extLst>
            </p:cNvPr>
            <p:cNvGrpSpPr/>
            <p:nvPr/>
          </p:nvGrpSpPr>
          <p:grpSpPr>
            <a:xfrm>
              <a:off x="5577973" y="2880027"/>
              <a:ext cx="1037330" cy="1095951"/>
              <a:chOff x="5577973" y="2880027"/>
              <a:chExt cx="1037330" cy="1095951"/>
            </a:xfrm>
          </p:grpSpPr>
          <p:sp>
            <p:nvSpPr>
              <p:cNvPr id="51" name="Line 5">
                <a:extLst>
                  <a:ext uri="{FF2B5EF4-FFF2-40B4-BE49-F238E27FC236}">
                    <a16:creationId xmlns:a16="http://schemas.microsoft.com/office/drawing/2014/main" id="{55AF2899-16F8-494B-9AA8-F6CCA00BB2B6}"/>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Line 6">
                <a:extLst>
                  <a:ext uri="{FF2B5EF4-FFF2-40B4-BE49-F238E27FC236}">
                    <a16:creationId xmlns:a16="http://schemas.microsoft.com/office/drawing/2014/main" id="{B4EEBB4A-9F58-49D0-A309-6B45737DF758}"/>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2">
                <a:extLst>
                  <a:ext uri="{FF2B5EF4-FFF2-40B4-BE49-F238E27FC236}">
                    <a16:creationId xmlns:a16="http://schemas.microsoft.com/office/drawing/2014/main" id="{878A382E-D2C6-4DC0-85DD-A286F8555DD5}"/>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4">
                <a:extLst>
                  <a:ext uri="{FF2B5EF4-FFF2-40B4-BE49-F238E27FC236}">
                    <a16:creationId xmlns:a16="http://schemas.microsoft.com/office/drawing/2014/main" id="{D3F86C36-F16B-40B7-AF98-D48C2A428B6A}"/>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5" name="Freeform 23">
                <a:extLst>
                  <a:ext uri="{FF2B5EF4-FFF2-40B4-BE49-F238E27FC236}">
                    <a16:creationId xmlns:a16="http://schemas.microsoft.com/office/drawing/2014/main" id="{C11079BC-BA4D-421F-936C-38CBD586BBB7}"/>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57" name="Group 56">
            <a:extLst>
              <a:ext uri="{FF2B5EF4-FFF2-40B4-BE49-F238E27FC236}">
                <a16:creationId xmlns:a16="http://schemas.microsoft.com/office/drawing/2014/main" id="{C3466721-82AA-422B-AF19-FBD3928CDBD1}"/>
              </a:ext>
            </a:extLst>
          </p:cNvPr>
          <p:cNvGrpSpPr>
            <a:grpSpLocks noChangeAspect="1"/>
          </p:cNvGrpSpPr>
          <p:nvPr/>
        </p:nvGrpSpPr>
        <p:grpSpPr>
          <a:xfrm>
            <a:off x="629566" y="3495243"/>
            <a:ext cx="899316" cy="898448"/>
            <a:chOff x="6464300" y="2606675"/>
            <a:chExt cx="1646238" cy="1644650"/>
          </a:xfrm>
        </p:grpSpPr>
        <p:sp>
          <p:nvSpPr>
            <p:cNvPr id="58" name="AutoShape 13">
              <a:extLst>
                <a:ext uri="{FF2B5EF4-FFF2-40B4-BE49-F238E27FC236}">
                  <a16:creationId xmlns:a16="http://schemas.microsoft.com/office/drawing/2014/main" id="{1017E76E-7DDB-476E-A039-011C173CA129}"/>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9" name="Group 58">
              <a:extLst>
                <a:ext uri="{FF2B5EF4-FFF2-40B4-BE49-F238E27FC236}">
                  <a16:creationId xmlns:a16="http://schemas.microsoft.com/office/drawing/2014/main" id="{43B13EE7-3E7B-4C89-A68B-6DAB6B73C5D6}"/>
                </a:ext>
              </a:extLst>
            </p:cNvPr>
            <p:cNvGrpSpPr/>
            <p:nvPr/>
          </p:nvGrpSpPr>
          <p:grpSpPr>
            <a:xfrm>
              <a:off x="6729413" y="3032124"/>
              <a:ext cx="1153373" cy="976314"/>
              <a:chOff x="6729413" y="3032124"/>
              <a:chExt cx="1153373" cy="976314"/>
            </a:xfrm>
          </p:grpSpPr>
          <p:sp>
            <p:nvSpPr>
              <p:cNvPr id="60" name="Freeform 11">
                <a:extLst>
                  <a:ext uri="{FF2B5EF4-FFF2-40B4-BE49-F238E27FC236}">
                    <a16:creationId xmlns:a16="http://schemas.microsoft.com/office/drawing/2014/main" id="{D942C4CF-D40C-4568-B83F-852422A13EB5}"/>
                  </a:ext>
                </a:extLst>
              </p:cNvPr>
              <p:cNvSpPr>
                <a:spLocks/>
              </p:cNvSpPr>
              <p:nvPr/>
            </p:nvSpPr>
            <p:spPr bwMode="auto">
              <a:xfrm>
                <a:off x="7041869" y="3032124"/>
                <a:ext cx="840917" cy="580108"/>
              </a:xfrm>
              <a:custGeom>
                <a:avLst/>
                <a:gdLst>
                  <a:gd name="connsiteX0" fmla="*/ 20275 w 840917"/>
                  <a:gd name="connsiteY0" fmla="*/ 256303 h 580108"/>
                  <a:gd name="connsiteX1" fmla="*/ 200737 w 840917"/>
                  <a:gd name="connsiteY1" fmla="*/ 256303 h 580108"/>
                  <a:gd name="connsiteX2" fmla="*/ 218569 w 840917"/>
                  <a:gd name="connsiteY2" fmla="*/ 265589 h 580108"/>
                  <a:gd name="connsiteX3" fmla="*/ 274919 w 840917"/>
                  <a:gd name="connsiteY3" fmla="*/ 412751 h 580108"/>
                  <a:gd name="connsiteX4" fmla="*/ 159366 w 840917"/>
                  <a:gd name="connsiteY4" fmla="*/ 407036 h 580108"/>
                  <a:gd name="connsiteX5" fmla="*/ 16709 w 840917"/>
                  <a:gd name="connsiteY5" fmla="*/ 264161 h 580108"/>
                  <a:gd name="connsiteX6" fmla="*/ 20275 w 840917"/>
                  <a:gd name="connsiteY6" fmla="*/ 256303 h 580108"/>
                  <a:gd name="connsiteX7" fmla="*/ 651482 w 840917"/>
                  <a:gd name="connsiteY7" fmla="*/ 255588 h 580108"/>
                  <a:gd name="connsiteX8" fmla="*/ 824991 w 840917"/>
                  <a:gd name="connsiteY8" fmla="*/ 256301 h 580108"/>
                  <a:gd name="connsiteX9" fmla="*/ 828561 w 840917"/>
                  <a:gd name="connsiteY9" fmla="*/ 264138 h 580108"/>
                  <a:gd name="connsiteX10" fmla="*/ 514389 w 840917"/>
                  <a:gd name="connsiteY10" fmla="*/ 578338 h 580108"/>
                  <a:gd name="connsiteX11" fmla="*/ 506534 w 840917"/>
                  <a:gd name="connsiteY11" fmla="*/ 574063 h 580108"/>
                  <a:gd name="connsiteX12" fmla="*/ 506534 w 840917"/>
                  <a:gd name="connsiteY12" fmla="*/ 573351 h 580108"/>
                  <a:gd name="connsiteX13" fmla="*/ 617923 w 840917"/>
                  <a:gd name="connsiteY13" fmla="*/ 278387 h 580108"/>
                  <a:gd name="connsiteX14" fmla="*/ 651482 w 840917"/>
                  <a:gd name="connsiteY14" fmla="*/ 255588 h 580108"/>
                  <a:gd name="connsiteX15" fmla="*/ 268809 w 840917"/>
                  <a:gd name="connsiteY15" fmla="*/ 255588 h 580108"/>
                  <a:gd name="connsiteX16" fmla="*/ 574001 w 840917"/>
                  <a:gd name="connsiteY16" fmla="*/ 255588 h 580108"/>
                  <a:gd name="connsiteX17" fmla="*/ 578290 w 840917"/>
                  <a:gd name="connsiteY17" fmla="*/ 262020 h 580108"/>
                  <a:gd name="connsiteX18" fmla="*/ 497525 w 840917"/>
                  <a:gd name="connsiteY18" fmla="*/ 477838 h 580108"/>
                  <a:gd name="connsiteX19" fmla="*/ 405324 w 840917"/>
                  <a:gd name="connsiteY19" fmla="*/ 419238 h 580108"/>
                  <a:gd name="connsiteX20" fmla="*/ 321700 w 840917"/>
                  <a:gd name="connsiteY20" fmla="*/ 414951 h 580108"/>
                  <a:gd name="connsiteX21" fmla="*/ 264520 w 840917"/>
                  <a:gd name="connsiteY21" fmla="*/ 262020 h 580108"/>
                  <a:gd name="connsiteX22" fmla="*/ 268809 w 840917"/>
                  <a:gd name="connsiteY22" fmla="*/ 255588 h 580108"/>
                  <a:gd name="connsiteX23" fmla="*/ 375756 w 840917"/>
                  <a:gd name="connsiteY23" fmla="*/ 1433 h 580108"/>
                  <a:gd name="connsiteX24" fmla="*/ 466182 w 840917"/>
                  <a:gd name="connsiteY24" fmla="*/ 1433 h 580108"/>
                  <a:gd name="connsiteX25" fmla="*/ 486831 w 840917"/>
                  <a:gd name="connsiteY25" fmla="*/ 12176 h 580108"/>
                  <a:gd name="connsiteX26" fmla="*/ 575832 w 840917"/>
                  <a:gd name="connsiteY26" fmla="*/ 205563 h 580108"/>
                  <a:gd name="connsiteX27" fmla="*/ 571560 w 840917"/>
                  <a:gd name="connsiteY27" fmla="*/ 212725 h 580108"/>
                  <a:gd name="connsiteX28" fmla="*/ 271802 w 840917"/>
                  <a:gd name="connsiteY28" fmla="*/ 212725 h 580108"/>
                  <a:gd name="connsiteX29" fmla="*/ 267530 w 840917"/>
                  <a:gd name="connsiteY29" fmla="*/ 205563 h 580108"/>
                  <a:gd name="connsiteX30" fmla="*/ 357244 w 840917"/>
                  <a:gd name="connsiteY30" fmla="*/ 10028 h 580108"/>
                  <a:gd name="connsiteX31" fmla="*/ 375756 w 840917"/>
                  <a:gd name="connsiteY31" fmla="*/ 1433 h 580108"/>
                  <a:gd name="connsiteX32" fmla="*/ 535360 w 840917"/>
                  <a:gd name="connsiteY32" fmla="*/ 0 h 580108"/>
                  <a:gd name="connsiteX33" fmla="*/ 641992 w 840917"/>
                  <a:gd name="connsiteY33" fmla="*/ 1434 h 580108"/>
                  <a:gd name="connsiteX34" fmla="*/ 663461 w 840917"/>
                  <a:gd name="connsiteY34" fmla="*/ 12185 h 580108"/>
                  <a:gd name="connsiteX35" fmla="*/ 840226 w 840917"/>
                  <a:gd name="connsiteY35" fmla="*/ 204278 h 580108"/>
                  <a:gd name="connsiteX36" fmla="*/ 837363 w 840917"/>
                  <a:gd name="connsiteY36" fmla="*/ 212163 h 580108"/>
                  <a:gd name="connsiteX37" fmla="*/ 827344 w 840917"/>
                  <a:gd name="connsiteY37" fmla="*/ 213596 h 580108"/>
                  <a:gd name="connsiteX38" fmla="*/ 646285 w 840917"/>
                  <a:gd name="connsiteY38" fmla="*/ 213596 h 580108"/>
                  <a:gd name="connsiteX39" fmla="*/ 616228 w 840917"/>
                  <a:gd name="connsiteY39" fmla="*/ 194960 h 580108"/>
                  <a:gd name="connsiteX40" fmla="*/ 531066 w 840917"/>
                  <a:gd name="connsiteY40" fmla="*/ 7168 h 580108"/>
                  <a:gd name="connsiteX41" fmla="*/ 535360 w 840917"/>
                  <a:gd name="connsiteY41" fmla="*/ 0 h 580108"/>
                  <a:gd name="connsiteX42" fmla="*/ 308007 w 840917"/>
                  <a:gd name="connsiteY42" fmla="*/ 0 h 580108"/>
                  <a:gd name="connsiteX43" fmla="*/ 312303 w 840917"/>
                  <a:gd name="connsiteY43" fmla="*/ 7163 h 580108"/>
                  <a:gd name="connsiteX44" fmla="*/ 220654 w 840917"/>
                  <a:gd name="connsiteY44" fmla="*/ 202698 h 580108"/>
                  <a:gd name="connsiteX45" fmla="*/ 207050 w 840917"/>
                  <a:gd name="connsiteY45" fmla="*/ 212725 h 580108"/>
                  <a:gd name="connsiteX46" fmla="*/ 5138 w 840917"/>
                  <a:gd name="connsiteY46" fmla="*/ 212725 h 580108"/>
                  <a:gd name="connsiteX47" fmla="*/ 842 w 840917"/>
                  <a:gd name="connsiteY47" fmla="*/ 204846 h 580108"/>
                  <a:gd name="connsiteX48" fmla="*/ 71010 w 840917"/>
                  <a:gd name="connsiteY48" fmla="*/ 128924 h 580108"/>
                  <a:gd name="connsiteX49" fmla="*/ 176978 w 840917"/>
                  <a:gd name="connsiteY49" fmla="*/ 13609 h 580108"/>
                  <a:gd name="connsiteX50" fmla="*/ 200606 w 840917"/>
                  <a:gd name="connsiteY50" fmla="*/ 1433 h 580108"/>
                  <a:gd name="connsiteX51" fmla="*/ 308007 w 840917"/>
                  <a:gd name="connsiteY51" fmla="*/ 0 h 5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40917" h="580108">
                    <a:moveTo>
                      <a:pt x="20275" y="256303"/>
                    </a:moveTo>
                    <a:cubicBezTo>
                      <a:pt x="78051" y="256303"/>
                      <a:pt x="139394" y="255588"/>
                      <a:pt x="200737" y="256303"/>
                    </a:cubicBezTo>
                    <a:cubicBezTo>
                      <a:pt x="206443" y="256303"/>
                      <a:pt x="217142" y="260589"/>
                      <a:pt x="218569" y="265589"/>
                    </a:cubicBezTo>
                    <a:cubicBezTo>
                      <a:pt x="237828" y="314167"/>
                      <a:pt x="255660" y="364173"/>
                      <a:pt x="274919" y="412751"/>
                    </a:cubicBezTo>
                    <a:cubicBezTo>
                      <a:pt x="274919" y="412751"/>
                      <a:pt x="274919" y="412751"/>
                      <a:pt x="159366" y="407036"/>
                    </a:cubicBezTo>
                    <a:cubicBezTo>
                      <a:pt x="112289" y="359173"/>
                      <a:pt x="64499" y="312024"/>
                      <a:pt x="16709" y="264161"/>
                    </a:cubicBezTo>
                    <a:cubicBezTo>
                      <a:pt x="14569" y="261303"/>
                      <a:pt x="15995" y="256303"/>
                      <a:pt x="20275" y="256303"/>
                    </a:cubicBezTo>
                    <a:close/>
                    <a:moveTo>
                      <a:pt x="651482" y="255588"/>
                    </a:moveTo>
                    <a:cubicBezTo>
                      <a:pt x="710032" y="256301"/>
                      <a:pt x="768583" y="256301"/>
                      <a:pt x="824991" y="256301"/>
                    </a:cubicBezTo>
                    <a:cubicBezTo>
                      <a:pt x="829275" y="256301"/>
                      <a:pt x="832131" y="261288"/>
                      <a:pt x="828561" y="264138"/>
                    </a:cubicBezTo>
                    <a:cubicBezTo>
                      <a:pt x="723599" y="368871"/>
                      <a:pt x="618637" y="475030"/>
                      <a:pt x="514389" y="578338"/>
                    </a:cubicBezTo>
                    <a:cubicBezTo>
                      <a:pt x="510818" y="582613"/>
                      <a:pt x="505106" y="578338"/>
                      <a:pt x="506534" y="574063"/>
                    </a:cubicBezTo>
                    <a:cubicBezTo>
                      <a:pt x="506534" y="573351"/>
                      <a:pt x="506534" y="573351"/>
                      <a:pt x="506534" y="573351"/>
                    </a:cubicBezTo>
                    <a:cubicBezTo>
                      <a:pt x="544378" y="475742"/>
                      <a:pt x="581507" y="376708"/>
                      <a:pt x="617923" y="278387"/>
                    </a:cubicBezTo>
                    <a:cubicBezTo>
                      <a:pt x="624349" y="260575"/>
                      <a:pt x="632917" y="255588"/>
                      <a:pt x="651482" y="255588"/>
                    </a:cubicBezTo>
                    <a:close/>
                    <a:moveTo>
                      <a:pt x="268809" y="255588"/>
                    </a:moveTo>
                    <a:cubicBezTo>
                      <a:pt x="268809" y="255588"/>
                      <a:pt x="268809" y="255588"/>
                      <a:pt x="574001" y="255588"/>
                    </a:cubicBezTo>
                    <a:cubicBezTo>
                      <a:pt x="577575" y="255588"/>
                      <a:pt x="579719" y="259161"/>
                      <a:pt x="578290" y="262020"/>
                    </a:cubicBezTo>
                    <a:cubicBezTo>
                      <a:pt x="551130" y="334197"/>
                      <a:pt x="523970" y="406375"/>
                      <a:pt x="497525" y="477838"/>
                    </a:cubicBezTo>
                    <a:cubicBezTo>
                      <a:pt x="479656" y="444965"/>
                      <a:pt x="445349" y="421382"/>
                      <a:pt x="405324" y="419238"/>
                    </a:cubicBezTo>
                    <a:cubicBezTo>
                      <a:pt x="405324" y="419238"/>
                      <a:pt x="405324" y="419238"/>
                      <a:pt x="321700" y="414951"/>
                    </a:cubicBezTo>
                    <a:cubicBezTo>
                      <a:pt x="315982" y="400658"/>
                      <a:pt x="302402" y="362783"/>
                      <a:pt x="264520" y="262020"/>
                    </a:cubicBezTo>
                    <a:cubicBezTo>
                      <a:pt x="263806" y="259161"/>
                      <a:pt x="265235" y="255588"/>
                      <a:pt x="268809" y="255588"/>
                    </a:cubicBezTo>
                    <a:close/>
                    <a:moveTo>
                      <a:pt x="375756" y="1433"/>
                    </a:moveTo>
                    <a:cubicBezTo>
                      <a:pt x="406373" y="0"/>
                      <a:pt x="436278" y="0"/>
                      <a:pt x="466182" y="1433"/>
                    </a:cubicBezTo>
                    <a:cubicBezTo>
                      <a:pt x="472590" y="1433"/>
                      <a:pt x="483270" y="6446"/>
                      <a:pt x="486831" y="12176"/>
                    </a:cubicBezTo>
                    <a:cubicBezTo>
                      <a:pt x="516735" y="75206"/>
                      <a:pt x="544504" y="139668"/>
                      <a:pt x="575832" y="205563"/>
                    </a:cubicBezTo>
                    <a:cubicBezTo>
                      <a:pt x="576544" y="209144"/>
                      <a:pt x="575120" y="212725"/>
                      <a:pt x="571560" y="212725"/>
                    </a:cubicBezTo>
                    <a:cubicBezTo>
                      <a:pt x="571560" y="212725"/>
                      <a:pt x="571560" y="212725"/>
                      <a:pt x="271802" y="212725"/>
                    </a:cubicBezTo>
                    <a:cubicBezTo>
                      <a:pt x="268242" y="212725"/>
                      <a:pt x="265394" y="209144"/>
                      <a:pt x="267530" y="205563"/>
                    </a:cubicBezTo>
                    <a:cubicBezTo>
                      <a:pt x="297435" y="138236"/>
                      <a:pt x="327339" y="73057"/>
                      <a:pt x="357244" y="10028"/>
                    </a:cubicBezTo>
                    <a:cubicBezTo>
                      <a:pt x="360092" y="4298"/>
                      <a:pt x="369348" y="1433"/>
                      <a:pt x="375756" y="1433"/>
                    </a:cubicBezTo>
                    <a:close/>
                    <a:moveTo>
                      <a:pt x="535360" y="0"/>
                    </a:moveTo>
                    <a:cubicBezTo>
                      <a:pt x="573289" y="0"/>
                      <a:pt x="607640" y="0"/>
                      <a:pt x="641992" y="1434"/>
                    </a:cubicBezTo>
                    <a:cubicBezTo>
                      <a:pt x="649148" y="1434"/>
                      <a:pt x="658451" y="6451"/>
                      <a:pt x="663461" y="12185"/>
                    </a:cubicBezTo>
                    <a:cubicBezTo>
                      <a:pt x="722144" y="74544"/>
                      <a:pt x="779396" y="139053"/>
                      <a:pt x="840226" y="204278"/>
                    </a:cubicBezTo>
                    <a:cubicBezTo>
                      <a:pt x="841657" y="206429"/>
                      <a:pt x="840942" y="212163"/>
                      <a:pt x="837363" y="212163"/>
                    </a:cubicBezTo>
                    <a:cubicBezTo>
                      <a:pt x="833069" y="212880"/>
                      <a:pt x="829491" y="213596"/>
                      <a:pt x="827344" y="213596"/>
                    </a:cubicBezTo>
                    <a:cubicBezTo>
                      <a:pt x="766514" y="213596"/>
                      <a:pt x="706400" y="212880"/>
                      <a:pt x="646285" y="213596"/>
                    </a:cubicBezTo>
                    <a:cubicBezTo>
                      <a:pt x="630541" y="214313"/>
                      <a:pt x="621953" y="209296"/>
                      <a:pt x="616228" y="194960"/>
                    </a:cubicBezTo>
                    <a:cubicBezTo>
                      <a:pt x="588318" y="134035"/>
                      <a:pt x="560408" y="72393"/>
                      <a:pt x="531066" y="7168"/>
                    </a:cubicBezTo>
                    <a:cubicBezTo>
                      <a:pt x="528919" y="4301"/>
                      <a:pt x="531782" y="0"/>
                      <a:pt x="535360" y="0"/>
                    </a:cubicBezTo>
                    <a:close/>
                    <a:moveTo>
                      <a:pt x="308007" y="0"/>
                    </a:moveTo>
                    <a:cubicBezTo>
                      <a:pt x="310871" y="0"/>
                      <a:pt x="313019" y="4298"/>
                      <a:pt x="312303" y="7163"/>
                    </a:cubicBezTo>
                    <a:cubicBezTo>
                      <a:pt x="280083" y="75206"/>
                      <a:pt x="250727" y="138952"/>
                      <a:pt x="220654" y="202698"/>
                    </a:cubicBezTo>
                    <a:cubicBezTo>
                      <a:pt x="219222" y="206995"/>
                      <a:pt x="212062" y="211293"/>
                      <a:pt x="207050" y="212725"/>
                    </a:cubicBezTo>
                    <a:cubicBezTo>
                      <a:pt x="141178" y="212725"/>
                      <a:pt x="76022" y="212725"/>
                      <a:pt x="5138" y="212725"/>
                    </a:cubicBezTo>
                    <a:cubicBezTo>
                      <a:pt x="842" y="212725"/>
                      <a:pt x="-1306" y="206995"/>
                      <a:pt x="842" y="204846"/>
                    </a:cubicBezTo>
                    <a:cubicBezTo>
                      <a:pt x="26618" y="177629"/>
                      <a:pt x="48098" y="153277"/>
                      <a:pt x="71010" y="128924"/>
                    </a:cubicBezTo>
                    <a:cubicBezTo>
                      <a:pt x="106094" y="89531"/>
                      <a:pt x="140462" y="51570"/>
                      <a:pt x="176978" y="13609"/>
                    </a:cubicBezTo>
                    <a:cubicBezTo>
                      <a:pt x="182706" y="7879"/>
                      <a:pt x="192014" y="1433"/>
                      <a:pt x="200606" y="1433"/>
                    </a:cubicBezTo>
                    <a:cubicBezTo>
                      <a:pt x="234259" y="0"/>
                      <a:pt x="268627" y="0"/>
                      <a:pt x="30800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61" name="Freeform 12">
                <a:extLst>
                  <a:ext uri="{FF2B5EF4-FFF2-40B4-BE49-F238E27FC236}">
                    <a16:creationId xmlns:a16="http://schemas.microsoft.com/office/drawing/2014/main" id="{CF171BE9-69E1-4D35-9DAC-447B74056236}"/>
                  </a:ext>
                </a:extLst>
              </p:cNvPr>
              <p:cNvSpPr>
                <a:spLocks/>
              </p:cNvSpPr>
              <p:nvPr/>
            </p:nvSpPr>
            <p:spPr bwMode="auto">
              <a:xfrm>
                <a:off x="6729413" y="3467100"/>
                <a:ext cx="1123838" cy="541338"/>
              </a:xfrm>
              <a:custGeom>
                <a:avLst/>
                <a:gdLst>
                  <a:gd name="connsiteX0" fmla="*/ 409739 w 1123838"/>
                  <a:gd name="connsiteY0" fmla="*/ 31588 h 541338"/>
                  <a:gd name="connsiteX1" fmla="*/ 326138 w 1123838"/>
                  <a:gd name="connsiteY1" fmla="*/ 51530 h 541338"/>
                  <a:gd name="connsiteX2" fmla="*/ 31750 w 1123838"/>
                  <a:gd name="connsiteY2" fmla="*/ 218189 h 541338"/>
                  <a:gd name="connsiteX3" fmla="*/ 31750 w 1123838"/>
                  <a:gd name="connsiteY3" fmla="*/ 501651 h 541338"/>
                  <a:gd name="connsiteX4" fmla="*/ 368296 w 1123838"/>
                  <a:gd name="connsiteY4" fmla="*/ 372028 h 541338"/>
                  <a:gd name="connsiteX5" fmla="*/ 419028 w 1123838"/>
                  <a:gd name="connsiteY5" fmla="*/ 364193 h 541338"/>
                  <a:gd name="connsiteX6" fmla="*/ 568366 w 1123838"/>
                  <a:gd name="connsiteY6" fmla="*/ 374876 h 541338"/>
                  <a:gd name="connsiteX7" fmla="*/ 797017 w 1123838"/>
                  <a:gd name="connsiteY7" fmla="*/ 348524 h 541338"/>
                  <a:gd name="connsiteX8" fmla="*/ 1047818 w 1123838"/>
                  <a:gd name="connsiteY8" fmla="*/ 182578 h 541338"/>
                  <a:gd name="connsiteX9" fmla="*/ 1079972 w 1123838"/>
                  <a:gd name="connsiteY9" fmla="*/ 145542 h 541338"/>
                  <a:gd name="connsiteX10" fmla="*/ 1074971 w 1123838"/>
                  <a:gd name="connsiteY10" fmla="*/ 71472 h 541338"/>
                  <a:gd name="connsiteX11" fmla="*/ 1036386 w 1123838"/>
                  <a:gd name="connsiteY11" fmla="*/ 57940 h 541338"/>
                  <a:gd name="connsiteX12" fmla="*/ 999230 w 1123838"/>
                  <a:gd name="connsiteY12" fmla="*/ 75745 h 541338"/>
                  <a:gd name="connsiteX13" fmla="*/ 951356 w 1123838"/>
                  <a:gd name="connsiteY13" fmla="*/ 129161 h 541338"/>
                  <a:gd name="connsiteX14" fmla="*/ 805591 w 1123838"/>
                  <a:gd name="connsiteY14" fmla="*/ 220325 h 541338"/>
                  <a:gd name="connsiteX15" fmla="*/ 608380 w 1123838"/>
                  <a:gd name="connsiteY15" fmla="*/ 209642 h 541338"/>
                  <a:gd name="connsiteX16" fmla="*/ 553360 w 1123838"/>
                  <a:gd name="connsiteY16" fmla="*/ 187563 h 541338"/>
                  <a:gd name="connsiteX17" fmla="*/ 544071 w 1123838"/>
                  <a:gd name="connsiteY17" fmla="*/ 171182 h 541338"/>
                  <a:gd name="connsiteX18" fmla="*/ 557648 w 1123838"/>
                  <a:gd name="connsiteY18" fmla="*/ 157650 h 541338"/>
                  <a:gd name="connsiteX19" fmla="*/ 715560 w 1123838"/>
                  <a:gd name="connsiteY19" fmla="*/ 141981 h 541338"/>
                  <a:gd name="connsiteX20" fmla="*/ 759146 w 1123838"/>
                  <a:gd name="connsiteY20" fmla="*/ 94975 h 541338"/>
                  <a:gd name="connsiteX21" fmla="*/ 713416 w 1123838"/>
                  <a:gd name="connsiteY21" fmla="*/ 47256 h 541338"/>
                  <a:gd name="connsiteX22" fmla="*/ 409739 w 1123838"/>
                  <a:gd name="connsiteY22" fmla="*/ 31588 h 541338"/>
                  <a:gd name="connsiteX23" fmla="*/ 390213 w 1123838"/>
                  <a:gd name="connsiteY23" fmla="*/ 0 h 541338"/>
                  <a:gd name="connsiteX24" fmla="*/ 393072 w 1123838"/>
                  <a:gd name="connsiteY24" fmla="*/ 0 h 541338"/>
                  <a:gd name="connsiteX25" fmla="*/ 397360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4708 w 1123838"/>
                  <a:gd name="connsiteY50" fmla="*/ 195682 h 541338"/>
                  <a:gd name="connsiteX51" fmla="*/ 775423 w 1123838"/>
                  <a:gd name="connsiteY51" fmla="*/ 195682 h 541338"/>
                  <a:gd name="connsiteX52" fmla="*/ 785428 w 1123838"/>
                  <a:gd name="connsiteY52" fmla="*/ 193539 h 541338"/>
                  <a:gd name="connsiteX53" fmla="*/ 786858 w 1123838"/>
                  <a:gd name="connsiteY53" fmla="*/ 192825 h 541338"/>
                  <a:gd name="connsiteX54" fmla="*/ 796863 w 1123838"/>
                  <a:gd name="connsiteY54" fmla="*/ 190683 h 541338"/>
                  <a:gd name="connsiteX55" fmla="*/ 826880 w 1123838"/>
                  <a:gd name="connsiteY55" fmla="*/ 179970 h 541338"/>
                  <a:gd name="connsiteX56" fmla="*/ 909782 w 1123838"/>
                  <a:gd name="connsiteY56" fmla="*/ 127122 h 541338"/>
                  <a:gd name="connsiteX57" fmla="*/ 928363 w 1123838"/>
                  <a:gd name="connsiteY57" fmla="*/ 108553 h 541338"/>
                  <a:gd name="connsiteX58" fmla="*/ 975532 w 1123838"/>
                  <a:gd name="connsiteY58" fmla="*/ 54991 h 541338"/>
                  <a:gd name="connsiteX59" fmla="*/ 978391 w 1123838"/>
                  <a:gd name="connsiteY59" fmla="*/ 51420 h 541338"/>
                  <a:gd name="connsiteX60" fmla="*/ 979105 w 1123838"/>
                  <a:gd name="connsiteY60" fmla="*/ 51420 h 541338"/>
                  <a:gd name="connsiteX61" fmla="*/ 1034135 w 1123838"/>
                  <a:gd name="connsiteY61" fmla="*/ 26424 h 541338"/>
                  <a:gd name="connsiteX62" fmla="*/ 1034850 w 1123838"/>
                  <a:gd name="connsiteY62" fmla="*/ 26424 h 541338"/>
                  <a:gd name="connsiteX63" fmla="*/ 1039138 w 1123838"/>
                  <a:gd name="connsiteY63" fmla="*/ 26424 h 541338"/>
                  <a:gd name="connsiteX64" fmla="*/ 1040567 w 1123838"/>
                  <a:gd name="connsiteY64" fmla="*/ 26424 h 541338"/>
                  <a:gd name="connsiteX65" fmla="*/ 1079875 w 1123838"/>
                  <a:gd name="connsiteY65" fmla="*/ 37137 h 541338"/>
                  <a:gd name="connsiteX66" fmla="*/ 1083448 w 1123838"/>
                  <a:gd name="connsiteY66" fmla="*/ 39279 h 541338"/>
                  <a:gd name="connsiteX67" fmla="*/ 1086307 w 1123838"/>
                  <a:gd name="connsiteY67" fmla="*/ 40708 h 541338"/>
                  <a:gd name="connsiteX68" fmla="*/ 1087021 w 1123838"/>
                  <a:gd name="connsiteY68" fmla="*/ 41422 h 541338"/>
                  <a:gd name="connsiteX69" fmla="*/ 1089880 w 1123838"/>
                  <a:gd name="connsiteY69" fmla="*/ 43564 h 541338"/>
                  <a:gd name="connsiteX70" fmla="*/ 1090595 w 1123838"/>
                  <a:gd name="connsiteY70" fmla="*/ 44278 h 541338"/>
                  <a:gd name="connsiteX71" fmla="*/ 1092739 w 1123838"/>
                  <a:gd name="connsiteY71" fmla="*/ 45707 h 541338"/>
                  <a:gd name="connsiteX72" fmla="*/ 1095597 w 1123838"/>
                  <a:gd name="connsiteY72" fmla="*/ 47849 h 541338"/>
                  <a:gd name="connsiteX73" fmla="*/ 1095597 w 1123838"/>
                  <a:gd name="connsiteY73" fmla="*/ 48563 h 541338"/>
                  <a:gd name="connsiteX74" fmla="*/ 1103459 w 1123838"/>
                  <a:gd name="connsiteY74" fmla="*/ 165687 h 541338"/>
                  <a:gd name="connsiteX75" fmla="*/ 1072013 w 1123838"/>
                  <a:gd name="connsiteY75" fmla="*/ 203538 h 541338"/>
                  <a:gd name="connsiteX76" fmla="*/ 966241 w 1123838"/>
                  <a:gd name="connsiteY76" fmla="*/ 299950 h 541338"/>
                  <a:gd name="connsiteX77" fmla="*/ 956950 w 1123838"/>
                  <a:gd name="connsiteY77" fmla="*/ 306377 h 541338"/>
                  <a:gd name="connsiteX78" fmla="*/ 948374 w 1123838"/>
                  <a:gd name="connsiteY78" fmla="*/ 312091 h 541338"/>
                  <a:gd name="connsiteX79" fmla="*/ 806154 w 1123838"/>
                  <a:gd name="connsiteY79" fmla="*/ 379222 h 541338"/>
                  <a:gd name="connsiteX80" fmla="*/ 792575 w 1123838"/>
                  <a:gd name="connsiteY80" fmla="*/ 383507 h 541338"/>
                  <a:gd name="connsiteX81" fmla="*/ 788287 w 1123838"/>
                  <a:gd name="connsiteY81" fmla="*/ 384222 h 541338"/>
                  <a:gd name="connsiteX82" fmla="*/ 779711 w 1123838"/>
                  <a:gd name="connsiteY82" fmla="*/ 387078 h 541338"/>
                  <a:gd name="connsiteX83" fmla="*/ 773994 w 1123838"/>
                  <a:gd name="connsiteY83" fmla="*/ 388507 h 541338"/>
                  <a:gd name="connsiteX84" fmla="*/ 766132 w 1123838"/>
                  <a:gd name="connsiteY84" fmla="*/ 389935 h 541338"/>
                  <a:gd name="connsiteX85" fmla="*/ 759700 w 1123838"/>
                  <a:gd name="connsiteY85" fmla="*/ 392077 h 541338"/>
                  <a:gd name="connsiteX86" fmla="*/ 753983 w 1123838"/>
                  <a:gd name="connsiteY86" fmla="*/ 392792 h 541338"/>
                  <a:gd name="connsiteX87" fmla="*/ 723966 w 1123838"/>
                  <a:gd name="connsiteY87" fmla="*/ 399219 h 541338"/>
                  <a:gd name="connsiteX88" fmla="*/ 721822 w 1123838"/>
                  <a:gd name="connsiteY88" fmla="*/ 399219 h 541338"/>
                  <a:gd name="connsiteX89" fmla="*/ 711102 w 1123838"/>
                  <a:gd name="connsiteY89" fmla="*/ 401362 h 541338"/>
                  <a:gd name="connsiteX90" fmla="*/ 709673 w 1123838"/>
                  <a:gd name="connsiteY90" fmla="*/ 401362 h 541338"/>
                  <a:gd name="connsiteX91" fmla="*/ 650355 w 1123838"/>
                  <a:gd name="connsiteY91" fmla="*/ 407789 h 541338"/>
                  <a:gd name="connsiteX92" fmla="*/ 648211 w 1123838"/>
                  <a:gd name="connsiteY92" fmla="*/ 407789 h 541338"/>
                  <a:gd name="connsiteX93" fmla="*/ 637491 w 1123838"/>
                  <a:gd name="connsiteY93" fmla="*/ 408503 h 541338"/>
                  <a:gd name="connsiteX94" fmla="*/ 635347 w 1123838"/>
                  <a:gd name="connsiteY94" fmla="*/ 408503 h 541338"/>
                  <a:gd name="connsiteX95" fmla="*/ 621053 w 1123838"/>
                  <a:gd name="connsiteY95" fmla="*/ 408503 h 541338"/>
                  <a:gd name="connsiteX96" fmla="*/ 619624 w 1123838"/>
                  <a:gd name="connsiteY96" fmla="*/ 408503 h 541338"/>
                  <a:gd name="connsiteX97" fmla="*/ 612477 w 1123838"/>
                  <a:gd name="connsiteY97" fmla="*/ 408503 h 541338"/>
                  <a:gd name="connsiteX98" fmla="*/ 606045 w 1123838"/>
                  <a:gd name="connsiteY98" fmla="*/ 408503 h 541338"/>
                  <a:gd name="connsiteX99" fmla="*/ 598898 w 1123838"/>
                  <a:gd name="connsiteY99" fmla="*/ 408503 h 541338"/>
                  <a:gd name="connsiteX100" fmla="*/ 592466 w 1123838"/>
                  <a:gd name="connsiteY100" fmla="*/ 408503 h 541338"/>
                  <a:gd name="connsiteX101" fmla="*/ 584605 w 1123838"/>
                  <a:gd name="connsiteY101" fmla="*/ 407789 h 541338"/>
                  <a:gd name="connsiteX102" fmla="*/ 578887 w 1123838"/>
                  <a:gd name="connsiteY102" fmla="*/ 407789 h 541338"/>
                  <a:gd name="connsiteX103" fmla="*/ 566738 w 1123838"/>
                  <a:gd name="connsiteY103" fmla="*/ 407075 h 541338"/>
                  <a:gd name="connsiteX104" fmla="*/ 566023 w 1123838"/>
                  <a:gd name="connsiteY104" fmla="*/ 407075 h 541338"/>
                  <a:gd name="connsiteX105" fmla="*/ 485265 w 1123838"/>
                  <a:gd name="connsiteY105" fmla="*/ 401362 h 541338"/>
                  <a:gd name="connsiteX106" fmla="*/ 416656 w 1123838"/>
                  <a:gd name="connsiteY106" fmla="*/ 396362 h 541338"/>
                  <a:gd name="connsiteX107" fmla="*/ 410939 w 1123838"/>
                  <a:gd name="connsiteY107" fmla="*/ 396362 h 541338"/>
                  <a:gd name="connsiteX108" fmla="*/ 407365 w 1123838"/>
                  <a:gd name="connsiteY108" fmla="*/ 396362 h 541338"/>
                  <a:gd name="connsiteX109" fmla="*/ 393072 w 1123838"/>
                  <a:gd name="connsiteY109" fmla="*/ 397791 h 541338"/>
                  <a:gd name="connsiteX110" fmla="*/ 388784 w 1123838"/>
                  <a:gd name="connsiteY110" fmla="*/ 398505 h 541338"/>
                  <a:gd name="connsiteX111" fmla="*/ 388784 w 1123838"/>
                  <a:gd name="connsiteY111" fmla="*/ 399219 h 541338"/>
                  <a:gd name="connsiteX112" fmla="*/ 384496 w 1123838"/>
                  <a:gd name="connsiteY112" fmla="*/ 399933 h 541338"/>
                  <a:gd name="connsiteX113" fmla="*/ 383781 w 1123838"/>
                  <a:gd name="connsiteY113" fmla="*/ 400647 h 541338"/>
                  <a:gd name="connsiteX114" fmla="*/ 379493 w 1123838"/>
                  <a:gd name="connsiteY114" fmla="*/ 402076 h 541338"/>
                  <a:gd name="connsiteX115" fmla="*/ 21441 w 1123838"/>
                  <a:gd name="connsiteY115" fmla="*/ 540624 h 541338"/>
                  <a:gd name="connsiteX116" fmla="*/ 15723 w 1123838"/>
                  <a:gd name="connsiteY116" fmla="*/ 541338 h 541338"/>
                  <a:gd name="connsiteX117" fmla="*/ 7147 w 1123838"/>
                  <a:gd name="connsiteY117" fmla="*/ 538481 h 541338"/>
                  <a:gd name="connsiteX118" fmla="*/ 0 w 1123838"/>
                  <a:gd name="connsiteY118" fmla="*/ 525626 h 541338"/>
                  <a:gd name="connsiteX119" fmla="*/ 0 w 1123838"/>
                  <a:gd name="connsiteY119" fmla="*/ 209251 h 541338"/>
                  <a:gd name="connsiteX120" fmla="*/ 7862 w 1123838"/>
                  <a:gd name="connsiteY120" fmla="*/ 195682 h 541338"/>
                  <a:gd name="connsiteX121" fmla="*/ 310169 w 1123838"/>
                  <a:gd name="connsiteY121" fmla="*/ 24282 h 541338"/>
                  <a:gd name="connsiteX122" fmla="*/ 315887 w 1123838"/>
                  <a:gd name="connsiteY122" fmla="*/ 21425 h 541338"/>
                  <a:gd name="connsiteX123" fmla="*/ 318031 w 1123838"/>
                  <a:gd name="connsiteY123" fmla="*/ 19997 h 541338"/>
                  <a:gd name="connsiteX124" fmla="*/ 320889 w 1123838"/>
                  <a:gd name="connsiteY124" fmla="*/ 18568 h 541338"/>
                  <a:gd name="connsiteX125" fmla="*/ 324463 w 1123838"/>
                  <a:gd name="connsiteY125" fmla="*/ 17140 h 541338"/>
                  <a:gd name="connsiteX126" fmla="*/ 326607 w 1123838"/>
                  <a:gd name="connsiteY126" fmla="*/ 15712 h 541338"/>
                  <a:gd name="connsiteX127" fmla="*/ 330180 w 1123838"/>
                  <a:gd name="connsiteY127" fmla="*/ 14283 h 541338"/>
                  <a:gd name="connsiteX128" fmla="*/ 332324 w 1123838"/>
                  <a:gd name="connsiteY128" fmla="*/ 13569 h 541338"/>
                  <a:gd name="connsiteX129" fmla="*/ 336612 w 1123838"/>
                  <a:gd name="connsiteY129" fmla="*/ 12141 h 541338"/>
                  <a:gd name="connsiteX130" fmla="*/ 338042 w 1123838"/>
                  <a:gd name="connsiteY130" fmla="*/ 11427 h 541338"/>
                  <a:gd name="connsiteX131" fmla="*/ 342330 w 1123838"/>
                  <a:gd name="connsiteY131" fmla="*/ 9998 h 541338"/>
                  <a:gd name="connsiteX132" fmla="*/ 343759 w 1123838"/>
                  <a:gd name="connsiteY132" fmla="*/ 9284 h 541338"/>
                  <a:gd name="connsiteX133" fmla="*/ 348047 w 1123838"/>
                  <a:gd name="connsiteY133" fmla="*/ 7856 h 541338"/>
                  <a:gd name="connsiteX134" fmla="*/ 349476 w 1123838"/>
                  <a:gd name="connsiteY134" fmla="*/ 7856 h 541338"/>
                  <a:gd name="connsiteX135" fmla="*/ 354479 w 1123838"/>
                  <a:gd name="connsiteY135" fmla="*/ 6428 h 541338"/>
                  <a:gd name="connsiteX136" fmla="*/ 354479 w 1123838"/>
                  <a:gd name="connsiteY136" fmla="*/ 5713 h 541338"/>
                  <a:gd name="connsiteX137" fmla="*/ 381637 w 1123838"/>
                  <a:gd name="connsiteY137" fmla="*/ 1428 h 541338"/>
                  <a:gd name="connsiteX138" fmla="*/ 383781 w 1123838"/>
                  <a:gd name="connsiteY138" fmla="*/ 714 h 541338"/>
                  <a:gd name="connsiteX139" fmla="*/ 387354 w 1123838"/>
                  <a:gd name="connsiteY139" fmla="*/ 714 h 541338"/>
                  <a:gd name="connsiteX140" fmla="*/ 390213 w 1123838"/>
                  <a:gd name="connsiteY140"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123838" h="541338">
                    <a:moveTo>
                      <a:pt x="409739" y="31588"/>
                    </a:moveTo>
                    <a:cubicBezTo>
                      <a:pt x="380443" y="30163"/>
                      <a:pt x="351147" y="37285"/>
                      <a:pt x="326138" y="51530"/>
                    </a:cubicBezTo>
                    <a:cubicBezTo>
                      <a:pt x="326138" y="51530"/>
                      <a:pt x="326138" y="51530"/>
                      <a:pt x="31750" y="218189"/>
                    </a:cubicBezTo>
                    <a:cubicBezTo>
                      <a:pt x="31750" y="218189"/>
                      <a:pt x="31750" y="218189"/>
                      <a:pt x="31750" y="501651"/>
                    </a:cubicBezTo>
                    <a:cubicBezTo>
                      <a:pt x="31750" y="501651"/>
                      <a:pt x="31750" y="501651"/>
                      <a:pt x="368296" y="372028"/>
                    </a:cubicBezTo>
                    <a:cubicBezTo>
                      <a:pt x="384730" y="365618"/>
                      <a:pt x="401879" y="362769"/>
                      <a:pt x="419028" y="364193"/>
                    </a:cubicBezTo>
                    <a:cubicBezTo>
                      <a:pt x="419028" y="364193"/>
                      <a:pt x="419028" y="364193"/>
                      <a:pt x="568366" y="374876"/>
                    </a:cubicBezTo>
                    <a:cubicBezTo>
                      <a:pt x="645535" y="380574"/>
                      <a:pt x="722705" y="371315"/>
                      <a:pt x="797017" y="348524"/>
                    </a:cubicBezTo>
                    <a:cubicBezTo>
                      <a:pt x="894908" y="317899"/>
                      <a:pt x="981367" y="260922"/>
                      <a:pt x="1047818" y="182578"/>
                    </a:cubicBezTo>
                    <a:cubicBezTo>
                      <a:pt x="1047818" y="182578"/>
                      <a:pt x="1047818" y="182578"/>
                      <a:pt x="1079972" y="145542"/>
                    </a:cubicBezTo>
                    <a:cubicBezTo>
                      <a:pt x="1098550" y="123464"/>
                      <a:pt x="1096407" y="90702"/>
                      <a:pt x="1074971" y="71472"/>
                    </a:cubicBezTo>
                    <a:cubicBezTo>
                      <a:pt x="1064253" y="62213"/>
                      <a:pt x="1050676" y="57227"/>
                      <a:pt x="1036386" y="57940"/>
                    </a:cubicBezTo>
                    <a:cubicBezTo>
                      <a:pt x="1022095" y="58652"/>
                      <a:pt x="1008519" y="65062"/>
                      <a:pt x="999230" y="75745"/>
                    </a:cubicBezTo>
                    <a:cubicBezTo>
                      <a:pt x="999230" y="75745"/>
                      <a:pt x="999230" y="75745"/>
                      <a:pt x="951356" y="129161"/>
                    </a:cubicBezTo>
                    <a:cubicBezTo>
                      <a:pt x="912771" y="173319"/>
                      <a:pt x="862039" y="204656"/>
                      <a:pt x="805591" y="220325"/>
                    </a:cubicBezTo>
                    <a:cubicBezTo>
                      <a:pt x="740568" y="238843"/>
                      <a:pt x="670544" y="234570"/>
                      <a:pt x="608380" y="209642"/>
                    </a:cubicBezTo>
                    <a:cubicBezTo>
                      <a:pt x="608380" y="209642"/>
                      <a:pt x="608380" y="209642"/>
                      <a:pt x="553360" y="187563"/>
                    </a:cubicBezTo>
                    <a:cubicBezTo>
                      <a:pt x="546930" y="184714"/>
                      <a:pt x="542642" y="178304"/>
                      <a:pt x="544071" y="171182"/>
                    </a:cubicBezTo>
                    <a:cubicBezTo>
                      <a:pt x="544786" y="164060"/>
                      <a:pt x="550502" y="158362"/>
                      <a:pt x="557648" y="157650"/>
                    </a:cubicBezTo>
                    <a:cubicBezTo>
                      <a:pt x="557648" y="157650"/>
                      <a:pt x="557648" y="157650"/>
                      <a:pt x="715560" y="141981"/>
                    </a:cubicBezTo>
                    <a:cubicBezTo>
                      <a:pt x="740568" y="139845"/>
                      <a:pt x="759146" y="119190"/>
                      <a:pt x="759146" y="94975"/>
                    </a:cubicBezTo>
                    <a:cubicBezTo>
                      <a:pt x="759146" y="69335"/>
                      <a:pt x="739139" y="48681"/>
                      <a:pt x="713416" y="47256"/>
                    </a:cubicBezTo>
                    <a:cubicBezTo>
                      <a:pt x="713416" y="47256"/>
                      <a:pt x="713416" y="47256"/>
                      <a:pt x="409739" y="31588"/>
                    </a:cubicBezTo>
                    <a:close/>
                    <a:moveTo>
                      <a:pt x="390213" y="0"/>
                    </a:moveTo>
                    <a:cubicBezTo>
                      <a:pt x="391642" y="0"/>
                      <a:pt x="392357" y="0"/>
                      <a:pt x="393072" y="0"/>
                    </a:cubicBezTo>
                    <a:cubicBezTo>
                      <a:pt x="394501" y="0"/>
                      <a:pt x="395930" y="0"/>
                      <a:pt x="397360" y="0"/>
                    </a:cubicBezTo>
                    <a:cubicBezTo>
                      <a:pt x="398074" y="0"/>
                      <a:pt x="398789" y="0"/>
                      <a:pt x="399504" y="0"/>
                    </a:cubicBezTo>
                    <a:cubicBezTo>
                      <a:pt x="400933" y="0"/>
                      <a:pt x="401648" y="0"/>
                      <a:pt x="403077" y="0"/>
                    </a:cubicBezTo>
                    <a:cubicBezTo>
                      <a:pt x="405936" y="0"/>
                      <a:pt x="408794"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4708" y="195682"/>
                    </a:cubicBezTo>
                    <a:cubicBezTo>
                      <a:pt x="775423" y="195682"/>
                      <a:pt x="775423" y="195682"/>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3966"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1058" y="408503"/>
                      <a:pt x="626056" y="408503"/>
                      <a:pt x="621053" y="408503"/>
                    </a:cubicBezTo>
                    <a:cubicBezTo>
                      <a:pt x="621053" y="408503"/>
                      <a:pt x="620338" y="408503"/>
                      <a:pt x="619624"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8751"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2330" y="9284"/>
                      <a:pt x="343044" y="9284"/>
                      <a:pt x="343759" y="9284"/>
                    </a:cubicBezTo>
                    <a:cubicBezTo>
                      <a:pt x="345188" y="8570"/>
                      <a:pt x="346618" y="8570"/>
                      <a:pt x="348047" y="7856"/>
                    </a:cubicBezTo>
                    <a:cubicBezTo>
                      <a:pt x="348762" y="7856"/>
                      <a:pt x="348762" y="7856"/>
                      <a:pt x="349476" y="7856"/>
                    </a:cubicBezTo>
                    <a:cubicBezTo>
                      <a:pt x="350906" y="7142"/>
                      <a:pt x="352335" y="6428"/>
                      <a:pt x="354479" y="6428"/>
                    </a:cubicBezTo>
                    <a:cubicBezTo>
                      <a:pt x="354479" y="6428"/>
                      <a:pt x="354479" y="5713"/>
                      <a:pt x="354479" y="5713"/>
                    </a:cubicBezTo>
                    <a:cubicBezTo>
                      <a:pt x="363770" y="3571"/>
                      <a:pt x="372346" y="2143"/>
                      <a:pt x="381637" y="1428"/>
                    </a:cubicBezTo>
                    <a:cubicBezTo>
                      <a:pt x="382352" y="714"/>
                      <a:pt x="383066" y="714"/>
                      <a:pt x="383781" y="714"/>
                    </a:cubicBezTo>
                    <a:cubicBezTo>
                      <a:pt x="385210" y="714"/>
                      <a:pt x="385925" y="714"/>
                      <a:pt x="387354" y="714"/>
                    </a:cubicBezTo>
                    <a:cubicBezTo>
                      <a:pt x="388069" y="714"/>
                      <a:pt x="389498" y="714"/>
                      <a:pt x="390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67" name="Group 66">
            <a:extLst>
              <a:ext uri="{FF2B5EF4-FFF2-40B4-BE49-F238E27FC236}">
                <a16:creationId xmlns:a16="http://schemas.microsoft.com/office/drawing/2014/main" id="{299B0C39-7324-4E6D-AC11-992C7179AEB5}"/>
              </a:ext>
            </a:extLst>
          </p:cNvPr>
          <p:cNvGrpSpPr>
            <a:grpSpLocks noChangeAspect="1"/>
          </p:cNvGrpSpPr>
          <p:nvPr/>
        </p:nvGrpSpPr>
        <p:grpSpPr>
          <a:xfrm>
            <a:off x="697628" y="5222180"/>
            <a:ext cx="763192" cy="762455"/>
            <a:chOff x="5273675" y="2606675"/>
            <a:chExt cx="1646238" cy="1644650"/>
          </a:xfrm>
        </p:grpSpPr>
        <p:sp>
          <p:nvSpPr>
            <p:cNvPr id="68" name="AutoShape 3">
              <a:extLst>
                <a:ext uri="{FF2B5EF4-FFF2-40B4-BE49-F238E27FC236}">
                  <a16:creationId xmlns:a16="http://schemas.microsoft.com/office/drawing/2014/main" id="{6E676C98-23A0-473A-8F9A-B31671B63A0F}"/>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6C4B4BDF-A1CE-46D3-9B23-D58AA9F7835B}"/>
                </a:ext>
              </a:extLst>
            </p:cNvPr>
            <p:cNvGrpSpPr/>
            <p:nvPr/>
          </p:nvGrpSpPr>
          <p:grpSpPr>
            <a:xfrm>
              <a:off x="5646738" y="2774950"/>
              <a:ext cx="900113" cy="1306513"/>
              <a:chOff x="5646738" y="2774950"/>
              <a:chExt cx="900113" cy="1306513"/>
            </a:xfrm>
          </p:grpSpPr>
          <p:sp>
            <p:nvSpPr>
              <p:cNvPr id="70" name="Freeform 5">
                <a:extLst>
                  <a:ext uri="{FF2B5EF4-FFF2-40B4-BE49-F238E27FC236}">
                    <a16:creationId xmlns:a16="http://schemas.microsoft.com/office/drawing/2014/main" id="{E5F9123B-235E-48B8-A2BC-8463F4299A50}"/>
                  </a:ext>
                </a:extLst>
              </p:cNvPr>
              <p:cNvSpPr>
                <a:spLocks/>
              </p:cNvSpPr>
              <p:nvPr/>
            </p:nvSpPr>
            <p:spPr bwMode="auto">
              <a:xfrm>
                <a:off x="5646738" y="2889250"/>
                <a:ext cx="900113" cy="1192213"/>
              </a:xfrm>
              <a:custGeom>
                <a:avLst/>
                <a:gdLst>
                  <a:gd name="T0" fmla="*/ 1236 w 1258"/>
                  <a:gd name="T1" fmla="*/ 0 h 1670"/>
                  <a:gd name="T2" fmla="*/ 876 w 1258"/>
                  <a:gd name="T3" fmla="*/ 0 h 1670"/>
                  <a:gd name="T4" fmla="*/ 876 w 1258"/>
                  <a:gd name="T5" fmla="*/ 44 h 1670"/>
                  <a:gd name="T6" fmla="*/ 1214 w 1258"/>
                  <a:gd name="T7" fmla="*/ 44 h 1670"/>
                  <a:gd name="T8" fmla="*/ 1214 w 1258"/>
                  <a:gd name="T9" fmla="*/ 1626 h 1670"/>
                  <a:gd name="T10" fmla="*/ 44 w 1258"/>
                  <a:gd name="T11" fmla="*/ 1626 h 1670"/>
                  <a:gd name="T12" fmla="*/ 44 w 1258"/>
                  <a:gd name="T13" fmla="*/ 44 h 1670"/>
                  <a:gd name="T14" fmla="*/ 382 w 1258"/>
                  <a:gd name="T15" fmla="*/ 44 h 1670"/>
                  <a:gd name="T16" fmla="*/ 382 w 1258"/>
                  <a:gd name="T17" fmla="*/ 0 h 1670"/>
                  <a:gd name="T18" fmla="*/ 22 w 1258"/>
                  <a:gd name="T19" fmla="*/ 0 h 1670"/>
                  <a:gd name="T20" fmla="*/ 0 w 1258"/>
                  <a:gd name="T21" fmla="*/ 22 h 1670"/>
                  <a:gd name="T22" fmla="*/ 0 w 1258"/>
                  <a:gd name="T23" fmla="*/ 1648 h 1670"/>
                  <a:gd name="T24" fmla="*/ 22 w 1258"/>
                  <a:gd name="T25" fmla="*/ 1670 h 1670"/>
                  <a:gd name="T26" fmla="*/ 1236 w 1258"/>
                  <a:gd name="T27" fmla="*/ 1670 h 1670"/>
                  <a:gd name="T28" fmla="*/ 1258 w 1258"/>
                  <a:gd name="T29" fmla="*/ 1648 h 1670"/>
                  <a:gd name="T30" fmla="*/ 1258 w 1258"/>
                  <a:gd name="T31" fmla="*/ 22 h 1670"/>
                  <a:gd name="T32" fmla="*/ 1236 w 1258"/>
                  <a:gd name="T33" fmla="*/ 0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8" h="1670">
                    <a:moveTo>
                      <a:pt x="1236" y="0"/>
                    </a:move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ubicBezTo>
                      <a:pt x="1236" y="1670"/>
                      <a:pt x="1236" y="1670"/>
                      <a:pt x="1236" y="1670"/>
                    </a:cubicBezTo>
                    <a:cubicBezTo>
                      <a:pt x="1249" y="1670"/>
                      <a:pt x="1258" y="1661"/>
                      <a:pt x="1258" y="1648"/>
                    </a:cubicBezTo>
                    <a:cubicBezTo>
                      <a:pt x="1258" y="22"/>
                      <a:pt x="1258" y="22"/>
                      <a:pt x="1258" y="22"/>
                    </a:cubicBezTo>
                    <a:cubicBezTo>
                      <a:pt x="1258" y="10"/>
                      <a:pt x="1249" y="0"/>
                      <a:pt x="123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1">
                <a:extLst>
                  <a:ext uri="{FF2B5EF4-FFF2-40B4-BE49-F238E27FC236}">
                    <a16:creationId xmlns:a16="http://schemas.microsoft.com/office/drawing/2014/main" id="{E154CAD6-05E1-47B6-9374-BD72D08EC1AF}"/>
                  </a:ext>
                </a:extLst>
              </p:cNvPr>
              <p:cNvSpPr>
                <a:spLocks/>
              </p:cNvSpPr>
              <p:nvPr/>
            </p:nvSpPr>
            <p:spPr bwMode="auto">
              <a:xfrm>
                <a:off x="5783263" y="2774950"/>
                <a:ext cx="627063" cy="1089025"/>
              </a:xfrm>
              <a:custGeom>
                <a:avLst/>
                <a:gdLst>
                  <a:gd name="connsiteX0" fmla="*/ 15713 w 627063"/>
                  <a:gd name="connsiteY0" fmla="*/ 1057275 h 1089025"/>
                  <a:gd name="connsiteX1" fmla="*/ 611351 w 627063"/>
                  <a:gd name="connsiteY1" fmla="*/ 1057275 h 1089025"/>
                  <a:gd name="connsiteX2" fmla="*/ 627063 w 627063"/>
                  <a:gd name="connsiteY2" fmla="*/ 1073150 h 1089025"/>
                  <a:gd name="connsiteX3" fmla="*/ 611351 w 627063"/>
                  <a:gd name="connsiteY3" fmla="*/ 1089025 h 1089025"/>
                  <a:gd name="connsiteX4" fmla="*/ 15713 w 627063"/>
                  <a:gd name="connsiteY4" fmla="*/ 1089025 h 1089025"/>
                  <a:gd name="connsiteX5" fmla="*/ 0 w 627063"/>
                  <a:gd name="connsiteY5" fmla="*/ 1073150 h 1089025"/>
                  <a:gd name="connsiteX6" fmla="*/ 15713 w 627063"/>
                  <a:gd name="connsiteY6" fmla="*/ 1057275 h 1089025"/>
                  <a:gd name="connsiteX7" fmla="*/ 15713 w 627063"/>
                  <a:gd name="connsiteY7" fmla="*/ 941388 h 1089025"/>
                  <a:gd name="connsiteX8" fmla="*/ 611351 w 627063"/>
                  <a:gd name="connsiteY8" fmla="*/ 941388 h 1089025"/>
                  <a:gd name="connsiteX9" fmla="*/ 627063 w 627063"/>
                  <a:gd name="connsiteY9" fmla="*/ 957263 h 1089025"/>
                  <a:gd name="connsiteX10" fmla="*/ 611351 w 627063"/>
                  <a:gd name="connsiteY10" fmla="*/ 973138 h 1089025"/>
                  <a:gd name="connsiteX11" fmla="*/ 15713 w 627063"/>
                  <a:gd name="connsiteY11" fmla="*/ 973138 h 1089025"/>
                  <a:gd name="connsiteX12" fmla="*/ 0 w 627063"/>
                  <a:gd name="connsiteY12" fmla="*/ 957263 h 1089025"/>
                  <a:gd name="connsiteX13" fmla="*/ 15713 w 627063"/>
                  <a:gd name="connsiteY13" fmla="*/ 941388 h 1089025"/>
                  <a:gd name="connsiteX14" fmla="*/ 15713 w 627063"/>
                  <a:gd name="connsiteY14" fmla="*/ 825500 h 1089025"/>
                  <a:gd name="connsiteX15" fmla="*/ 611351 w 627063"/>
                  <a:gd name="connsiteY15" fmla="*/ 825500 h 1089025"/>
                  <a:gd name="connsiteX16" fmla="*/ 627063 w 627063"/>
                  <a:gd name="connsiteY16" fmla="*/ 841375 h 1089025"/>
                  <a:gd name="connsiteX17" fmla="*/ 611351 w 627063"/>
                  <a:gd name="connsiteY17" fmla="*/ 857250 h 1089025"/>
                  <a:gd name="connsiteX18" fmla="*/ 15713 w 627063"/>
                  <a:gd name="connsiteY18" fmla="*/ 857250 h 1089025"/>
                  <a:gd name="connsiteX19" fmla="*/ 0 w 627063"/>
                  <a:gd name="connsiteY19" fmla="*/ 841375 h 1089025"/>
                  <a:gd name="connsiteX20" fmla="*/ 15713 w 627063"/>
                  <a:gd name="connsiteY20" fmla="*/ 825500 h 1089025"/>
                  <a:gd name="connsiteX21" fmla="*/ 15713 w 627063"/>
                  <a:gd name="connsiteY21" fmla="*/ 709613 h 1089025"/>
                  <a:gd name="connsiteX22" fmla="*/ 611351 w 627063"/>
                  <a:gd name="connsiteY22" fmla="*/ 709613 h 1089025"/>
                  <a:gd name="connsiteX23" fmla="*/ 627063 w 627063"/>
                  <a:gd name="connsiteY23" fmla="*/ 725488 h 1089025"/>
                  <a:gd name="connsiteX24" fmla="*/ 611351 w 627063"/>
                  <a:gd name="connsiteY24" fmla="*/ 741363 h 1089025"/>
                  <a:gd name="connsiteX25" fmla="*/ 15713 w 627063"/>
                  <a:gd name="connsiteY25" fmla="*/ 741363 h 1089025"/>
                  <a:gd name="connsiteX26" fmla="*/ 0 w 627063"/>
                  <a:gd name="connsiteY26" fmla="*/ 725488 h 1089025"/>
                  <a:gd name="connsiteX27" fmla="*/ 15713 w 627063"/>
                  <a:gd name="connsiteY27" fmla="*/ 709613 h 1089025"/>
                  <a:gd name="connsiteX28" fmla="*/ 15713 w 627063"/>
                  <a:gd name="connsiteY28" fmla="*/ 593725 h 1089025"/>
                  <a:gd name="connsiteX29" fmla="*/ 611351 w 627063"/>
                  <a:gd name="connsiteY29" fmla="*/ 593725 h 1089025"/>
                  <a:gd name="connsiteX30" fmla="*/ 627063 w 627063"/>
                  <a:gd name="connsiteY30" fmla="*/ 609600 h 1089025"/>
                  <a:gd name="connsiteX31" fmla="*/ 611351 w 627063"/>
                  <a:gd name="connsiteY31" fmla="*/ 625475 h 1089025"/>
                  <a:gd name="connsiteX32" fmla="*/ 15713 w 627063"/>
                  <a:gd name="connsiteY32" fmla="*/ 625475 h 1089025"/>
                  <a:gd name="connsiteX33" fmla="*/ 0 w 627063"/>
                  <a:gd name="connsiteY33" fmla="*/ 609600 h 1089025"/>
                  <a:gd name="connsiteX34" fmla="*/ 15713 w 627063"/>
                  <a:gd name="connsiteY34" fmla="*/ 593725 h 1089025"/>
                  <a:gd name="connsiteX35" fmla="*/ 15713 w 627063"/>
                  <a:gd name="connsiteY35" fmla="*/ 477838 h 1089025"/>
                  <a:gd name="connsiteX36" fmla="*/ 611351 w 627063"/>
                  <a:gd name="connsiteY36" fmla="*/ 477838 h 1089025"/>
                  <a:gd name="connsiteX37" fmla="*/ 627063 w 627063"/>
                  <a:gd name="connsiteY37" fmla="*/ 493713 h 1089025"/>
                  <a:gd name="connsiteX38" fmla="*/ 611351 w 627063"/>
                  <a:gd name="connsiteY38" fmla="*/ 509588 h 1089025"/>
                  <a:gd name="connsiteX39" fmla="*/ 15713 w 627063"/>
                  <a:gd name="connsiteY39" fmla="*/ 509588 h 1089025"/>
                  <a:gd name="connsiteX40" fmla="*/ 0 w 627063"/>
                  <a:gd name="connsiteY40" fmla="*/ 493713 h 1089025"/>
                  <a:gd name="connsiteX41" fmla="*/ 15713 w 627063"/>
                  <a:gd name="connsiteY41" fmla="*/ 477838 h 1089025"/>
                  <a:gd name="connsiteX42" fmla="*/ 15713 w 627063"/>
                  <a:gd name="connsiteY42" fmla="*/ 361950 h 1089025"/>
                  <a:gd name="connsiteX43" fmla="*/ 611351 w 627063"/>
                  <a:gd name="connsiteY43" fmla="*/ 361950 h 1089025"/>
                  <a:gd name="connsiteX44" fmla="*/ 627063 w 627063"/>
                  <a:gd name="connsiteY44" fmla="*/ 377825 h 1089025"/>
                  <a:gd name="connsiteX45" fmla="*/ 611351 w 627063"/>
                  <a:gd name="connsiteY45" fmla="*/ 393700 h 1089025"/>
                  <a:gd name="connsiteX46" fmla="*/ 15713 w 627063"/>
                  <a:gd name="connsiteY46" fmla="*/ 393700 h 1089025"/>
                  <a:gd name="connsiteX47" fmla="*/ 0 w 627063"/>
                  <a:gd name="connsiteY47" fmla="*/ 377825 h 1089025"/>
                  <a:gd name="connsiteX48" fmla="*/ 15713 w 627063"/>
                  <a:gd name="connsiteY48" fmla="*/ 361950 h 1089025"/>
                  <a:gd name="connsiteX49" fmla="*/ 313532 w 627063"/>
                  <a:gd name="connsiteY49" fmla="*/ 31750 h 1089025"/>
                  <a:gd name="connsiteX50" fmla="*/ 291134 w 627063"/>
                  <a:gd name="connsiteY50" fmla="*/ 35314 h 1089025"/>
                  <a:gd name="connsiteX51" fmla="*/ 257175 w 627063"/>
                  <a:gd name="connsiteY51" fmla="*/ 66675 h 1089025"/>
                  <a:gd name="connsiteX52" fmla="*/ 369888 w 627063"/>
                  <a:gd name="connsiteY52" fmla="*/ 66675 h 1089025"/>
                  <a:gd name="connsiteX53" fmla="*/ 335930 w 627063"/>
                  <a:gd name="connsiteY53" fmla="*/ 35314 h 1089025"/>
                  <a:gd name="connsiteX54" fmla="*/ 313532 w 627063"/>
                  <a:gd name="connsiteY54" fmla="*/ 31750 h 1089025"/>
                  <a:gd name="connsiteX55" fmla="*/ 313532 w 627063"/>
                  <a:gd name="connsiteY55" fmla="*/ 0 h 1089025"/>
                  <a:gd name="connsiteX56" fmla="*/ 386160 w 627063"/>
                  <a:gd name="connsiteY56" fmla="*/ 34890 h 1089025"/>
                  <a:gd name="connsiteX57" fmla="*/ 402537 w 627063"/>
                  <a:gd name="connsiteY57" fmla="*/ 66220 h 1089025"/>
                  <a:gd name="connsiteX58" fmla="*/ 451668 w 627063"/>
                  <a:gd name="connsiteY58" fmla="*/ 66220 h 1089025"/>
                  <a:gd name="connsiteX59" fmla="*/ 458788 w 627063"/>
                  <a:gd name="connsiteY59" fmla="*/ 73340 h 1089025"/>
                  <a:gd name="connsiteX60" fmla="*/ 458788 w 627063"/>
                  <a:gd name="connsiteY60" fmla="*/ 113927 h 1089025"/>
                  <a:gd name="connsiteX61" fmla="*/ 458788 w 627063"/>
                  <a:gd name="connsiteY61" fmla="*/ 145256 h 1089025"/>
                  <a:gd name="connsiteX62" fmla="*/ 458788 w 627063"/>
                  <a:gd name="connsiteY62" fmla="*/ 178010 h 1089025"/>
                  <a:gd name="connsiteX63" fmla="*/ 443123 w 627063"/>
                  <a:gd name="connsiteY63" fmla="*/ 193675 h 1089025"/>
                  <a:gd name="connsiteX64" fmla="*/ 183940 w 627063"/>
                  <a:gd name="connsiteY64" fmla="*/ 193675 h 1089025"/>
                  <a:gd name="connsiteX65" fmla="*/ 168275 w 627063"/>
                  <a:gd name="connsiteY65" fmla="*/ 178010 h 1089025"/>
                  <a:gd name="connsiteX66" fmla="*/ 168275 w 627063"/>
                  <a:gd name="connsiteY66" fmla="*/ 145256 h 1089025"/>
                  <a:gd name="connsiteX67" fmla="*/ 168275 w 627063"/>
                  <a:gd name="connsiteY67" fmla="*/ 113927 h 1089025"/>
                  <a:gd name="connsiteX68" fmla="*/ 168275 w 627063"/>
                  <a:gd name="connsiteY68" fmla="*/ 73340 h 1089025"/>
                  <a:gd name="connsiteX69" fmla="*/ 175396 w 627063"/>
                  <a:gd name="connsiteY69" fmla="*/ 66220 h 1089025"/>
                  <a:gd name="connsiteX70" fmla="*/ 224527 w 627063"/>
                  <a:gd name="connsiteY70" fmla="*/ 66220 h 1089025"/>
                  <a:gd name="connsiteX71" fmla="*/ 240903 w 627063"/>
                  <a:gd name="connsiteY71" fmla="*/ 34890 h 1089025"/>
                  <a:gd name="connsiteX72" fmla="*/ 313532 w 627063"/>
                  <a:gd name="connsiteY72" fmla="*/ 0 h 108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27063" h="1089025">
                    <a:moveTo>
                      <a:pt x="15713" y="1057275"/>
                    </a:moveTo>
                    <a:cubicBezTo>
                      <a:pt x="15713" y="1057275"/>
                      <a:pt x="15713" y="1057275"/>
                      <a:pt x="611351" y="1057275"/>
                    </a:cubicBezTo>
                    <a:cubicBezTo>
                      <a:pt x="620635" y="1057275"/>
                      <a:pt x="627063" y="1064491"/>
                      <a:pt x="627063" y="1073150"/>
                    </a:cubicBezTo>
                    <a:cubicBezTo>
                      <a:pt x="627063" y="1081809"/>
                      <a:pt x="620635" y="1089025"/>
                      <a:pt x="611351" y="1089025"/>
                    </a:cubicBezTo>
                    <a:cubicBezTo>
                      <a:pt x="611351" y="1089025"/>
                      <a:pt x="611351" y="1089025"/>
                      <a:pt x="15713" y="1089025"/>
                    </a:cubicBezTo>
                    <a:cubicBezTo>
                      <a:pt x="6428" y="1089025"/>
                      <a:pt x="0" y="1081809"/>
                      <a:pt x="0" y="1073150"/>
                    </a:cubicBezTo>
                    <a:cubicBezTo>
                      <a:pt x="0" y="1064491"/>
                      <a:pt x="6428" y="1057275"/>
                      <a:pt x="15713" y="1057275"/>
                    </a:cubicBezTo>
                    <a:close/>
                    <a:moveTo>
                      <a:pt x="15713" y="941388"/>
                    </a:moveTo>
                    <a:cubicBezTo>
                      <a:pt x="15713" y="941388"/>
                      <a:pt x="15713" y="941388"/>
                      <a:pt x="611351" y="941388"/>
                    </a:cubicBezTo>
                    <a:cubicBezTo>
                      <a:pt x="620635" y="941388"/>
                      <a:pt x="627063" y="948604"/>
                      <a:pt x="627063" y="957263"/>
                    </a:cubicBezTo>
                    <a:cubicBezTo>
                      <a:pt x="627063" y="965922"/>
                      <a:pt x="620635" y="973138"/>
                      <a:pt x="611351" y="973138"/>
                    </a:cubicBezTo>
                    <a:cubicBezTo>
                      <a:pt x="611351" y="973138"/>
                      <a:pt x="611351" y="973138"/>
                      <a:pt x="15713" y="973138"/>
                    </a:cubicBezTo>
                    <a:cubicBezTo>
                      <a:pt x="6428" y="973138"/>
                      <a:pt x="0" y="965922"/>
                      <a:pt x="0" y="957263"/>
                    </a:cubicBezTo>
                    <a:cubicBezTo>
                      <a:pt x="0" y="948604"/>
                      <a:pt x="6428" y="941388"/>
                      <a:pt x="15713" y="941388"/>
                    </a:cubicBezTo>
                    <a:close/>
                    <a:moveTo>
                      <a:pt x="15713" y="825500"/>
                    </a:moveTo>
                    <a:cubicBezTo>
                      <a:pt x="15713" y="825500"/>
                      <a:pt x="15713" y="825500"/>
                      <a:pt x="611351" y="825500"/>
                    </a:cubicBezTo>
                    <a:cubicBezTo>
                      <a:pt x="620635" y="825500"/>
                      <a:pt x="627063" y="832716"/>
                      <a:pt x="627063" y="841375"/>
                    </a:cubicBezTo>
                    <a:cubicBezTo>
                      <a:pt x="627063" y="850756"/>
                      <a:pt x="620635" y="857250"/>
                      <a:pt x="611351" y="857250"/>
                    </a:cubicBezTo>
                    <a:cubicBezTo>
                      <a:pt x="611351" y="857250"/>
                      <a:pt x="611351" y="857250"/>
                      <a:pt x="15713" y="857250"/>
                    </a:cubicBezTo>
                    <a:cubicBezTo>
                      <a:pt x="6428" y="857250"/>
                      <a:pt x="0" y="850756"/>
                      <a:pt x="0" y="841375"/>
                    </a:cubicBezTo>
                    <a:cubicBezTo>
                      <a:pt x="0" y="832716"/>
                      <a:pt x="6428" y="825500"/>
                      <a:pt x="15713" y="825500"/>
                    </a:cubicBezTo>
                    <a:close/>
                    <a:moveTo>
                      <a:pt x="15713" y="709613"/>
                    </a:moveTo>
                    <a:cubicBezTo>
                      <a:pt x="15713" y="709613"/>
                      <a:pt x="15713" y="709613"/>
                      <a:pt x="611351" y="709613"/>
                    </a:cubicBezTo>
                    <a:cubicBezTo>
                      <a:pt x="620635" y="709613"/>
                      <a:pt x="627063" y="716829"/>
                      <a:pt x="627063" y="725488"/>
                    </a:cubicBezTo>
                    <a:cubicBezTo>
                      <a:pt x="627063" y="734147"/>
                      <a:pt x="620635" y="741363"/>
                      <a:pt x="611351" y="741363"/>
                    </a:cubicBezTo>
                    <a:cubicBezTo>
                      <a:pt x="611351" y="741363"/>
                      <a:pt x="611351" y="741363"/>
                      <a:pt x="15713" y="741363"/>
                    </a:cubicBezTo>
                    <a:cubicBezTo>
                      <a:pt x="6428" y="741363"/>
                      <a:pt x="0" y="734147"/>
                      <a:pt x="0" y="725488"/>
                    </a:cubicBezTo>
                    <a:cubicBezTo>
                      <a:pt x="0" y="716829"/>
                      <a:pt x="6428" y="709613"/>
                      <a:pt x="15713" y="709613"/>
                    </a:cubicBezTo>
                    <a:close/>
                    <a:moveTo>
                      <a:pt x="15713" y="593725"/>
                    </a:moveTo>
                    <a:cubicBezTo>
                      <a:pt x="15713" y="593725"/>
                      <a:pt x="15713" y="593725"/>
                      <a:pt x="611351" y="593725"/>
                    </a:cubicBezTo>
                    <a:cubicBezTo>
                      <a:pt x="620635" y="593725"/>
                      <a:pt x="627063" y="600941"/>
                      <a:pt x="627063" y="609600"/>
                    </a:cubicBezTo>
                    <a:cubicBezTo>
                      <a:pt x="627063" y="618259"/>
                      <a:pt x="620635" y="625475"/>
                      <a:pt x="611351" y="625475"/>
                    </a:cubicBezTo>
                    <a:cubicBezTo>
                      <a:pt x="611351" y="625475"/>
                      <a:pt x="611351" y="625475"/>
                      <a:pt x="15713" y="625475"/>
                    </a:cubicBezTo>
                    <a:cubicBezTo>
                      <a:pt x="6428" y="625475"/>
                      <a:pt x="0" y="618259"/>
                      <a:pt x="0" y="609600"/>
                    </a:cubicBezTo>
                    <a:cubicBezTo>
                      <a:pt x="0" y="600941"/>
                      <a:pt x="6428" y="593725"/>
                      <a:pt x="15713" y="593725"/>
                    </a:cubicBezTo>
                    <a:close/>
                    <a:moveTo>
                      <a:pt x="15713" y="477838"/>
                    </a:moveTo>
                    <a:cubicBezTo>
                      <a:pt x="15713" y="477838"/>
                      <a:pt x="15713" y="477838"/>
                      <a:pt x="611351" y="477838"/>
                    </a:cubicBezTo>
                    <a:cubicBezTo>
                      <a:pt x="620635" y="477838"/>
                      <a:pt x="627063" y="484332"/>
                      <a:pt x="627063" y="493713"/>
                    </a:cubicBezTo>
                    <a:cubicBezTo>
                      <a:pt x="627063" y="502372"/>
                      <a:pt x="620635" y="509588"/>
                      <a:pt x="611351" y="509588"/>
                    </a:cubicBezTo>
                    <a:cubicBezTo>
                      <a:pt x="611351" y="509588"/>
                      <a:pt x="611351" y="509588"/>
                      <a:pt x="15713" y="509588"/>
                    </a:cubicBezTo>
                    <a:cubicBezTo>
                      <a:pt x="6428" y="509588"/>
                      <a:pt x="0" y="502372"/>
                      <a:pt x="0" y="493713"/>
                    </a:cubicBezTo>
                    <a:cubicBezTo>
                      <a:pt x="0" y="484332"/>
                      <a:pt x="6428" y="477838"/>
                      <a:pt x="15713" y="477838"/>
                    </a:cubicBezTo>
                    <a:close/>
                    <a:moveTo>
                      <a:pt x="15713" y="361950"/>
                    </a:moveTo>
                    <a:cubicBezTo>
                      <a:pt x="15713" y="361950"/>
                      <a:pt x="15713" y="361950"/>
                      <a:pt x="611351" y="361950"/>
                    </a:cubicBezTo>
                    <a:cubicBezTo>
                      <a:pt x="620635" y="361950"/>
                      <a:pt x="627063" y="369166"/>
                      <a:pt x="627063" y="377825"/>
                    </a:cubicBezTo>
                    <a:cubicBezTo>
                      <a:pt x="627063" y="386484"/>
                      <a:pt x="620635" y="393700"/>
                      <a:pt x="611351" y="393700"/>
                    </a:cubicBezTo>
                    <a:cubicBezTo>
                      <a:pt x="611351" y="393700"/>
                      <a:pt x="611351" y="393700"/>
                      <a:pt x="15713" y="393700"/>
                    </a:cubicBezTo>
                    <a:cubicBezTo>
                      <a:pt x="6428" y="393700"/>
                      <a:pt x="0" y="386484"/>
                      <a:pt x="0" y="377825"/>
                    </a:cubicBezTo>
                    <a:cubicBezTo>
                      <a:pt x="0" y="369166"/>
                      <a:pt x="6428" y="361950"/>
                      <a:pt x="15713" y="361950"/>
                    </a:cubicBezTo>
                    <a:close/>
                    <a:moveTo>
                      <a:pt x="313532" y="31750"/>
                    </a:moveTo>
                    <a:cubicBezTo>
                      <a:pt x="305584" y="31750"/>
                      <a:pt x="298359" y="33176"/>
                      <a:pt x="291134" y="35314"/>
                    </a:cubicBezTo>
                    <a:cubicBezTo>
                      <a:pt x="276683" y="41016"/>
                      <a:pt x="264400" y="52420"/>
                      <a:pt x="257175" y="66675"/>
                    </a:cubicBezTo>
                    <a:cubicBezTo>
                      <a:pt x="257175" y="66675"/>
                      <a:pt x="257175" y="66675"/>
                      <a:pt x="369888" y="66675"/>
                    </a:cubicBezTo>
                    <a:cubicBezTo>
                      <a:pt x="362663" y="52420"/>
                      <a:pt x="350380" y="41016"/>
                      <a:pt x="335930" y="35314"/>
                    </a:cubicBezTo>
                    <a:cubicBezTo>
                      <a:pt x="328705" y="33176"/>
                      <a:pt x="321479" y="31750"/>
                      <a:pt x="313532" y="31750"/>
                    </a:cubicBezTo>
                    <a:close/>
                    <a:moveTo>
                      <a:pt x="313532" y="0"/>
                    </a:moveTo>
                    <a:cubicBezTo>
                      <a:pt x="342725" y="0"/>
                      <a:pt x="369071" y="13529"/>
                      <a:pt x="386160" y="34890"/>
                    </a:cubicBezTo>
                    <a:cubicBezTo>
                      <a:pt x="393280" y="44147"/>
                      <a:pt x="398977" y="54827"/>
                      <a:pt x="402537" y="66220"/>
                    </a:cubicBezTo>
                    <a:cubicBezTo>
                      <a:pt x="402537" y="66220"/>
                      <a:pt x="402537" y="66220"/>
                      <a:pt x="451668" y="66220"/>
                    </a:cubicBezTo>
                    <a:cubicBezTo>
                      <a:pt x="455228" y="66220"/>
                      <a:pt x="458788" y="69068"/>
                      <a:pt x="458788" y="73340"/>
                    </a:cubicBezTo>
                    <a:cubicBezTo>
                      <a:pt x="458788" y="73340"/>
                      <a:pt x="458788" y="73340"/>
                      <a:pt x="458788" y="113927"/>
                    </a:cubicBezTo>
                    <a:cubicBezTo>
                      <a:pt x="458788" y="113927"/>
                      <a:pt x="458788" y="113927"/>
                      <a:pt x="458788" y="145256"/>
                    </a:cubicBezTo>
                    <a:cubicBezTo>
                      <a:pt x="458788" y="145256"/>
                      <a:pt x="458788" y="145256"/>
                      <a:pt x="458788" y="178010"/>
                    </a:cubicBezTo>
                    <a:cubicBezTo>
                      <a:pt x="458788" y="186555"/>
                      <a:pt x="451668" y="193675"/>
                      <a:pt x="443123" y="193675"/>
                    </a:cubicBezTo>
                    <a:cubicBezTo>
                      <a:pt x="443123" y="193675"/>
                      <a:pt x="443123" y="193675"/>
                      <a:pt x="183940" y="193675"/>
                    </a:cubicBezTo>
                    <a:cubicBezTo>
                      <a:pt x="175396" y="193675"/>
                      <a:pt x="168275" y="186555"/>
                      <a:pt x="168275" y="178010"/>
                    </a:cubicBezTo>
                    <a:cubicBezTo>
                      <a:pt x="168275" y="178010"/>
                      <a:pt x="168275" y="178010"/>
                      <a:pt x="168275" y="145256"/>
                    </a:cubicBezTo>
                    <a:cubicBezTo>
                      <a:pt x="168275" y="145256"/>
                      <a:pt x="168275" y="145256"/>
                      <a:pt x="168275" y="113927"/>
                    </a:cubicBezTo>
                    <a:cubicBezTo>
                      <a:pt x="168275" y="113927"/>
                      <a:pt x="168275" y="113927"/>
                      <a:pt x="168275" y="73340"/>
                    </a:cubicBezTo>
                    <a:cubicBezTo>
                      <a:pt x="168275" y="69068"/>
                      <a:pt x="171835" y="66220"/>
                      <a:pt x="175396" y="66220"/>
                    </a:cubicBezTo>
                    <a:cubicBezTo>
                      <a:pt x="175396" y="66220"/>
                      <a:pt x="175396" y="66220"/>
                      <a:pt x="224527" y="66220"/>
                    </a:cubicBezTo>
                    <a:cubicBezTo>
                      <a:pt x="228087" y="54827"/>
                      <a:pt x="233783" y="44147"/>
                      <a:pt x="240903" y="34890"/>
                    </a:cubicBezTo>
                    <a:cubicBezTo>
                      <a:pt x="257992" y="13529"/>
                      <a:pt x="284338" y="0"/>
                      <a:pt x="3135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sp>
        <p:nvSpPr>
          <p:cNvPr id="72" name="TextBox 71">
            <a:extLst>
              <a:ext uri="{FF2B5EF4-FFF2-40B4-BE49-F238E27FC236}">
                <a16:creationId xmlns:a16="http://schemas.microsoft.com/office/drawing/2014/main" id="{65F9EC66-616F-4B8F-8401-29C0A4E4D6EB}"/>
              </a:ext>
            </a:extLst>
          </p:cNvPr>
          <p:cNvSpPr txBox="1"/>
          <p:nvPr/>
        </p:nvSpPr>
        <p:spPr>
          <a:xfrm>
            <a:off x="1711201" y="1942598"/>
            <a:ext cx="5050279" cy="570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a:buClr>
                <a:schemeClr val="tx2"/>
              </a:buClr>
              <a:buSzPct val="100000"/>
              <a:buFont typeface="Arial" panose="020B0603020202020204" pitchFamily="34" charset="0"/>
              <a:buChar char="•"/>
            </a:pPr>
            <a:r>
              <a:rPr lang="en-US" sz="1600">
                <a:solidFill>
                  <a:srgbClr val="FF0000"/>
                </a:solidFill>
                <a:ea typeface="+mn-lt"/>
                <a:cs typeface="+mn-lt"/>
              </a:rPr>
              <a:t>•The peak period during opening/closing, lunch/ dinner, can cause a huge problem for transportation services  in Sentosa.</a:t>
            </a:r>
            <a:endParaRPr lang="en-US">
              <a:solidFill>
                <a:srgbClr val="FF0000"/>
              </a:solidFill>
            </a:endParaRPr>
          </a:p>
          <a:p>
            <a:pPr lvl="1">
              <a:buClr>
                <a:schemeClr val="tx2"/>
              </a:buClr>
              <a:buSzPct val="100000"/>
              <a:buFont typeface="Arial" panose="020B0603020202020204" pitchFamily="34" charset="0"/>
              <a:buChar char="•"/>
            </a:pPr>
            <a:r>
              <a:rPr lang="en-US" sz="1600">
                <a:solidFill>
                  <a:srgbClr val="FF0000"/>
                </a:solidFill>
                <a:ea typeface="+mn-lt"/>
                <a:cs typeface="+mn-lt"/>
              </a:rPr>
              <a:t>•More people take the transport during these timing compared to regular timeslot during the whole day.</a:t>
            </a:r>
            <a:endParaRPr lang="en-US">
              <a:solidFill>
                <a:srgbClr val="FF0000"/>
              </a:solidFill>
            </a:endParaRPr>
          </a:p>
          <a:p>
            <a:pPr marL="323850" lvl="1" indent="-215900">
              <a:buClr>
                <a:schemeClr val="tx2"/>
              </a:buClr>
              <a:buSzPct val="100000"/>
              <a:buFont typeface="Trebuchet MS" panose="020B0603020202020204" pitchFamily="34" charset="0"/>
              <a:buChar char="•"/>
            </a:pPr>
            <a:endParaRPr lang="en-US" sz="1600">
              <a:solidFill>
                <a:srgbClr val="FF0000"/>
              </a:solidFill>
              <a:latin typeface="Trebuchet MS" panose="020B0603020202020204" pitchFamily="34" charset="0"/>
            </a:endParaRPr>
          </a:p>
        </p:txBody>
      </p:sp>
      <p:sp>
        <p:nvSpPr>
          <p:cNvPr id="73" name="TextBox 72">
            <a:extLst>
              <a:ext uri="{FF2B5EF4-FFF2-40B4-BE49-F238E27FC236}">
                <a16:creationId xmlns:a16="http://schemas.microsoft.com/office/drawing/2014/main" id="{369CE325-0D8B-4331-A6A7-E86200883FFF}"/>
              </a:ext>
            </a:extLst>
          </p:cNvPr>
          <p:cNvSpPr txBox="1"/>
          <p:nvPr/>
        </p:nvSpPr>
        <p:spPr>
          <a:xfrm>
            <a:off x="1711201" y="3862224"/>
            <a:ext cx="5050279" cy="570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3850" lvl="1" indent="-215900">
              <a:buClr>
                <a:schemeClr val="tx2"/>
              </a:buClr>
              <a:buSzPct val="100000"/>
              <a:buFont typeface="Trebuchet MS" panose="020B0603020202020204" pitchFamily="34" charset="0"/>
              <a:buChar char="•"/>
            </a:pPr>
            <a:r>
              <a:rPr lang="en-US" sz="1600">
                <a:solidFill>
                  <a:srgbClr val="FF0000"/>
                </a:solidFill>
                <a:ea typeface="+mn-lt"/>
                <a:cs typeface="+mn-lt"/>
              </a:rPr>
              <a:t>It will affect the reputation of Sentosa as a tourist attraction if people leave bad reviews about slow service</a:t>
            </a:r>
            <a:endParaRPr lang="en-US">
              <a:solidFill>
                <a:srgbClr val="FF0000"/>
              </a:solidFill>
            </a:endParaRPr>
          </a:p>
        </p:txBody>
      </p:sp>
      <p:sp>
        <p:nvSpPr>
          <p:cNvPr id="74" name="TextBox 73">
            <a:extLst>
              <a:ext uri="{FF2B5EF4-FFF2-40B4-BE49-F238E27FC236}">
                <a16:creationId xmlns:a16="http://schemas.microsoft.com/office/drawing/2014/main" id="{E47B854F-35A3-41BB-975A-B1950D409CD0}"/>
              </a:ext>
            </a:extLst>
          </p:cNvPr>
          <p:cNvSpPr txBox="1"/>
          <p:nvPr/>
        </p:nvSpPr>
        <p:spPr>
          <a:xfrm>
            <a:off x="1711201" y="5521165"/>
            <a:ext cx="5050279" cy="570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850900" lvl="1" indent="-285750">
              <a:buClr>
                <a:schemeClr val="tx2"/>
              </a:buClr>
              <a:buSzPct val="100000"/>
              <a:buFont typeface="Arial" panose="020B0603020202020204" pitchFamily="34" charset="0"/>
              <a:buChar char="•"/>
            </a:pPr>
            <a:r>
              <a:rPr lang="en-US" sz="1600">
                <a:solidFill>
                  <a:srgbClr val="FF0000"/>
                </a:solidFill>
                <a:ea typeface="+mn-lt"/>
                <a:cs typeface="+mn-lt"/>
              </a:rPr>
              <a:t>•Currently the island ops team are managing bus operation manually by using radio to dispatch buses when crowds are increasing.</a:t>
            </a:r>
            <a:endParaRPr lang="en-US">
              <a:solidFill>
                <a:srgbClr val="FF0000"/>
              </a:solidFill>
            </a:endParaRPr>
          </a:p>
          <a:p>
            <a:pPr marL="323850" lvl="1" indent="-215900">
              <a:buClr>
                <a:schemeClr val="tx2"/>
              </a:buClr>
              <a:buSzPct val="100000"/>
              <a:buFont typeface="Trebuchet MS" panose="020B0603020202020204" pitchFamily="34" charset="0"/>
              <a:buChar char="•"/>
            </a:pPr>
            <a:endParaRPr lang="en-US" sz="1600">
              <a:solidFill>
                <a:srgbClr val="FF0000"/>
              </a:solidFill>
              <a:latin typeface="Trebuchet MS" panose="020B0603020202020204" pitchFamily="34" charset="0"/>
            </a:endParaRPr>
          </a:p>
        </p:txBody>
      </p:sp>
      <p:sp>
        <p:nvSpPr>
          <p:cNvPr id="75" name="TextBox 74">
            <a:extLst>
              <a:ext uri="{FF2B5EF4-FFF2-40B4-BE49-F238E27FC236}">
                <a16:creationId xmlns:a16="http://schemas.microsoft.com/office/drawing/2014/main" id="{17A161B2-27A5-4A69-8154-8169987D9A55}"/>
              </a:ext>
            </a:extLst>
          </p:cNvPr>
          <p:cNvSpPr txBox="1"/>
          <p:nvPr/>
        </p:nvSpPr>
        <p:spPr>
          <a:xfrm>
            <a:off x="1711201" y="1669797"/>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solidFill>
                  <a:srgbClr val="171D3C"/>
                </a:solidFill>
              </a:rPr>
              <a:t>What is the societal problem we chose?</a:t>
            </a:r>
          </a:p>
        </p:txBody>
      </p:sp>
      <p:sp>
        <p:nvSpPr>
          <p:cNvPr id="76" name="TextBox 75">
            <a:extLst>
              <a:ext uri="{FF2B5EF4-FFF2-40B4-BE49-F238E27FC236}">
                <a16:creationId xmlns:a16="http://schemas.microsoft.com/office/drawing/2014/main" id="{999AFC43-1C83-4477-9BF7-57F07EF5E9EB}"/>
              </a:ext>
            </a:extLst>
          </p:cNvPr>
          <p:cNvSpPr txBox="1"/>
          <p:nvPr/>
        </p:nvSpPr>
        <p:spPr>
          <a:xfrm>
            <a:off x="1711201" y="3599450"/>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solidFill>
                  <a:srgbClr val="171D3C"/>
                </a:solidFill>
              </a:rPr>
              <a:t>Why is it important?</a:t>
            </a:r>
          </a:p>
        </p:txBody>
      </p:sp>
      <p:sp>
        <p:nvSpPr>
          <p:cNvPr id="77" name="TextBox 76">
            <a:extLst>
              <a:ext uri="{FF2B5EF4-FFF2-40B4-BE49-F238E27FC236}">
                <a16:creationId xmlns:a16="http://schemas.microsoft.com/office/drawing/2014/main" id="{5B9186DF-20FD-44CD-9EFA-CE4BDD209EA7}"/>
              </a:ext>
            </a:extLst>
          </p:cNvPr>
          <p:cNvSpPr txBox="1"/>
          <p:nvPr/>
        </p:nvSpPr>
        <p:spPr>
          <a:xfrm>
            <a:off x="1711201" y="5258391"/>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solidFill>
                  <a:srgbClr val="171D3C"/>
                </a:solidFill>
              </a:rPr>
              <a:t>What are the existing stop gaps that have failed?</a:t>
            </a:r>
          </a:p>
        </p:txBody>
      </p:sp>
      <p:sp>
        <p:nvSpPr>
          <p:cNvPr id="78" name="Oval 77">
            <a:extLst>
              <a:ext uri="{FF2B5EF4-FFF2-40B4-BE49-F238E27FC236}">
                <a16:creationId xmlns:a16="http://schemas.microsoft.com/office/drawing/2014/main" id="{F49AC9FC-AB2A-4031-B936-C444B93BB417}"/>
              </a:ext>
            </a:extLst>
          </p:cNvPr>
          <p:cNvSpPr/>
          <p:nvPr/>
        </p:nvSpPr>
        <p:spPr>
          <a:xfrm>
            <a:off x="8744782" y="569637"/>
            <a:ext cx="2040467" cy="2040467"/>
          </a:xfrm>
          <a:prstGeom prst="ellipse">
            <a:avLst/>
          </a:prstGeom>
          <a:solidFill>
            <a:srgbClr val="FFFFFF"/>
          </a:solidFill>
          <a:ln w="31750" cap="rnd" cmpd="sng" algn="ctr">
            <a:solidFill>
              <a:srgbClr val="171D3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0" name="TextBox 79">
            <a:extLst>
              <a:ext uri="{FF2B5EF4-FFF2-40B4-BE49-F238E27FC236}">
                <a16:creationId xmlns:a16="http://schemas.microsoft.com/office/drawing/2014/main" id="{68A98C54-9A91-4450-9435-92A26178346F}"/>
              </a:ext>
            </a:extLst>
          </p:cNvPr>
          <p:cNvSpPr txBox="1"/>
          <p:nvPr/>
        </p:nvSpPr>
        <p:spPr>
          <a:xfrm>
            <a:off x="7887680" y="2801268"/>
            <a:ext cx="3818466" cy="6578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100">
                <a:solidFill>
                  <a:srgbClr val="FFFFFF"/>
                </a:solidFill>
              </a:rPr>
              <a:t>Citizens suffering from</a:t>
            </a:r>
            <a:endParaRPr lang="vi-VN" sz="2100">
              <a:solidFill>
                <a:srgbClr val="FFFFFF"/>
              </a:solidFill>
            </a:endParaRPr>
          </a:p>
          <a:p>
            <a:pPr algn="ctr"/>
            <a:r>
              <a:rPr lang="en-US" sz="2100">
                <a:solidFill>
                  <a:srgbClr val="FFFFFF"/>
                </a:solidFill>
              </a:rPr>
              <a:t>impact of problem</a:t>
            </a:r>
          </a:p>
        </p:txBody>
      </p:sp>
      <p:sp>
        <p:nvSpPr>
          <p:cNvPr id="81" name="TextBox 80">
            <a:extLst>
              <a:ext uri="{FF2B5EF4-FFF2-40B4-BE49-F238E27FC236}">
                <a16:creationId xmlns:a16="http://schemas.microsoft.com/office/drawing/2014/main" id="{297DC42B-7E22-4D87-9284-BD5CEC133A36}"/>
              </a:ext>
            </a:extLst>
          </p:cNvPr>
          <p:cNvSpPr txBox="1"/>
          <p:nvPr/>
        </p:nvSpPr>
        <p:spPr>
          <a:xfrm>
            <a:off x="7887680" y="5725563"/>
            <a:ext cx="1755778" cy="6578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FFFFFF"/>
                </a:solidFill>
              </a:rPr>
              <a:t>Citizens could</a:t>
            </a:r>
          </a:p>
          <a:p>
            <a:pPr algn="ctr"/>
            <a:r>
              <a:rPr lang="en-US" sz="1400">
                <a:solidFill>
                  <a:srgbClr val="FFFFFF"/>
                </a:solidFill>
              </a:rPr>
              <a:t> benefit</a:t>
            </a:r>
          </a:p>
        </p:txBody>
      </p:sp>
      <p:sp>
        <p:nvSpPr>
          <p:cNvPr id="82" name="TextBox 81">
            <a:extLst>
              <a:ext uri="{FF2B5EF4-FFF2-40B4-BE49-F238E27FC236}">
                <a16:creationId xmlns:a16="http://schemas.microsoft.com/office/drawing/2014/main" id="{D560FB43-1D41-4D0A-B599-F8CE8149D3AD}"/>
              </a:ext>
            </a:extLst>
          </p:cNvPr>
          <p:cNvSpPr txBox="1"/>
          <p:nvPr/>
        </p:nvSpPr>
        <p:spPr>
          <a:xfrm>
            <a:off x="9950369" y="5725563"/>
            <a:ext cx="1755778" cy="6578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FFFFFF"/>
                </a:solidFill>
              </a:rPr>
              <a:t>Incremental benefit per</a:t>
            </a:r>
          </a:p>
          <a:p>
            <a:pPr algn="ctr"/>
            <a:r>
              <a:rPr lang="en-US" sz="1400">
                <a:solidFill>
                  <a:srgbClr val="FFFFFF"/>
                </a:solidFill>
              </a:rPr>
              <a:t> citizen</a:t>
            </a:r>
          </a:p>
        </p:txBody>
      </p:sp>
      <p:sp>
        <p:nvSpPr>
          <p:cNvPr id="88" name="TextBox 87">
            <a:extLst>
              <a:ext uri="{FF2B5EF4-FFF2-40B4-BE49-F238E27FC236}">
                <a16:creationId xmlns:a16="http://schemas.microsoft.com/office/drawing/2014/main" id="{40E593F2-DC09-4683-8B41-50EE6491B07B}"/>
              </a:ext>
            </a:extLst>
          </p:cNvPr>
          <p:cNvSpPr txBox="1"/>
          <p:nvPr/>
        </p:nvSpPr>
        <p:spPr>
          <a:xfrm>
            <a:off x="7831382" y="5358714"/>
            <a:ext cx="1868372" cy="4950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vi-VN" sz="2100">
                <a:solidFill>
                  <a:srgbClr val="FFFFFF"/>
                </a:solidFill>
              </a:rPr>
              <a:t>Y M</a:t>
            </a:r>
            <a:endParaRPr lang="en-US" sz="2100" err="1">
              <a:solidFill>
                <a:srgbClr val="FFFFFF"/>
              </a:solidFill>
            </a:endParaRPr>
          </a:p>
        </p:txBody>
      </p:sp>
      <p:sp>
        <p:nvSpPr>
          <p:cNvPr id="89" name="TextBox 88">
            <a:extLst>
              <a:ext uri="{FF2B5EF4-FFF2-40B4-BE49-F238E27FC236}">
                <a16:creationId xmlns:a16="http://schemas.microsoft.com/office/drawing/2014/main" id="{5F43A3E0-3051-49DB-9776-BC1563C03125}"/>
              </a:ext>
            </a:extLst>
          </p:cNvPr>
          <p:cNvSpPr txBox="1"/>
          <p:nvPr/>
        </p:nvSpPr>
        <p:spPr>
          <a:xfrm>
            <a:off x="9894072" y="5358714"/>
            <a:ext cx="1868372" cy="4950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vi-VN" sz="2100">
                <a:solidFill>
                  <a:srgbClr val="FFFFFF"/>
                </a:solidFill>
              </a:rPr>
              <a:t>~5% </a:t>
            </a:r>
            <a:r>
              <a:rPr lang="vi-VN" sz="2100" err="1">
                <a:solidFill>
                  <a:srgbClr val="FFFFFF"/>
                </a:solidFill>
              </a:rPr>
              <a:t>p.a</a:t>
            </a:r>
            <a:endParaRPr lang="en-US" sz="2100" err="1">
              <a:solidFill>
                <a:srgbClr val="FFFFFF"/>
              </a:solidFill>
            </a:endParaRPr>
          </a:p>
        </p:txBody>
      </p:sp>
      <p:grpSp>
        <p:nvGrpSpPr>
          <p:cNvPr id="96" name="Group 95">
            <a:extLst>
              <a:ext uri="{FF2B5EF4-FFF2-40B4-BE49-F238E27FC236}">
                <a16:creationId xmlns:a16="http://schemas.microsoft.com/office/drawing/2014/main" id="{E76E79B8-B7C7-425D-8855-866318680544}"/>
              </a:ext>
            </a:extLst>
          </p:cNvPr>
          <p:cNvGrpSpPr>
            <a:grpSpLocks noChangeAspect="1"/>
          </p:cNvGrpSpPr>
          <p:nvPr/>
        </p:nvGrpSpPr>
        <p:grpSpPr>
          <a:xfrm>
            <a:off x="8348433" y="4554703"/>
            <a:ext cx="834269" cy="834269"/>
            <a:chOff x="5273675" y="2606675"/>
            <a:chExt cx="1644650" cy="1644650"/>
          </a:xfrm>
        </p:grpSpPr>
        <p:sp>
          <p:nvSpPr>
            <p:cNvPr id="97" name="AutoShape 3">
              <a:extLst>
                <a:ext uri="{FF2B5EF4-FFF2-40B4-BE49-F238E27FC236}">
                  <a16:creationId xmlns:a16="http://schemas.microsoft.com/office/drawing/2014/main" id="{A80E2684-F806-40AB-8050-6EBF1899735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1">
              <a:extLst>
                <a:ext uri="{FF2B5EF4-FFF2-40B4-BE49-F238E27FC236}">
                  <a16:creationId xmlns:a16="http://schemas.microsoft.com/office/drawing/2014/main" id="{FEF2E7CF-BB3A-49F5-B060-BD0A675EC8CD}"/>
                </a:ext>
              </a:extLst>
            </p:cNvPr>
            <p:cNvSpPr>
              <a:spLocks/>
            </p:cNvSpPr>
            <p:nvPr/>
          </p:nvSpPr>
          <p:spPr bwMode="auto">
            <a:xfrm>
              <a:off x="5335588" y="2770188"/>
              <a:ext cx="1517650" cy="1311275"/>
            </a:xfrm>
            <a:custGeom>
              <a:avLst/>
              <a:gdLst>
                <a:gd name="connsiteX0" fmla="*/ 955047 w 1517650"/>
                <a:gd name="connsiteY0" fmla="*/ 1035050 h 1311275"/>
                <a:gd name="connsiteX1" fmla="*/ 1088898 w 1517650"/>
                <a:gd name="connsiteY1" fmla="*/ 1144255 h 1311275"/>
                <a:gd name="connsiteX2" fmla="*/ 1095340 w 1517650"/>
                <a:gd name="connsiteY2" fmla="*/ 1144255 h 1311275"/>
                <a:gd name="connsiteX3" fmla="*/ 1228475 w 1517650"/>
                <a:gd name="connsiteY3" fmla="*/ 1035050 h 1311275"/>
                <a:gd name="connsiteX4" fmla="*/ 1410283 w 1517650"/>
                <a:gd name="connsiteY4" fmla="*/ 1065742 h 1311275"/>
                <a:gd name="connsiteX5" fmla="*/ 1466114 w 1517650"/>
                <a:gd name="connsiteY5" fmla="*/ 1119274 h 1311275"/>
                <a:gd name="connsiteX6" fmla="*/ 1517650 w 1517650"/>
                <a:gd name="connsiteY6" fmla="*/ 1293431 h 1311275"/>
                <a:gd name="connsiteX7" fmla="*/ 1517650 w 1517650"/>
                <a:gd name="connsiteY7" fmla="*/ 1295572 h 1311275"/>
                <a:gd name="connsiteX8" fmla="*/ 1501903 w 1517650"/>
                <a:gd name="connsiteY8" fmla="*/ 1311275 h 1311275"/>
                <a:gd name="connsiteX9" fmla="*/ 879175 w 1517650"/>
                <a:gd name="connsiteY9" fmla="*/ 1311275 h 1311275"/>
                <a:gd name="connsiteX10" fmla="*/ 882038 w 1517650"/>
                <a:gd name="connsiteY10" fmla="*/ 1295572 h 1311275"/>
                <a:gd name="connsiteX11" fmla="*/ 882038 w 1517650"/>
                <a:gd name="connsiteY11" fmla="*/ 1293431 h 1311275"/>
                <a:gd name="connsiteX12" fmla="*/ 824776 w 1517650"/>
                <a:gd name="connsiteY12" fmla="*/ 1102144 h 1311275"/>
                <a:gd name="connsiteX13" fmla="*/ 788987 w 1517650"/>
                <a:gd name="connsiteY13" fmla="*/ 1059318 h 1311275"/>
                <a:gd name="connsiteX14" fmla="*/ 955047 w 1517650"/>
                <a:gd name="connsiteY14" fmla="*/ 1035050 h 1311275"/>
                <a:gd name="connsiteX15" fmla="*/ 288162 w 1517650"/>
                <a:gd name="connsiteY15" fmla="*/ 1035050 h 1311275"/>
                <a:gd name="connsiteX16" fmla="*/ 366593 w 1517650"/>
                <a:gd name="connsiteY16" fmla="*/ 1090456 h 1311275"/>
                <a:gd name="connsiteX17" fmla="*/ 425092 w 1517650"/>
                <a:gd name="connsiteY17" fmla="*/ 1100295 h 1311275"/>
                <a:gd name="connsiteX18" fmla="*/ 422590 w 1517650"/>
                <a:gd name="connsiteY18" fmla="*/ 1100716 h 1311275"/>
                <a:gd name="connsiteX19" fmla="*/ 427595 w 1517650"/>
                <a:gd name="connsiteY19" fmla="*/ 1100716 h 1311275"/>
                <a:gd name="connsiteX20" fmla="*/ 425092 w 1517650"/>
                <a:gd name="connsiteY20" fmla="*/ 1100295 h 1311275"/>
                <a:gd name="connsiteX21" fmla="*/ 483592 w 1517650"/>
                <a:gd name="connsiteY21" fmla="*/ 1090456 h 1311275"/>
                <a:gd name="connsiteX22" fmla="*/ 562023 w 1517650"/>
                <a:gd name="connsiteY22" fmla="*/ 1035050 h 1311275"/>
                <a:gd name="connsiteX23" fmla="*/ 744359 w 1517650"/>
                <a:gd name="connsiteY23" fmla="*/ 1065742 h 1311275"/>
                <a:gd name="connsiteX24" fmla="*/ 799417 w 1517650"/>
                <a:gd name="connsiteY24" fmla="*/ 1119274 h 1311275"/>
                <a:gd name="connsiteX25" fmla="*/ 850900 w 1517650"/>
                <a:gd name="connsiteY25" fmla="*/ 1293431 h 1311275"/>
                <a:gd name="connsiteX26" fmla="*/ 850900 w 1517650"/>
                <a:gd name="connsiteY26" fmla="*/ 1295572 h 1311275"/>
                <a:gd name="connsiteX27" fmla="*/ 835169 w 1517650"/>
                <a:gd name="connsiteY27" fmla="*/ 1311275 h 1311275"/>
                <a:gd name="connsiteX28" fmla="*/ 15731 w 1517650"/>
                <a:gd name="connsiteY28" fmla="*/ 1311275 h 1311275"/>
                <a:gd name="connsiteX29" fmla="*/ 0 w 1517650"/>
                <a:gd name="connsiteY29" fmla="*/ 1295572 h 1311275"/>
                <a:gd name="connsiteX30" fmla="*/ 0 w 1517650"/>
                <a:gd name="connsiteY30" fmla="*/ 1293431 h 1311275"/>
                <a:gd name="connsiteX31" fmla="*/ 50768 w 1517650"/>
                <a:gd name="connsiteY31" fmla="*/ 1119274 h 1311275"/>
                <a:gd name="connsiteX32" fmla="*/ 106541 w 1517650"/>
                <a:gd name="connsiteY32" fmla="*/ 1065742 h 1311275"/>
                <a:gd name="connsiteX33" fmla="*/ 288162 w 1517650"/>
                <a:gd name="connsiteY33" fmla="*/ 1035050 h 1311275"/>
                <a:gd name="connsiteX34" fmla="*/ 1302460 w 1517650"/>
                <a:gd name="connsiteY34" fmla="*/ 871537 h 1311275"/>
                <a:gd name="connsiteX35" fmla="*/ 1355725 w 1517650"/>
                <a:gd name="connsiteY35" fmla="*/ 972693 h 1311275"/>
                <a:gd name="connsiteX36" fmla="*/ 1301020 w 1517650"/>
                <a:gd name="connsiteY36" fmla="*/ 1008062 h 1311275"/>
                <a:gd name="connsiteX37" fmla="*/ 1239837 w 1517650"/>
                <a:gd name="connsiteY37" fmla="*/ 1003110 h 1311275"/>
                <a:gd name="connsiteX38" fmla="*/ 1239837 w 1517650"/>
                <a:gd name="connsiteY38" fmla="*/ 990378 h 1311275"/>
                <a:gd name="connsiteX39" fmla="*/ 1302460 w 1517650"/>
                <a:gd name="connsiteY39" fmla="*/ 871537 h 1311275"/>
                <a:gd name="connsiteX40" fmla="*/ 880352 w 1517650"/>
                <a:gd name="connsiteY40" fmla="*/ 869950 h 1311275"/>
                <a:gd name="connsiteX41" fmla="*/ 942975 w 1517650"/>
                <a:gd name="connsiteY41" fmla="*/ 989553 h 1311275"/>
                <a:gd name="connsiteX42" fmla="*/ 942975 w 1517650"/>
                <a:gd name="connsiteY42" fmla="*/ 1003080 h 1311275"/>
                <a:gd name="connsiteX43" fmla="*/ 882511 w 1517650"/>
                <a:gd name="connsiteY43" fmla="*/ 1008063 h 1311275"/>
                <a:gd name="connsiteX44" fmla="*/ 827087 w 1517650"/>
                <a:gd name="connsiteY44" fmla="*/ 972467 h 1311275"/>
                <a:gd name="connsiteX45" fmla="*/ 880352 w 1517650"/>
                <a:gd name="connsiteY45" fmla="*/ 869950 h 1311275"/>
                <a:gd name="connsiteX46" fmla="*/ 863600 w 1517650"/>
                <a:gd name="connsiteY46" fmla="*/ 768350 h 1311275"/>
                <a:gd name="connsiteX47" fmla="*/ 901462 w 1517650"/>
                <a:gd name="connsiteY47" fmla="*/ 786177 h 1311275"/>
                <a:gd name="connsiteX48" fmla="*/ 917178 w 1517650"/>
                <a:gd name="connsiteY48" fmla="*/ 801153 h 1311275"/>
                <a:gd name="connsiteX49" fmla="*/ 924322 w 1517650"/>
                <a:gd name="connsiteY49" fmla="*/ 809710 h 1311275"/>
                <a:gd name="connsiteX50" fmla="*/ 990044 w 1517650"/>
                <a:gd name="connsiteY50" fmla="*/ 948765 h 1311275"/>
                <a:gd name="connsiteX51" fmla="*/ 1092200 w 1517650"/>
                <a:gd name="connsiteY51" fmla="*/ 1000108 h 1311275"/>
                <a:gd name="connsiteX52" fmla="*/ 1193641 w 1517650"/>
                <a:gd name="connsiteY52" fmla="*/ 948765 h 1311275"/>
                <a:gd name="connsiteX53" fmla="*/ 1260078 w 1517650"/>
                <a:gd name="connsiteY53" fmla="*/ 809710 h 1311275"/>
                <a:gd name="connsiteX54" fmla="*/ 1267222 w 1517650"/>
                <a:gd name="connsiteY54" fmla="*/ 801153 h 1311275"/>
                <a:gd name="connsiteX55" fmla="*/ 1282938 w 1517650"/>
                <a:gd name="connsiteY55" fmla="*/ 786177 h 1311275"/>
                <a:gd name="connsiteX56" fmla="*/ 1320800 w 1517650"/>
                <a:gd name="connsiteY56" fmla="*/ 768350 h 1311275"/>
                <a:gd name="connsiteX57" fmla="*/ 1320800 w 1517650"/>
                <a:gd name="connsiteY57" fmla="*/ 771915 h 1311275"/>
                <a:gd name="connsiteX58" fmla="*/ 1287225 w 1517650"/>
                <a:gd name="connsiteY58" fmla="*/ 826111 h 1311275"/>
                <a:gd name="connsiteX59" fmla="*/ 1215072 w 1517650"/>
                <a:gd name="connsiteY59" fmla="*/ 972297 h 1311275"/>
                <a:gd name="connsiteX60" fmla="*/ 1209357 w 1517650"/>
                <a:gd name="connsiteY60" fmla="*/ 976576 h 1311275"/>
                <a:gd name="connsiteX61" fmla="*/ 1209357 w 1517650"/>
                <a:gd name="connsiteY61" fmla="*/ 1009378 h 1311275"/>
                <a:gd name="connsiteX62" fmla="*/ 1208643 w 1517650"/>
                <a:gd name="connsiteY62" fmla="*/ 1010092 h 1311275"/>
                <a:gd name="connsiteX63" fmla="*/ 1177925 w 1517650"/>
                <a:gd name="connsiteY63" fmla="*/ 1035050 h 1311275"/>
                <a:gd name="connsiteX64" fmla="*/ 1177925 w 1517650"/>
                <a:gd name="connsiteY64" fmla="*/ 998682 h 1311275"/>
                <a:gd name="connsiteX65" fmla="*/ 1092200 w 1517650"/>
                <a:gd name="connsiteY65" fmla="*/ 1031485 h 1311275"/>
                <a:gd name="connsiteX66" fmla="*/ 1005760 w 1517650"/>
                <a:gd name="connsiteY66" fmla="*/ 998682 h 1311275"/>
                <a:gd name="connsiteX67" fmla="*/ 1005760 w 1517650"/>
                <a:gd name="connsiteY67" fmla="*/ 1035050 h 1311275"/>
                <a:gd name="connsiteX68" fmla="*/ 975757 w 1517650"/>
                <a:gd name="connsiteY68" fmla="*/ 1010092 h 1311275"/>
                <a:gd name="connsiteX69" fmla="*/ 974328 w 1517650"/>
                <a:gd name="connsiteY69" fmla="*/ 1009378 h 1311275"/>
                <a:gd name="connsiteX70" fmla="*/ 974328 w 1517650"/>
                <a:gd name="connsiteY70" fmla="*/ 975863 h 1311275"/>
                <a:gd name="connsiteX71" fmla="*/ 969327 w 1517650"/>
                <a:gd name="connsiteY71" fmla="*/ 972297 h 1311275"/>
                <a:gd name="connsiteX72" fmla="*/ 897175 w 1517650"/>
                <a:gd name="connsiteY72" fmla="*/ 826111 h 1311275"/>
                <a:gd name="connsiteX73" fmla="*/ 863600 w 1517650"/>
                <a:gd name="connsiteY73" fmla="*/ 773342 h 1311275"/>
                <a:gd name="connsiteX74" fmla="*/ 863600 w 1517650"/>
                <a:gd name="connsiteY74" fmla="*/ 768350 h 1311275"/>
                <a:gd name="connsiteX75" fmla="*/ 196850 w 1517650"/>
                <a:gd name="connsiteY75" fmla="*/ 768350 h 1311275"/>
                <a:gd name="connsiteX76" fmla="*/ 234653 w 1517650"/>
                <a:gd name="connsiteY76" fmla="*/ 786267 h 1311275"/>
                <a:gd name="connsiteX77" fmla="*/ 250344 w 1517650"/>
                <a:gd name="connsiteY77" fmla="*/ 801317 h 1311275"/>
                <a:gd name="connsiteX78" fmla="*/ 257477 w 1517650"/>
                <a:gd name="connsiteY78" fmla="*/ 809917 h 1311275"/>
                <a:gd name="connsiteX79" fmla="*/ 323097 w 1517650"/>
                <a:gd name="connsiteY79" fmla="*/ 949667 h 1311275"/>
                <a:gd name="connsiteX80" fmla="*/ 425093 w 1517650"/>
                <a:gd name="connsiteY80" fmla="*/ 1001267 h 1311275"/>
                <a:gd name="connsiteX81" fmla="*/ 527089 w 1517650"/>
                <a:gd name="connsiteY81" fmla="*/ 949667 h 1311275"/>
                <a:gd name="connsiteX82" fmla="*/ 593423 w 1517650"/>
                <a:gd name="connsiteY82" fmla="*/ 809917 h 1311275"/>
                <a:gd name="connsiteX83" fmla="*/ 600555 w 1517650"/>
                <a:gd name="connsiteY83" fmla="*/ 801317 h 1311275"/>
                <a:gd name="connsiteX84" fmla="*/ 616247 w 1517650"/>
                <a:gd name="connsiteY84" fmla="*/ 786267 h 1311275"/>
                <a:gd name="connsiteX85" fmla="*/ 654050 w 1517650"/>
                <a:gd name="connsiteY85" fmla="*/ 768350 h 1311275"/>
                <a:gd name="connsiteX86" fmla="*/ 654050 w 1517650"/>
                <a:gd name="connsiteY86" fmla="*/ 771933 h 1311275"/>
                <a:gd name="connsiteX87" fmla="*/ 620527 w 1517650"/>
                <a:gd name="connsiteY87" fmla="*/ 826400 h 1311275"/>
                <a:gd name="connsiteX88" fmla="*/ 548487 w 1517650"/>
                <a:gd name="connsiteY88" fmla="*/ 973317 h 1311275"/>
                <a:gd name="connsiteX89" fmla="*/ 543494 w 1517650"/>
                <a:gd name="connsiteY89" fmla="*/ 976900 h 1311275"/>
                <a:gd name="connsiteX90" fmla="*/ 543494 w 1517650"/>
                <a:gd name="connsiteY90" fmla="*/ 1008433 h 1311275"/>
                <a:gd name="connsiteX91" fmla="*/ 536362 w 1517650"/>
                <a:gd name="connsiteY91" fmla="*/ 1017033 h 1311275"/>
                <a:gd name="connsiteX92" fmla="*/ 512111 w 1517650"/>
                <a:gd name="connsiteY92" fmla="*/ 1041400 h 1311275"/>
                <a:gd name="connsiteX93" fmla="*/ 512111 w 1517650"/>
                <a:gd name="connsiteY93" fmla="*/ 999833 h 1311275"/>
                <a:gd name="connsiteX94" fmla="*/ 425093 w 1517650"/>
                <a:gd name="connsiteY94" fmla="*/ 1032800 h 1311275"/>
                <a:gd name="connsiteX95" fmla="*/ 339502 w 1517650"/>
                <a:gd name="connsiteY95" fmla="*/ 999833 h 1311275"/>
                <a:gd name="connsiteX96" fmla="*/ 339502 w 1517650"/>
                <a:gd name="connsiteY96" fmla="*/ 1041400 h 1311275"/>
                <a:gd name="connsiteX97" fmla="*/ 314538 w 1517650"/>
                <a:gd name="connsiteY97" fmla="*/ 1017033 h 1311275"/>
                <a:gd name="connsiteX98" fmla="*/ 308118 w 1517650"/>
                <a:gd name="connsiteY98" fmla="*/ 1008433 h 1311275"/>
                <a:gd name="connsiteX99" fmla="*/ 308118 w 1517650"/>
                <a:gd name="connsiteY99" fmla="*/ 977617 h 1311275"/>
                <a:gd name="connsiteX100" fmla="*/ 302412 w 1517650"/>
                <a:gd name="connsiteY100" fmla="*/ 973317 h 1311275"/>
                <a:gd name="connsiteX101" fmla="*/ 230373 w 1517650"/>
                <a:gd name="connsiteY101" fmla="*/ 826400 h 1311275"/>
                <a:gd name="connsiteX102" fmla="*/ 196850 w 1517650"/>
                <a:gd name="connsiteY102" fmla="*/ 773367 h 1311275"/>
                <a:gd name="connsiteX103" fmla="*/ 196850 w 1517650"/>
                <a:gd name="connsiteY103" fmla="*/ 768350 h 1311275"/>
                <a:gd name="connsiteX104" fmla="*/ 1091126 w 1517650"/>
                <a:gd name="connsiteY104" fmla="*/ 431800 h 1311275"/>
                <a:gd name="connsiteX105" fmla="*/ 1313734 w 1517650"/>
                <a:gd name="connsiteY105" fmla="*/ 656987 h 1311275"/>
                <a:gd name="connsiteX106" fmla="*/ 1305861 w 1517650"/>
                <a:gd name="connsiteY106" fmla="*/ 733479 h 1311275"/>
                <a:gd name="connsiteX107" fmla="*/ 1305861 w 1517650"/>
                <a:gd name="connsiteY107" fmla="*/ 732764 h 1311275"/>
                <a:gd name="connsiteX108" fmla="*/ 1281524 w 1517650"/>
                <a:gd name="connsiteY108" fmla="*/ 767793 h 1311275"/>
                <a:gd name="connsiteX109" fmla="*/ 1279377 w 1517650"/>
                <a:gd name="connsiteY109" fmla="*/ 768508 h 1311275"/>
                <a:gd name="connsiteX110" fmla="*/ 1265061 w 1517650"/>
                <a:gd name="connsiteY110" fmla="*/ 768508 h 1311275"/>
                <a:gd name="connsiteX111" fmla="*/ 1263630 w 1517650"/>
                <a:gd name="connsiteY111" fmla="*/ 768508 h 1311275"/>
                <a:gd name="connsiteX112" fmla="*/ 971591 w 1517650"/>
                <a:gd name="connsiteY112" fmla="*/ 612664 h 1311275"/>
                <a:gd name="connsiteX113" fmla="*/ 968728 w 1517650"/>
                <a:gd name="connsiteY113" fmla="*/ 612664 h 1311275"/>
                <a:gd name="connsiteX114" fmla="*/ 882118 w 1517650"/>
                <a:gd name="connsiteY114" fmla="*/ 749921 h 1311275"/>
                <a:gd name="connsiteX115" fmla="*/ 882118 w 1517650"/>
                <a:gd name="connsiteY115" fmla="*/ 749206 h 1311275"/>
                <a:gd name="connsiteX116" fmla="*/ 869950 w 1517650"/>
                <a:gd name="connsiteY116" fmla="*/ 656987 h 1311275"/>
                <a:gd name="connsiteX117" fmla="*/ 1091126 w 1517650"/>
                <a:gd name="connsiteY117" fmla="*/ 431800 h 1311275"/>
                <a:gd name="connsiteX118" fmla="*/ 425450 w 1517650"/>
                <a:gd name="connsiteY118" fmla="*/ 431800 h 1311275"/>
                <a:gd name="connsiteX119" fmla="*/ 646983 w 1517650"/>
                <a:gd name="connsiteY119" fmla="*/ 659000 h 1311275"/>
                <a:gd name="connsiteX120" fmla="*/ 639097 w 1517650"/>
                <a:gd name="connsiteY120" fmla="*/ 735689 h 1311275"/>
                <a:gd name="connsiteX121" fmla="*/ 614004 w 1517650"/>
                <a:gd name="connsiteY121" fmla="*/ 771525 h 1311275"/>
                <a:gd name="connsiteX122" fmla="*/ 597514 w 1517650"/>
                <a:gd name="connsiteY122" fmla="*/ 771525 h 1311275"/>
                <a:gd name="connsiteX123" fmla="*/ 595363 w 1517650"/>
                <a:gd name="connsiteY123" fmla="*/ 603813 h 1311275"/>
                <a:gd name="connsiteX124" fmla="*/ 303571 w 1517650"/>
                <a:gd name="connsiteY124" fmla="*/ 613847 h 1311275"/>
                <a:gd name="connsiteX125" fmla="*/ 249084 w 1517650"/>
                <a:gd name="connsiteY125" fmla="*/ 768658 h 1311275"/>
                <a:gd name="connsiteX126" fmla="*/ 234028 w 1517650"/>
                <a:gd name="connsiteY126" fmla="*/ 766508 h 1311275"/>
                <a:gd name="connsiteX127" fmla="*/ 211803 w 1517650"/>
                <a:gd name="connsiteY127" fmla="*/ 738556 h 1311275"/>
                <a:gd name="connsiteX128" fmla="*/ 211803 w 1517650"/>
                <a:gd name="connsiteY128" fmla="*/ 737839 h 1311275"/>
                <a:gd name="connsiteX129" fmla="*/ 203200 w 1517650"/>
                <a:gd name="connsiteY129" fmla="*/ 659000 h 1311275"/>
                <a:gd name="connsiteX130" fmla="*/ 425450 w 1517650"/>
                <a:gd name="connsiteY130" fmla="*/ 431800 h 1311275"/>
                <a:gd name="connsiteX131" fmla="*/ 1351838 w 1517650"/>
                <a:gd name="connsiteY131" fmla="*/ 417512 h 1311275"/>
                <a:gd name="connsiteX132" fmla="*/ 1470682 w 1517650"/>
                <a:gd name="connsiteY132" fmla="*/ 472908 h 1311275"/>
                <a:gd name="connsiteX133" fmla="*/ 1468547 w 1517650"/>
                <a:gd name="connsiteY133" fmla="*/ 494924 h 1311275"/>
                <a:gd name="connsiteX134" fmla="*/ 1458584 w 1517650"/>
                <a:gd name="connsiteY134" fmla="*/ 498475 h 1311275"/>
                <a:gd name="connsiteX135" fmla="*/ 1446486 w 1517650"/>
                <a:gd name="connsiteY135" fmla="*/ 492793 h 1311275"/>
                <a:gd name="connsiteX136" fmla="*/ 1351838 w 1517650"/>
                <a:gd name="connsiteY136" fmla="*/ 448761 h 1311275"/>
                <a:gd name="connsiteX137" fmla="*/ 1272135 w 1517650"/>
                <a:gd name="connsiteY137" fmla="*/ 477169 h 1311275"/>
                <a:gd name="connsiteX138" fmla="*/ 1272135 w 1517650"/>
                <a:gd name="connsiteY138" fmla="*/ 476459 h 1311275"/>
                <a:gd name="connsiteX139" fmla="*/ 1249362 w 1517650"/>
                <a:gd name="connsiteY139" fmla="*/ 455863 h 1311275"/>
                <a:gd name="connsiteX140" fmla="*/ 1351838 w 1517650"/>
                <a:gd name="connsiteY140" fmla="*/ 417512 h 1311275"/>
                <a:gd name="connsiteX141" fmla="*/ 759619 w 1517650"/>
                <a:gd name="connsiteY141" fmla="*/ 417512 h 1311275"/>
                <a:gd name="connsiteX142" fmla="*/ 878541 w 1517650"/>
                <a:gd name="connsiteY142" fmla="*/ 473604 h 1311275"/>
                <a:gd name="connsiteX143" fmla="*/ 877117 w 1517650"/>
                <a:gd name="connsiteY143" fmla="*/ 495897 h 1311275"/>
                <a:gd name="connsiteX144" fmla="*/ 867147 w 1517650"/>
                <a:gd name="connsiteY144" fmla="*/ 499492 h 1311275"/>
                <a:gd name="connsiteX145" fmla="*/ 855041 w 1517650"/>
                <a:gd name="connsiteY145" fmla="*/ 493739 h 1311275"/>
                <a:gd name="connsiteX146" fmla="*/ 759619 w 1517650"/>
                <a:gd name="connsiteY146" fmla="*/ 449154 h 1311275"/>
                <a:gd name="connsiteX147" fmla="*/ 664196 w 1517650"/>
                <a:gd name="connsiteY147" fmla="*/ 493739 h 1311275"/>
                <a:gd name="connsiteX148" fmla="*/ 642121 w 1517650"/>
                <a:gd name="connsiteY148" fmla="*/ 495897 h 1311275"/>
                <a:gd name="connsiteX149" fmla="*/ 640697 w 1517650"/>
                <a:gd name="connsiteY149" fmla="*/ 473604 h 1311275"/>
                <a:gd name="connsiteX150" fmla="*/ 759619 w 1517650"/>
                <a:gd name="connsiteY150" fmla="*/ 417512 h 1311275"/>
                <a:gd name="connsiteX151" fmla="*/ 165812 w 1517650"/>
                <a:gd name="connsiteY151" fmla="*/ 417512 h 1311275"/>
                <a:gd name="connsiteX152" fmla="*/ 268288 w 1517650"/>
                <a:gd name="connsiteY152" fmla="*/ 456345 h 1311275"/>
                <a:gd name="connsiteX153" fmla="*/ 244804 w 1517650"/>
                <a:gd name="connsiteY153" fmla="*/ 477200 h 1311275"/>
                <a:gd name="connsiteX154" fmla="*/ 165812 w 1517650"/>
                <a:gd name="connsiteY154" fmla="*/ 449154 h 1311275"/>
                <a:gd name="connsiteX155" fmla="*/ 71164 w 1517650"/>
                <a:gd name="connsiteY155" fmla="*/ 493739 h 1311275"/>
                <a:gd name="connsiteX156" fmla="*/ 49103 w 1517650"/>
                <a:gd name="connsiteY156" fmla="*/ 495897 h 1311275"/>
                <a:gd name="connsiteX157" fmla="*/ 46968 w 1517650"/>
                <a:gd name="connsiteY157" fmla="*/ 473604 h 1311275"/>
                <a:gd name="connsiteX158" fmla="*/ 165812 w 1517650"/>
                <a:gd name="connsiteY158" fmla="*/ 417512 h 1311275"/>
                <a:gd name="connsiteX159" fmla="*/ 1260912 w 1517650"/>
                <a:gd name="connsiteY159" fmla="*/ 277812 h 1311275"/>
                <a:gd name="connsiteX160" fmla="*/ 1380889 w 1517650"/>
                <a:gd name="connsiteY160" fmla="*/ 333904 h 1311275"/>
                <a:gd name="connsiteX161" fmla="*/ 1378747 w 1517650"/>
                <a:gd name="connsiteY161" fmla="*/ 356197 h 1311275"/>
                <a:gd name="connsiteX162" fmla="*/ 1368749 w 1517650"/>
                <a:gd name="connsiteY162" fmla="*/ 359792 h 1311275"/>
                <a:gd name="connsiteX163" fmla="*/ 1356608 w 1517650"/>
                <a:gd name="connsiteY163" fmla="*/ 354759 h 1311275"/>
                <a:gd name="connsiteX164" fmla="*/ 1260912 w 1517650"/>
                <a:gd name="connsiteY164" fmla="*/ 309454 h 1311275"/>
                <a:gd name="connsiteX165" fmla="*/ 1165930 w 1517650"/>
                <a:gd name="connsiteY165" fmla="*/ 354759 h 1311275"/>
                <a:gd name="connsiteX166" fmla="*/ 1143791 w 1517650"/>
                <a:gd name="connsiteY166" fmla="*/ 356197 h 1311275"/>
                <a:gd name="connsiteX167" fmla="*/ 1142363 w 1517650"/>
                <a:gd name="connsiteY167" fmla="*/ 333904 h 1311275"/>
                <a:gd name="connsiteX168" fmla="*/ 1260912 w 1517650"/>
                <a:gd name="connsiteY168" fmla="*/ 277812 h 1311275"/>
                <a:gd name="connsiteX169" fmla="*/ 926306 w 1517650"/>
                <a:gd name="connsiteY169" fmla="*/ 277812 h 1311275"/>
                <a:gd name="connsiteX170" fmla="*/ 1045940 w 1517650"/>
                <a:gd name="connsiteY170" fmla="*/ 333904 h 1311275"/>
                <a:gd name="connsiteX171" fmla="*/ 1043804 w 1517650"/>
                <a:gd name="connsiteY171" fmla="*/ 356197 h 1311275"/>
                <a:gd name="connsiteX172" fmla="*/ 1033834 w 1517650"/>
                <a:gd name="connsiteY172" fmla="*/ 359792 h 1311275"/>
                <a:gd name="connsiteX173" fmla="*/ 1021728 w 1517650"/>
                <a:gd name="connsiteY173" fmla="*/ 354759 h 1311275"/>
                <a:gd name="connsiteX174" fmla="*/ 926306 w 1517650"/>
                <a:gd name="connsiteY174" fmla="*/ 309454 h 1311275"/>
                <a:gd name="connsiteX175" fmla="*/ 830883 w 1517650"/>
                <a:gd name="connsiteY175" fmla="*/ 354759 h 1311275"/>
                <a:gd name="connsiteX176" fmla="*/ 808808 w 1517650"/>
                <a:gd name="connsiteY176" fmla="*/ 356197 h 1311275"/>
                <a:gd name="connsiteX177" fmla="*/ 807384 w 1517650"/>
                <a:gd name="connsiteY177" fmla="*/ 333904 h 1311275"/>
                <a:gd name="connsiteX178" fmla="*/ 926306 w 1517650"/>
                <a:gd name="connsiteY178" fmla="*/ 277812 h 1311275"/>
                <a:gd name="connsiteX179" fmla="*/ 592137 w 1517650"/>
                <a:gd name="connsiteY179" fmla="*/ 277812 h 1311275"/>
                <a:gd name="connsiteX180" fmla="*/ 711817 w 1517650"/>
                <a:gd name="connsiteY180" fmla="*/ 333904 h 1311275"/>
                <a:gd name="connsiteX181" fmla="*/ 710383 w 1517650"/>
                <a:gd name="connsiteY181" fmla="*/ 356197 h 1311275"/>
                <a:gd name="connsiteX182" fmla="*/ 700350 w 1517650"/>
                <a:gd name="connsiteY182" fmla="*/ 359792 h 1311275"/>
                <a:gd name="connsiteX183" fmla="*/ 688167 w 1517650"/>
                <a:gd name="connsiteY183" fmla="*/ 354759 h 1311275"/>
                <a:gd name="connsiteX184" fmla="*/ 592137 w 1517650"/>
                <a:gd name="connsiteY184" fmla="*/ 309454 h 1311275"/>
                <a:gd name="connsiteX185" fmla="*/ 496107 w 1517650"/>
                <a:gd name="connsiteY185" fmla="*/ 354759 h 1311275"/>
                <a:gd name="connsiteX186" fmla="*/ 473891 w 1517650"/>
                <a:gd name="connsiteY186" fmla="*/ 356197 h 1311275"/>
                <a:gd name="connsiteX187" fmla="*/ 471741 w 1517650"/>
                <a:gd name="connsiteY187" fmla="*/ 333904 h 1311275"/>
                <a:gd name="connsiteX188" fmla="*/ 592137 w 1517650"/>
                <a:gd name="connsiteY188" fmla="*/ 277812 h 1311275"/>
                <a:gd name="connsiteX189" fmla="*/ 257174 w 1517650"/>
                <a:gd name="connsiteY189" fmla="*/ 277812 h 1311275"/>
                <a:gd name="connsiteX190" fmla="*/ 376854 w 1517650"/>
                <a:gd name="connsiteY190" fmla="*/ 333904 h 1311275"/>
                <a:gd name="connsiteX191" fmla="*/ 375420 w 1517650"/>
                <a:gd name="connsiteY191" fmla="*/ 356197 h 1311275"/>
                <a:gd name="connsiteX192" fmla="*/ 365387 w 1517650"/>
                <a:gd name="connsiteY192" fmla="*/ 359792 h 1311275"/>
                <a:gd name="connsiteX193" fmla="*/ 353204 w 1517650"/>
                <a:gd name="connsiteY193" fmla="*/ 354759 h 1311275"/>
                <a:gd name="connsiteX194" fmla="*/ 257174 w 1517650"/>
                <a:gd name="connsiteY194" fmla="*/ 309454 h 1311275"/>
                <a:gd name="connsiteX195" fmla="*/ 161144 w 1517650"/>
                <a:gd name="connsiteY195" fmla="*/ 354759 h 1311275"/>
                <a:gd name="connsiteX196" fmla="*/ 138928 w 1517650"/>
                <a:gd name="connsiteY196" fmla="*/ 356197 h 1311275"/>
                <a:gd name="connsiteX197" fmla="*/ 136778 w 1517650"/>
                <a:gd name="connsiteY197" fmla="*/ 333904 h 1311275"/>
                <a:gd name="connsiteX198" fmla="*/ 257174 w 1517650"/>
                <a:gd name="connsiteY198" fmla="*/ 277812 h 1311275"/>
                <a:gd name="connsiteX199" fmla="*/ 1093351 w 1517650"/>
                <a:gd name="connsiteY199" fmla="*/ 139700 h 1311275"/>
                <a:gd name="connsiteX200" fmla="*/ 1212614 w 1517650"/>
                <a:gd name="connsiteY200" fmla="*/ 196030 h 1311275"/>
                <a:gd name="connsiteX201" fmla="*/ 1210471 w 1517650"/>
                <a:gd name="connsiteY201" fmla="*/ 218134 h 1311275"/>
                <a:gd name="connsiteX202" fmla="*/ 1200473 w 1517650"/>
                <a:gd name="connsiteY202" fmla="*/ 221699 h 1311275"/>
                <a:gd name="connsiteX203" fmla="*/ 1188333 w 1517650"/>
                <a:gd name="connsiteY203" fmla="*/ 215994 h 1311275"/>
                <a:gd name="connsiteX204" fmla="*/ 1093351 w 1517650"/>
                <a:gd name="connsiteY204" fmla="*/ 171786 h 1311275"/>
                <a:gd name="connsiteX205" fmla="*/ 997655 w 1517650"/>
                <a:gd name="connsiteY205" fmla="*/ 215994 h 1311275"/>
                <a:gd name="connsiteX206" fmla="*/ 975516 w 1517650"/>
                <a:gd name="connsiteY206" fmla="*/ 218134 h 1311275"/>
                <a:gd name="connsiteX207" fmla="*/ 974088 w 1517650"/>
                <a:gd name="connsiteY207" fmla="*/ 196030 h 1311275"/>
                <a:gd name="connsiteX208" fmla="*/ 1093351 w 1517650"/>
                <a:gd name="connsiteY208" fmla="*/ 139700 h 1311275"/>
                <a:gd name="connsiteX209" fmla="*/ 759619 w 1517650"/>
                <a:gd name="connsiteY209" fmla="*/ 139700 h 1311275"/>
                <a:gd name="connsiteX210" fmla="*/ 878541 w 1517650"/>
                <a:gd name="connsiteY210" fmla="*/ 196030 h 1311275"/>
                <a:gd name="connsiteX211" fmla="*/ 877117 w 1517650"/>
                <a:gd name="connsiteY211" fmla="*/ 218134 h 1311275"/>
                <a:gd name="connsiteX212" fmla="*/ 867147 w 1517650"/>
                <a:gd name="connsiteY212" fmla="*/ 221699 h 1311275"/>
                <a:gd name="connsiteX213" fmla="*/ 855041 w 1517650"/>
                <a:gd name="connsiteY213" fmla="*/ 215994 h 1311275"/>
                <a:gd name="connsiteX214" fmla="*/ 759619 w 1517650"/>
                <a:gd name="connsiteY214" fmla="*/ 171786 h 1311275"/>
                <a:gd name="connsiteX215" fmla="*/ 664196 w 1517650"/>
                <a:gd name="connsiteY215" fmla="*/ 215994 h 1311275"/>
                <a:gd name="connsiteX216" fmla="*/ 642121 w 1517650"/>
                <a:gd name="connsiteY216" fmla="*/ 218134 h 1311275"/>
                <a:gd name="connsiteX217" fmla="*/ 640697 w 1517650"/>
                <a:gd name="connsiteY217" fmla="*/ 196030 h 1311275"/>
                <a:gd name="connsiteX218" fmla="*/ 759619 w 1517650"/>
                <a:gd name="connsiteY218" fmla="*/ 139700 h 1311275"/>
                <a:gd name="connsiteX219" fmla="*/ 424656 w 1517650"/>
                <a:gd name="connsiteY219" fmla="*/ 139700 h 1311275"/>
                <a:gd name="connsiteX220" fmla="*/ 543578 w 1517650"/>
                <a:gd name="connsiteY220" fmla="*/ 196030 h 1311275"/>
                <a:gd name="connsiteX221" fmla="*/ 542154 w 1517650"/>
                <a:gd name="connsiteY221" fmla="*/ 218134 h 1311275"/>
                <a:gd name="connsiteX222" fmla="*/ 532184 w 1517650"/>
                <a:gd name="connsiteY222" fmla="*/ 221699 h 1311275"/>
                <a:gd name="connsiteX223" fmla="*/ 520078 w 1517650"/>
                <a:gd name="connsiteY223" fmla="*/ 215994 h 1311275"/>
                <a:gd name="connsiteX224" fmla="*/ 424656 w 1517650"/>
                <a:gd name="connsiteY224" fmla="*/ 171786 h 1311275"/>
                <a:gd name="connsiteX225" fmla="*/ 329233 w 1517650"/>
                <a:gd name="connsiteY225" fmla="*/ 215994 h 1311275"/>
                <a:gd name="connsiteX226" fmla="*/ 307158 w 1517650"/>
                <a:gd name="connsiteY226" fmla="*/ 218134 h 1311275"/>
                <a:gd name="connsiteX227" fmla="*/ 305022 w 1517650"/>
                <a:gd name="connsiteY227" fmla="*/ 196030 h 1311275"/>
                <a:gd name="connsiteX228" fmla="*/ 424656 w 1517650"/>
                <a:gd name="connsiteY228" fmla="*/ 139700 h 1311275"/>
                <a:gd name="connsiteX229" fmla="*/ 926306 w 1517650"/>
                <a:gd name="connsiteY229" fmla="*/ 0 h 1311275"/>
                <a:gd name="connsiteX230" fmla="*/ 1045940 w 1517650"/>
                <a:gd name="connsiteY230" fmla="*/ 56092 h 1311275"/>
                <a:gd name="connsiteX231" fmla="*/ 1043804 w 1517650"/>
                <a:gd name="connsiteY231" fmla="*/ 78385 h 1311275"/>
                <a:gd name="connsiteX232" fmla="*/ 1033834 w 1517650"/>
                <a:gd name="connsiteY232" fmla="*/ 81980 h 1311275"/>
                <a:gd name="connsiteX233" fmla="*/ 1021728 w 1517650"/>
                <a:gd name="connsiteY233" fmla="*/ 76947 h 1311275"/>
                <a:gd name="connsiteX234" fmla="*/ 926306 w 1517650"/>
                <a:gd name="connsiteY234" fmla="*/ 31642 h 1311275"/>
                <a:gd name="connsiteX235" fmla="*/ 830883 w 1517650"/>
                <a:gd name="connsiteY235" fmla="*/ 76947 h 1311275"/>
                <a:gd name="connsiteX236" fmla="*/ 808808 w 1517650"/>
                <a:gd name="connsiteY236" fmla="*/ 78385 h 1311275"/>
                <a:gd name="connsiteX237" fmla="*/ 807384 w 1517650"/>
                <a:gd name="connsiteY237" fmla="*/ 56092 h 1311275"/>
                <a:gd name="connsiteX238" fmla="*/ 926306 w 1517650"/>
                <a:gd name="connsiteY238" fmla="*/ 0 h 1311275"/>
                <a:gd name="connsiteX239" fmla="*/ 592137 w 1517650"/>
                <a:gd name="connsiteY239" fmla="*/ 0 h 1311275"/>
                <a:gd name="connsiteX240" fmla="*/ 711817 w 1517650"/>
                <a:gd name="connsiteY240" fmla="*/ 56092 h 1311275"/>
                <a:gd name="connsiteX241" fmla="*/ 710383 w 1517650"/>
                <a:gd name="connsiteY241" fmla="*/ 78385 h 1311275"/>
                <a:gd name="connsiteX242" fmla="*/ 700350 w 1517650"/>
                <a:gd name="connsiteY242" fmla="*/ 81980 h 1311275"/>
                <a:gd name="connsiteX243" fmla="*/ 688167 w 1517650"/>
                <a:gd name="connsiteY243" fmla="*/ 76947 h 1311275"/>
                <a:gd name="connsiteX244" fmla="*/ 592137 w 1517650"/>
                <a:gd name="connsiteY244" fmla="*/ 31642 h 1311275"/>
                <a:gd name="connsiteX245" fmla="*/ 496107 w 1517650"/>
                <a:gd name="connsiteY245" fmla="*/ 76947 h 1311275"/>
                <a:gd name="connsiteX246" fmla="*/ 473891 w 1517650"/>
                <a:gd name="connsiteY246" fmla="*/ 78385 h 1311275"/>
                <a:gd name="connsiteX247" fmla="*/ 471741 w 1517650"/>
                <a:gd name="connsiteY247" fmla="*/ 56092 h 1311275"/>
                <a:gd name="connsiteX248" fmla="*/ 592137 w 1517650"/>
                <a:gd name="connsiteY248" fmla="*/ 0 h 131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517650" h="1311275">
                  <a:moveTo>
                    <a:pt x="955047" y="1035050"/>
                  </a:moveTo>
                  <a:cubicBezTo>
                    <a:pt x="955047" y="1035050"/>
                    <a:pt x="1045951" y="1110709"/>
                    <a:pt x="1088898" y="1144255"/>
                  </a:cubicBezTo>
                  <a:cubicBezTo>
                    <a:pt x="1091045" y="1145683"/>
                    <a:pt x="1093193" y="1145683"/>
                    <a:pt x="1095340" y="1144255"/>
                  </a:cubicBezTo>
                  <a:cubicBezTo>
                    <a:pt x="1153318" y="1097861"/>
                    <a:pt x="1228475" y="1035050"/>
                    <a:pt x="1228475" y="1035050"/>
                  </a:cubicBezTo>
                  <a:cubicBezTo>
                    <a:pt x="1228475" y="1035050"/>
                    <a:pt x="1346579" y="1036478"/>
                    <a:pt x="1410283" y="1065742"/>
                  </a:cubicBezTo>
                  <a:cubicBezTo>
                    <a:pt x="1431757" y="1075734"/>
                    <a:pt x="1450367" y="1095720"/>
                    <a:pt x="1466114" y="1119274"/>
                  </a:cubicBezTo>
                  <a:cubicBezTo>
                    <a:pt x="1500472" y="1170664"/>
                    <a:pt x="1517650" y="1231334"/>
                    <a:pt x="1517650" y="1293431"/>
                  </a:cubicBezTo>
                  <a:cubicBezTo>
                    <a:pt x="1517650" y="1293431"/>
                    <a:pt x="1517650" y="1293431"/>
                    <a:pt x="1517650" y="1295572"/>
                  </a:cubicBezTo>
                  <a:cubicBezTo>
                    <a:pt x="1517650" y="1304138"/>
                    <a:pt x="1510492" y="1311275"/>
                    <a:pt x="1501903" y="1311275"/>
                  </a:cubicBezTo>
                  <a:cubicBezTo>
                    <a:pt x="1501903" y="1311275"/>
                    <a:pt x="1501903" y="1311275"/>
                    <a:pt x="879175" y="1311275"/>
                  </a:cubicBezTo>
                  <a:cubicBezTo>
                    <a:pt x="881322" y="1306279"/>
                    <a:pt x="882038" y="1300569"/>
                    <a:pt x="882038" y="1295572"/>
                  </a:cubicBezTo>
                  <a:cubicBezTo>
                    <a:pt x="882038" y="1295572"/>
                    <a:pt x="882038" y="1295572"/>
                    <a:pt x="882038" y="1293431"/>
                  </a:cubicBezTo>
                  <a:cubicBezTo>
                    <a:pt x="882038" y="1224196"/>
                    <a:pt x="862712" y="1157817"/>
                    <a:pt x="824776" y="1102144"/>
                  </a:cubicBezTo>
                  <a:cubicBezTo>
                    <a:pt x="813323" y="1085013"/>
                    <a:pt x="801871" y="1070738"/>
                    <a:pt x="788987" y="1059318"/>
                  </a:cubicBezTo>
                  <a:cubicBezTo>
                    <a:pt x="854838" y="1036478"/>
                    <a:pt x="955047" y="1035050"/>
                    <a:pt x="955047" y="1035050"/>
                  </a:cubicBezTo>
                  <a:close/>
                  <a:moveTo>
                    <a:pt x="288162" y="1035050"/>
                  </a:moveTo>
                  <a:cubicBezTo>
                    <a:pt x="288162" y="1035050"/>
                    <a:pt x="314305" y="1071987"/>
                    <a:pt x="366593" y="1090456"/>
                  </a:cubicBezTo>
                  <a:lnTo>
                    <a:pt x="425092" y="1100295"/>
                  </a:lnTo>
                  <a:lnTo>
                    <a:pt x="422590" y="1100716"/>
                  </a:lnTo>
                  <a:cubicBezTo>
                    <a:pt x="427595" y="1100716"/>
                    <a:pt x="427595" y="1100716"/>
                    <a:pt x="427595" y="1100716"/>
                  </a:cubicBezTo>
                  <a:lnTo>
                    <a:pt x="425092" y="1100295"/>
                  </a:lnTo>
                  <a:lnTo>
                    <a:pt x="483592" y="1090456"/>
                  </a:lnTo>
                  <a:cubicBezTo>
                    <a:pt x="535879" y="1071987"/>
                    <a:pt x="562023" y="1035050"/>
                    <a:pt x="562023" y="1035050"/>
                  </a:cubicBezTo>
                  <a:cubicBezTo>
                    <a:pt x="562023" y="1035050"/>
                    <a:pt x="680005" y="1036478"/>
                    <a:pt x="744359" y="1065742"/>
                  </a:cubicBezTo>
                  <a:cubicBezTo>
                    <a:pt x="765095" y="1075734"/>
                    <a:pt x="783686" y="1095720"/>
                    <a:pt x="799417" y="1119274"/>
                  </a:cubicBezTo>
                  <a:cubicBezTo>
                    <a:pt x="833739" y="1170664"/>
                    <a:pt x="850900" y="1231334"/>
                    <a:pt x="850900" y="1293431"/>
                  </a:cubicBezTo>
                  <a:cubicBezTo>
                    <a:pt x="850900" y="1293431"/>
                    <a:pt x="850900" y="1293431"/>
                    <a:pt x="850900" y="1295572"/>
                  </a:cubicBezTo>
                  <a:cubicBezTo>
                    <a:pt x="850900" y="1304138"/>
                    <a:pt x="843749" y="1311275"/>
                    <a:pt x="835169" y="1311275"/>
                  </a:cubicBezTo>
                  <a:cubicBezTo>
                    <a:pt x="835169" y="1311275"/>
                    <a:pt x="835169" y="1311275"/>
                    <a:pt x="15731" y="1311275"/>
                  </a:cubicBezTo>
                  <a:cubicBezTo>
                    <a:pt x="7150" y="1311275"/>
                    <a:pt x="0" y="1304138"/>
                    <a:pt x="0" y="1295572"/>
                  </a:cubicBezTo>
                  <a:cubicBezTo>
                    <a:pt x="0" y="1295572"/>
                    <a:pt x="0" y="1295572"/>
                    <a:pt x="0" y="1293431"/>
                  </a:cubicBezTo>
                  <a:cubicBezTo>
                    <a:pt x="0" y="1231334"/>
                    <a:pt x="17161" y="1170664"/>
                    <a:pt x="50768" y="1119274"/>
                  </a:cubicBezTo>
                  <a:cubicBezTo>
                    <a:pt x="66499" y="1095720"/>
                    <a:pt x="85090" y="1075734"/>
                    <a:pt x="106541" y="1065742"/>
                  </a:cubicBezTo>
                  <a:cubicBezTo>
                    <a:pt x="170180" y="1036478"/>
                    <a:pt x="288162" y="1035050"/>
                    <a:pt x="288162" y="1035050"/>
                  </a:cubicBezTo>
                  <a:close/>
                  <a:moveTo>
                    <a:pt x="1302460" y="871537"/>
                  </a:moveTo>
                  <a:cubicBezTo>
                    <a:pt x="1305339" y="913273"/>
                    <a:pt x="1312537" y="968449"/>
                    <a:pt x="1355725" y="972693"/>
                  </a:cubicBezTo>
                  <a:cubicBezTo>
                    <a:pt x="1337010" y="991792"/>
                    <a:pt x="1318296" y="1002403"/>
                    <a:pt x="1301020" y="1008062"/>
                  </a:cubicBezTo>
                  <a:cubicBezTo>
                    <a:pt x="1275827" y="1005233"/>
                    <a:pt x="1252794" y="1003818"/>
                    <a:pt x="1239837" y="1003110"/>
                  </a:cubicBezTo>
                  <a:cubicBezTo>
                    <a:pt x="1239837" y="1003110"/>
                    <a:pt x="1239837" y="1003110"/>
                    <a:pt x="1239837" y="990378"/>
                  </a:cubicBezTo>
                  <a:cubicBezTo>
                    <a:pt x="1255673" y="971986"/>
                    <a:pt x="1276547" y="932372"/>
                    <a:pt x="1302460" y="871537"/>
                  </a:cubicBezTo>
                  <a:close/>
                  <a:moveTo>
                    <a:pt x="880352" y="869950"/>
                  </a:moveTo>
                  <a:cubicBezTo>
                    <a:pt x="906265" y="931887"/>
                    <a:pt x="927139" y="971755"/>
                    <a:pt x="942975" y="989553"/>
                  </a:cubicBezTo>
                  <a:cubicBezTo>
                    <a:pt x="942975" y="989553"/>
                    <a:pt x="942975" y="989553"/>
                    <a:pt x="942975" y="1003080"/>
                  </a:cubicBezTo>
                  <a:cubicBezTo>
                    <a:pt x="930018" y="1003792"/>
                    <a:pt x="907704" y="1005215"/>
                    <a:pt x="882511" y="1008063"/>
                  </a:cubicBezTo>
                  <a:cubicBezTo>
                    <a:pt x="865236" y="1002368"/>
                    <a:pt x="846521" y="991689"/>
                    <a:pt x="827087" y="972467"/>
                  </a:cubicBezTo>
                  <a:cubicBezTo>
                    <a:pt x="870995" y="968195"/>
                    <a:pt x="878193" y="911954"/>
                    <a:pt x="880352" y="869950"/>
                  </a:cubicBezTo>
                  <a:close/>
                  <a:moveTo>
                    <a:pt x="863600" y="768350"/>
                  </a:moveTo>
                  <a:cubicBezTo>
                    <a:pt x="863600" y="768350"/>
                    <a:pt x="863600" y="768350"/>
                    <a:pt x="901462" y="786177"/>
                  </a:cubicBezTo>
                  <a:cubicBezTo>
                    <a:pt x="905034" y="791882"/>
                    <a:pt x="910034" y="797587"/>
                    <a:pt x="917178" y="801153"/>
                  </a:cubicBezTo>
                  <a:cubicBezTo>
                    <a:pt x="920035" y="802579"/>
                    <a:pt x="922893" y="806144"/>
                    <a:pt x="924322" y="809710"/>
                  </a:cubicBezTo>
                  <a:cubicBezTo>
                    <a:pt x="947896" y="868897"/>
                    <a:pt x="979329" y="938781"/>
                    <a:pt x="990044" y="948765"/>
                  </a:cubicBezTo>
                  <a:cubicBezTo>
                    <a:pt x="1010047" y="965879"/>
                    <a:pt x="1064339" y="1000108"/>
                    <a:pt x="1092200" y="1000108"/>
                  </a:cubicBezTo>
                  <a:cubicBezTo>
                    <a:pt x="1120775" y="1000108"/>
                    <a:pt x="1175067" y="965879"/>
                    <a:pt x="1193641" y="948765"/>
                  </a:cubicBezTo>
                  <a:cubicBezTo>
                    <a:pt x="1205071" y="938781"/>
                    <a:pt x="1236504" y="868897"/>
                    <a:pt x="1260078" y="809710"/>
                  </a:cubicBezTo>
                  <a:cubicBezTo>
                    <a:pt x="1261507" y="806144"/>
                    <a:pt x="1263650" y="802579"/>
                    <a:pt x="1267222" y="801153"/>
                  </a:cubicBezTo>
                  <a:cubicBezTo>
                    <a:pt x="1274366" y="797587"/>
                    <a:pt x="1279366" y="791882"/>
                    <a:pt x="1282938" y="786177"/>
                  </a:cubicBezTo>
                  <a:cubicBezTo>
                    <a:pt x="1282938" y="786177"/>
                    <a:pt x="1282938" y="786177"/>
                    <a:pt x="1320800" y="768350"/>
                  </a:cubicBezTo>
                  <a:cubicBezTo>
                    <a:pt x="1320800" y="769776"/>
                    <a:pt x="1320800" y="770489"/>
                    <a:pt x="1320800" y="771915"/>
                  </a:cubicBezTo>
                  <a:cubicBezTo>
                    <a:pt x="1318657" y="783325"/>
                    <a:pt x="1312228" y="810423"/>
                    <a:pt x="1287225" y="826111"/>
                  </a:cubicBezTo>
                  <a:cubicBezTo>
                    <a:pt x="1272937" y="861766"/>
                    <a:pt x="1235075" y="953757"/>
                    <a:pt x="1215072" y="972297"/>
                  </a:cubicBezTo>
                  <a:cubicBezTo>
                    <a:pt x="1213644" y="973010"/>
                    <a:pt x="1211500" y="974436"/>
                    <a:pt x="1209357" y="976576"/>
                  </a:cubicBezTo>
                  <a:cubicBezTo>
                    <a:pt x="1209357" y="976576"/>
                    <a:pt x="1209357" y="976576"/>
                    <a:pt x="1209357" y="1009378"/>
                  </a:cubicBezTo>
                  <a:cubicBezTo>
                    <a:pt x="1209357" y="1009378"/>
                    <a:pt x="1209357" y="1009378"/>
                    <a:pt x="1208643" y="1010092"/>
                  </a:cubicBezTo>
                  <a:cubicBezTo>
                    <a:pt x="1208643" y="1010092"/>
                    <a:pt x="1196499" y="1020788"/>
                    <a:pt x="1177925" y="1035050"/>
                  </a:cubicBezTo>
                  <a:cubicBezTo>
                    <a:pt x="1177925" y="1035050"/>
                    <a:pt x="1177925" y="1035050"/>
                    <a:pt x="1177925" y="998682"/>
                  </a:cubicBezTo>
                  <a:cubicBezTo>
                    <a:pt x="1152922" y="1015083"/>
                    <a:pt x="1118632" y="1031485"/>
                    <a:pt x="1092200" y="1031485"/>
                  </a:cubicBezTo>
                  <a:cubicBezTo>
                    <a:pt x="1066482" y="1031485"/>
                    <a:pt x="1032192" y="1015083"/>
                    <a:pt x="1005760" y="998682"/>
                  </a:cubicBezTo>
                  <a:cubicBezTo>
                    <a:pt x="1005760" y="998682"/>
                    <a:pt x="1005760" y="998682"/>
                    <a:pt x="1005760" y="1035050"/>
                  </a:cubicBezTo>
                  <a:cubicBezTo>
                    <a:pt x="988615" y="1020788"/>
                    <a:pt x="975757" y="1010805"/>
                    <a:pt x="975757" y="1010092"/>
                  </a:cubicBezTo>
                  <a:cubicBezTo>
                    <a:pt x="975757" y="1010092"/>
                    <a:pt x="975757" y="1010092"/>
                    <a:pt x="974328" y="1009378"/>
                  </a:cubicBezTo>
                  <a:cubicBezTo>
                    <a:pt x="974328" y="1009378"/>
                    <a:pt x="974328" y="1009378"/>
                    <a:pt x="974328" y="975863"/>
                  </a:cubicBezTo>
                  <a:cubicBezTo>
                    <a:pt x="972899" y="974436"/>
                    <a:pt x="970756" y="973010"/>
                    <a:pt x="969327" y="972297"/>
                  </a:cubicBezTo>
                  <a:cubicBezTo>
                    <a:pt x="949325" y="953757"/>
                    <a:pt x="911463" y="861766"/>
                    <a:pt x="897175" y="826111"/>
                  </a:cubicBezTo>
                  <a:cubicBezTo>
                    <a:pt x="873601" y="811136"/>
                    <a:pt x="866457" y="786891"/>
                    <a:pt x="863600" y="773342"/>
                  </a:cubicBezTo>
                  <a:cubicBezTo>
                    <a:pt x="863600" y="771202"/>
                    <a:pt x="863600" y="769776"/>
                    <a:pt x="863600" y="768350"/>
                  </a:cubicBezTo>
                  <a:close/>
                  <a:moveTo>
                    <a:pt x="196850" y="768350"/>
                  </a:moveTo>
                  <a:cubicBezTo>
                    <a:pt x="196850" y="768350"/>
                    <a:pt x="196850" y="768350"/>
                    <a:pt x="234653" y="786267"/>
                  </a:cubicBezTo>
                  <a:cubicBezTo>
                    <a:pt x="238219" y="792000"/>
                    <a:pt x="242498" y="797733"/>
                    <a:pt x="250344" y="801317"/>
                  </a:cubicBezTo>
                  <a:cubicBezTo>
                    <a:pt x="253197" y="802750"/>
                    <a:pt x="256050" y="806333"/>
                    <a:pt x="257477" y="809917"/>
                  </a:cubicBezTo>
                  <a:cubicBezTo>
                    <a:pt x="281014" y="869400"/>
                    <a:pt x="312398" y="939633"/>
                    <a:pt x="323097" y="949667"/>
                  </a:cubicBezTo>
                  <a:cubicBezTo>
                    <a:pt x="343068" y="966867"/>
                    <a:pt x="397276" y="1001267"/>
                    <a:pt x="425093" y="1001267"/>
                  </a:cubicBezTo>
                  <a:cubicBezTo>
                    <a:pt x="453624" y="1001267"/>
                    <a:pt x="507831" y="966867"/>
                    <a:pt x="527089" y="949667"/>
                  </a:cubicBezTo>
                  <a:cubicBezTo>
                    <a:pt x="538502" y="939633"/>
                    <a:pt x="569885" y="869400"/>
                    <a:pt x="593423" y="809917"/>
                  </a:cubicBezTo>
                  <a:cubicBezTo>
                    <a:pt x="594849" y="806333"/>
                    <a:pt x="596989" y="802750"/>
                    <a:pt x="600555" y="801317"/>
                  </a:cubicBezTo>
                  <a:cubicBezTo>
                    <a:pt x="607688" y="797733"/>
                    <a:pt x="612681" y="792000"/>
                    <a:pt x="616247" y="786267"/>
                  </a:cubicBezTo>
                  <a:cubicBezTo>
                    <a:pt x="616247" y="786267"/>
                    <a:pt x="616247" y="786267"/>
                    <a:pt x="654050" y="768350"/>
                  </a:cubicBezTo>
                  <a:cubicBezTo>
                    <a:pt x="654050" y="769783"/>
                    <a:pt x="654050" y="770500"/>
                    <a:pt x="654050" y="771933"/>
                  </a:cubicBezTo>
                  <a:cubicBezTo>
                    <a:pt x="651910" y="783400"/>
                    <a:pt x="645491" y="810633"/>
                    <a:pt x="620527" y="826400"/>
                  </a:cubicBezTo>
                  <a:cubicBezTo>
                    <a:pt x="606261" y="862233"/>
                    <a:pt x="568459" y="954683"/>
                    <a:pt x="548487" y="973317"/>
                  </a:cubicBezTo>
                  <a:cubicBezTo>
                    <a:pt x="547061" y="974033"/>
                    <a:pt x="544921" y="975467"/>
                    <a:pt x="543494" y="976900"/>
                  </a:cubicBezTo>
                  <a:cubicBezTo>
                    <a:pt x="543494" y="976900"/>
                    <a:pt x="543494" y="976900"/>
                    <a:pt x="543494" y="1008433"/>
                  </a:cubicBezTo>
                  <a:cubicBezTo>
                    <a:pt x="543494" y="1008433"/>
                    <a:pt x="543494" y="1008433"/>
                    <a:pt x="536362" y="1017033"/>
                  </a:cubicBezTo>
                  <a:cubicBezTo>
                    <a:pt x="536362" y="1017750"/>
                    <a:pt x="528516" y="1029217"/>
                    <a:pt x="512111" y="1041400"/>
                  </a:cubicBezTo>
                  <a:cubicBezTo>
                    <a:pt x="512111" y="1041400"/>
                    <a:pt x="512111" y="1041400"/>
                    <a:pt x="512111" y="999833"/>
                  </a:cubicBezTo>
                  <a:cubicBezTo>
                    <a:pt x="485720" y="1016317"/>
                    <a:pt x="451484" y="1032800"/>
                    <a:pt x="425093" y="1032800"/>
                  </a:cubicBezTo>
                  <a:cubicBezTo>
                    <a:pt x="399416" y="1032800"/>
                    <a:pt x="365179" y="1016317"/>
                    <a:pt x="339502" y="999833"/>
                  </a:cubicBezTo>
                  <a:cubicBezTo>
                    <a:pt x="339502" y="999833"/>
                    <a:pt x="339502" y="999833"/>
                    <a:pt x="339502" y="1041400"/>
                  </a:cubicBezTo>
                  <a:cubicBezTo>
                    <a:pt x="323097" y="1029217"/>
                    <a:pt x="315251" y="1018467"/>
                    <a:pt x="314538" y="1017033"/>
                  </a:cubicBezTo>
                  <a:cubicBezTo>
                    <a:pt x="314538" y="1017033"/>
                    <a:pt x="314538" y="1017033"/>
                    <a:pt x="308118" y="1008433"/>
                  </a:cubicBezTo>
                  <a:cubicBezTo>
                    <a:pt x="308118" y="1008433"/>
                    <a:pt x="308118" y="1008433"/>
                    <a:pt x="308118" y="977617"/>
                  </a:cubicBezTo>
                  <a:cubicBezTo>
                    <a:pt x="305979" y="975467"/>
                    <a:pt x="303839" y="974033"/>
                    <a:pt x="302412" y="973317"/>
                  </a:cubicBezTo>
                  <a:cubicBezTo>
                    <a:pt x="282441" y="954683"/>
                    <a:pt x="244638" y="862233"/>
                    <a:pt x="230373" y="826400"/>
                  </a:cubicBezTo>
                  <a:cubicBezTo>
                    <a:pt x="206835" y="811350"/>
                    <a:pt x="199703" y="786983"/>
                    <a:pt x="196850" y="773367"/>
                  </a:cubicBezTo>
                  <a:cubicBezTo>
                    <a:pt x="196850" y="771217"/>
                    <a:pt x="196850" y="769783"/>
                    <a:pt x="196850" y="768350"/>
                  </a:cubicBezTo>
                  <a:close/>
                  <a:moveTo>
                    <a:pt x="1091126" y="431800"/>
                  </a:moveTo>
                  <a:cubicBezTo>
                    <a:pt x="1217104" y="431800"/>
                    <a:pt x="1313734" y="532598"/>
                    <a:pt x="1313734" y="656987"/>
                  </a:cubicBezTo>
                  <a:cubicBezTo>
                    <a:pt x="1313734" y="684152"/>
                    <a:pt x="1314450" y="709888"/>
                    <a:pt x="1305861" y="733479"/>
                  </a:cubicBezTo>
                  <a:cubicBezTo>
                    <a:pt x="1305861" y="732764"/>
                    <a:pt x="1305861" y="732764"/>
                    <a:pt x="1305861" y="732764"/>
                  </a:cubicBezTo>
                  <a:cubicBezTo>
                    <a:pt x="1305145" y="733479"/>
                    <a:pt x="1301566" y="744202"/>
                    <a:pt x="1281524" y="767793"/>
                  </a:cubicBezTo>
                  <a:cubicBezTo>
                    <a:pt x="1280809" y="768508"/>
                    <a:pt x="1280093" y="768508"/>
                    <a:pt x="1279377" y="768508"/>
                  </a:cubicBezTo>
                  <a:cubicBezTo>
                    <a:pt x="1265061" y="768508"/>
                    <a:pt x="1265061" y="768508"/>
                    <a:pt x="1265061" y="768508"/>
                  </a:cubicBezTo>
                  <a:cubicBezTo>
                    <a:pt x="1264346" y="768508"/>
                    <a:pt x="1264346" y="768508"/>
                    <a:pt x="1263630" y="768508"/>
                  </a:cubicBezTo>
                  <a:cubicBezTo>
                    <a:pt x="971591" y="612664"/>
                    <a:pt x="971591" y="612664"/>
                    <a:pt x="971591" y="612664"/>
                  </a:cubicBezTo>
                  <a:cubicBezTo>
                    <a:pt x="970875" y="612664"/>
                    <a:pt x="969443" y="612664"/>
                    <a:pt x="968728" y="612664"/>
                  </a:cubicBezTo>
                  <a:cubicBezTo>
                    <a:pt x="903591" y="634111"/>
                    <a:pt x="904307" y="769938"/>
                    <a:pt x="882118" y="749921"/>
                  </a:cubicBezTo>
                  <a:cubicBezTo>
                    <a:pt x="882118" y="749206"/>
                    <a:pt x="882118" y="749206"/>
                    <a:pt x="882118" y="749206"/>
                  </a:cubicBezTo>
                  <a:cubicBezTo>
                    <a:pt x="872813" y="724900"/>
                    <a:pt x="869950" y="684867"/>
                    <a:pt x="869950" y="656987"/>
                  </a:cubicBezTo>
                  <a:cubicBezTo>
                    <a:pt x="869950" y="532598"/>
                    <a:pt x="966580" y="431800"/>
                    <a:pt x="1091126" y="431800"/>
                  </a:cubicBezTo>
                  <a:close/>
                  <a:moveTo>
                    <a:pt x="425450" y="431800"/>
                  </a:moveTo>
                  <a:cubicBezTo>
                    <a:pt x="550913" y="431800"/>
                    <a:pt x="646983" y="533574"/>
                    <a:pt x="646983" y="659000"/>
                  </a:cubicBezTo>
                  <a:cubicBezTo>
                    <a:pt x="646983" y="686235"/>
                    <a:pt x="647700" y="712037"/>
                    <a:pt x="639097" y="735689"/>
                  </a:cubicBezTo>
                  <a:cubicBezTo>
                    <a:pt x="638380" y="735689"/>
                    <a:pt x="634795" y="747156"/>
                    <a:pt x="614004" y="771525"/>
                  </a:cubicBezTo>
                  <a:cubicBezTo>
                    <a:pt x="614004" y="771525"/>
                    <a:pt x="614004" y="771525"/>
                    <a:pt x="597514" y="771525"/>
                  </a:cubicBezTo>
                  <a:cubicBezTo>
                    <a:pt x="597514" y="771525"/>
                    <a:pt x="597514" y="762924"/>
                    <a:pt x="595363" y="603813"/>
                  </a:cubicBezTo>
                  <a:cubicBezTo>
                    <a:pt x="570271" y="731389"/>
                    <a:pt x="303571" y="613847"/>
                    <a:pt x="303571" y="613847"/>
                  </a:cubicBezTo>
                  <a:cubicBezTo>
                    <a:pt x="236896" y="634631"/>
                    <a:pt x="249084" y="768658"/>
                    <a:pt x="249084" y="768658"/>
                  </a:cubicBezTo>
                  <a:cubicBezTo>
                    <a:pt x="249084" y="768658"/>
                    <a:pt x="249084" y="768658"/>
                    <a:pt x="234028" y="766508"/>
                  </a:cubicBezTo>
                  <a:cubicBezTo>
                    <a:pt x="234028" y="766508"/>
                    <a:pt x="234028" y="758624"/>
                    <a:pt x="211803" y="738556"/>
                  </a:cubicBezTo>
                  <a:cubicBezTo>
                    <a:pt x="211803" y="738556"/>
                    <a:pt x="211803" y="738556"/>
                    <a:pt x="211803" y="737839"/>
                  </a:cubicBezTo>
                  <a:cubicBezTo>
                    <a:pt x="203200" y="713471"/>
                    <a:pt x="203200" y="686952"/>
                    <a:pt x="203200" y="659000"/>
                  </a:cubicBezTo>
                  <a:cubicBezTo>
                    <a:pt x="203200" y="533574"/>
                    <a:pt x="299269" y="431800"/>
                    <a:pt x="425450" y="431800"/>
                  </a:cubicBezTo>
                  <a:close/>
                  <a:moveTo>
                    <a:pt x="1351838" y="417512"/>
                  </a:moveTo>
                  <a:cubicBezTo>
                    <a:pt x="1397383" y="417512"/>
                    <a:pt x="1440793" y="437398"/>
                    <a:pt x="1470682" y="472908"/>
                  </a:cubicBezTo>
                  <a:cubicBezTo>
                    <a:pt x="1476375" y="479299"/>
                    <a:pt x="1475664" y="489242"/>
                    <a:pt x="1468547" y="494924"/>
                  </a:cubicBezTo>
                  <a:cubicBezTo>
                    <a:pt x="1465701" y="497054"/>
                    <a:pt x="1462142" y="498475"/>
                    <a:pt x="1458584" y="498475"/>
                  </a:cubicBezTo>
                  <a:cubicBezTo>
                    <a:pt x="1454314" y="498475"/>
                    <a:pt x="1450045" y="496344"/>
                    <a:pt x="1446486" y="492793"/>
                  </a:cubicBezTo>
                  <a:cubicBezTo>
                    <a:pt x="1423002" y="465095"/>
                    <a:pt x="1388132" y="448761"/>
                    <a:pt x="1351838" y="448761"/>
                  </a:cubicBezTo>
                  <a:cubicBezTo>
                    <a:pt x="1322661" y="448761"/>
                    <a:pt x="1294907" y="458704"/>
                    <a:pt x="1272135" y="477169"/>
                  </a:cubicBezTo>
                  <a:cubicBezTo>
                    <a:pt x="1272135" y="477169"/>
                    <a:pt x="1272135" y="477169"/>
                    <a:pt x="1272135" y="476459"/>
                  </a:cubicBezTo>
                  <a:cubicBezTo>
                    <a:pt x="1265018" y="469357"/>
                    <a:pt x="1257190" y="462255"/>
                    <a:pt x="1249362" y="455863"/>
                  </a:cubicBezTo>
                  <a:cubicBezTo>
                    <a:pt x="1277116" y="431006"/>
                    <a:pt x="1313410" y="417512"/>
                    <a:pt x="1351838" y="417512"/>
                  </a:cubicBezTo>
                  <a:close/>
                  <a:moveTo>
                    <a:pt x="759619" y="417512"/>
                  </a:moveTo>
                  <a:cubicBezTo>
                    <a:pt x="805906" y="417512"/>
                    <a:pt x="849344" y="437647"/>
                    <a:pt x="878541" y="473604"/>
                  </a:cubicBezTo>
                  <a:cubicBezTo>
                    <a:pt x="884238" y="480076"/>
                    <a:pt x="883526" y="490144"/>
                    <a:pt x="877117" y="495897"/>
                  </a:cubicBezTo>
                  <a:cubicBezTo>
                    <a:pt x="874268" y="498054"/>
                    <a:pt x="870708" y="499492"/>
                    <a:pt x="867147" y="499492"/>
                  </a:cubicBezTo>
                  <a:cubicBezTo>
                    <a:pt x="862162" y="499492"/>
                    <a:pt x="857890" y="497335"/>
                    <a:pt x="855041" y="493739"/>
                  </a:cubicBezTo>
                  <a:cubicBezTo>
                    <a:pt x="830830" y="465693"/>
                    <a:pt x="796648" y="449154"/>
                    <a:pt x="759619" y="449154"/>
                  </a:cubicBezTo>
                  <a:cubicBezTo>
                    <a:pt x="722589" y="449154"/>
                    <a:pt x="688408" y="465693"/>
                    <a:pt x="664196" y="493739"/>
                  </a:cubicBezTo>
                  <a:cubicBezTo>
                    <a:pt x="658499" y="500212"/>
                    <a:pt x="649242" y="501650"/>
                    <a:pt x="642121" y="495897"/>
                  </a:cubicBezTo>
                  <a:cubicBezTo>
                    <a:pt x="635712" y="490144"/>
                    <a:pt x="635000" y="480076"/>
                    <a:pt x="640697" y="473604"/>
                  </a:cubicBezTo>
                  <a:cubicBezTo>
                    <a:pt x="669893" y="437647"/>
                    <a:pt x="713332" y="417512"/>
                    <a:pt x="759619" y="417512"/>
                  </a:cubicBezTo>
                  <a:close/>
                  <a:moveTo>
                    <a:pt x="165812" y="417512"/>
                  </a:moveTo>
                  <a:cubicBezTo>
                    <a:pt x="204240" y="417512"/>
                    <a:pt x="240534" y="431175"/>
                    <a:pt x="268288" y="456345"/>
                  </a:cubicBezTo>
                  <a:cubicBezTo>
                    <a:pt x="260460" y="462817"/>
                    <a:pt x="252632" y="470008"/>
                    <a:pt x="244804" y="477200"/>
                  </a:cubicBezTo>
                  <a:cubicBezTo>
                    <a:pt x="222743" y="459221"/>
                    <a:pt x="194989" y="449154"/>
                    <a:pt x="165812" y="449154"/>
                  </a:cubicBezTo>
                  <a:cubicBezTo>
                    <a:pt x="129518" y="449154"/>
                    <a:pt x="94648" y="465693"/>
                    <a:pt x="71164" y="493739"/>
                  </a:cubicBezTo>
                  <a:cubicBezTo>
                    <a:pt x="65470" y="500212"/>
                    <a:pt x="55508" y="501650"/>
                    <a:pt x="49103" y="495897"/>
                  </a:cubicBezTo>
                  <a:cubicBezTo>
                    <a:pt x="41986" y="490144"/>
                    <a:pt x="41275" y="480076"/>
                    <a:pt x="46968" y="473604"/>
                  </a:cubicBezTo>
                  <a:cubicBezTo>
                    <a:pt x="76857" y="437647"/>
                    <a:pt x="120267" y="417512"/>
                    <a:pt x="165812" y="417512"/>
                  </a:cubicBezTo>
                  <a:close/>
                  <a:moveTo>
                    <a:pt x="1260912" y="277812"/>
                  </a:moveTo>
                  <a:cubicBezTo>
                    <a:pt x="1307332" y="277812"/>
                    <a:pt x="1350895" y="298667"/>
                    <a:pt x="1380889" y="333904"/>
                  </a:cubicBezTo>
                  <a:cubicBezTo>
                    <a:pt x="1385888" y="341095"/>
                    <a:pt x="1385174" y="351163"/>
                    <a:pt x="1378747" y="356197"/>
                  </a:cubicBezTo>
                  <a:cubicBezTo>
                    <a:pt x="1375890" y="359073"/>
                    <a:pt x="1372319" y="359792"/>
                    <a:pt x="1368749" y="359792"/>
                  </a:cubicBezTo>
                  <a:cubicBezTo>
                    <a:pt x="1364464" y="359792"/>
                    <a:pt x="1359465" y="358354"/>
                    <a:pt x="1356608" y="354759"/>
                  </a:cubicBezTo>
                  <a:cubicBezTo>
                    <a:pt x="1333041" y="325993"/>
                    <a:pt x="1298048" y="309454"/>
                    <a:pt x="1260912" y="309454"/>
                  </a:cubicBezTo>
                  <a:cubicBezTo>
                    <a:pt x="1223776" y="309454"/>
                    <a:pt x="1189497" y="325993"/>
                    <a:pt x="1165930" y="354759"/>
                  </a:cubicBezTo>
                  <a:cubicBezTo>
                    <a:pt x="1160931" y="361231"/>
                    <a:pt x="1150933" y="361950"/>
                    <a:pt x="1143791" y="356197"/>
                  </a:cubicBezTo>
                  <a:cubicBezTo>
                    <a:pt x="1137364" y="351163"/>
                    <a:pt x="1136650" y="341095"/>
                    <a:pt x="1142363" y="333904"/>
                  </a:cubicBezTo>
                  <a:cubicBezTo>
                    <a:pt x="1171643" y="298667"/>
                    <a:pt x="1214492" y="277812"/>
                    <a:pt x="1260912" y="277812"/>
                  </a:cubicBezTo>
                  <a:close/>
                  <a:moveTo>
                    <a:pt x="926306" y="277812"/>
                  </a:moveTo>
                  <a:cubicBezTo>
                    <a:pt x="972593" y="277812"/>
                    <a:pt x="1016031" y="298667"/>
                    <a:pt x="1045940" y="333904"/>
                  </a:cubicBezTo>
                  <a:cubicBezTo>
                    <a:pt x="1050925" y="341095"/>
                    <a:pt x="1050213" y="351163"/>
                    <a:pt x="1043804" y="356197"/>
                  </a:cubicBezTo>
                  <a:cubicBezTo>
                    <a:pt x="1040955" y="359073"/>
                    <a:pt x="1037395" y="359792"/>
                    <a:pt x="1033834" y="359792"/>
                  </a:cubicBezTo>
                  <a:cubicBezTo>
                    <a:pt x="1028849" y="359792"/>
                    <a:pt x="1024577" y="358354"/>
                    <a:pt x="1021728" y="354759"/>
                  </a:cubicBezTo>
                  <a:cubicBezTo>
                    <a:pt x="998229" y="325993"/>
                    <a:pt x="963335" y="309454"/>
                    <a:pt x="926306" y="309454"/>
                  </a:cubicBezTo>
                  <a:cubicBezTo>
                    <a:pt x="889276" y="309454"/>
                    <a:pt x="855095" y="325993"/>
                    <a:pt x="830883" y="354759"/>
                  </a:cubicBezTo>
                  <a:cubicBezTo>
                    <a:pt x="825186" y="361231"/>
                    <a:pt x="815929" y="361950"/>
                    <a:pt x="808808" y="356197"/>
                  </a:cubicBezTo>
                  <a:cubicBezTo>
                    <a:pt x="802399" y="351163"/>
                    <a:pt x="801687" y="341095"/>
                    <a:pt x="807384" y="333904"/>
                  </a:cubicBezTo>
                  <a:cubicBezTo>
                    <a:pt x="836580" y="298667"/>
                    <a:pt x="880019" y="277812"/>
                    <a:pt x="926306" y="277812"/>
                  </a:cubicBezTo>
                  <a:close/>
                  <a:moveTo>
                    <a:pt x="592137" y="277812"/>
                  </a:moveTo>
                  <a:cubicBezTo>
                    <a:pt x="638719" y="277812"/>
                    <a:pt x="682434" y="298667"/>
                    <a:pt x="711817" y="333904"/>
                  </a:cubicBezTo>
                  <a:cubicBezTo>
                    <a:pt x="717550" y="341095"/>
                    <a:pt x="716833" y="351163"/>
                    <a:pt x="710383" y="356197"/>
                  </a:cubicBezTo>
                  <a:cubicBezTo>
                    <a:pt x="707517" y="359073"/>
                    <a:pt x="703934" y="359792"/>
                    <a:pt x="700350" y="359792"/>
                  </a:cubicBezTo>
                  <a:cubicBezTo>
                    <a:pt x="695334" y="359792"/>
                    <a:pt x="691034" y="358354"/>
                    <a:pt x="688167" y="354759"/>
                  </a:cubicBezTo>
                  <a:cubicBezTo>
                    <a:pt x="663802" y="325993"/>
                    <a:pt x="629403" y="309454"/>
                    <a:pt x="592137" y="309454"/>
                  </a:cubicBezTo>
                  <a:cubicBezTo>
                    <a:pt x="554872" y="309454"/>
                    <a:pt x="519756" y="325993"/>
                    <a:pt x="496107" y="354759"/>
                  </a:cubicBezTo>
                  <a:cubicBezTo>
                    <a:pt x="490374" y="361231"/>
                    <a:pt x="480341" y="361950"/>
                    <a:pt x="473891" y="356197"/>
                  </a:cubicBezTo>
                  <a:cubicBezTo>
                    <a:pt x="467441" y="351163"/>
                    <a:pt x="466725" y="341095"/>
                    <a:pt x="471741" y="333904"/>
                  </a:cubicBezTo>
                  <a:cubicBezTo>
                    <a:pt x="501840" y="298667"/>
                    <a:pt x="545555" y="277812"/>
                    <a:pt x="592137" y="277812"/>
                  </a:cubicBezTo>
                  <a:close/>
                  <a:moveTo>
                    <a:pt x="257174" y="277812"/>
                  </a:moveTo>
                  <a:cubicBezTo>
                    <a:pt x="303756" y="277812"/>
                    <a:pt x="347471" y="298667"/>
                    <a:pt x="376854" y="333904"/>
                  </a:cubicBezTo>
                  <a:cubicBezTo>
                    <a:pt x="382587" y="341095"/>
                    <a:pt x="381870" y="351163"/>
                    <a:pt x="375420" y="356197"/>
                  </a:cubicBezTo>
                  <a:cubicBezTo>
                    <a:pt x="372554" y="359073"/>
                    <a:pt x="368254" y="359792"/>
                    <a:pt x="365387" y="359792"/>
                  </a:cubicBezTo>
                  <a:cubicBezTo>
                    <a:pt x="360371" y="359792"/>
                    <a:pt x="356071" y="358354"/>
                    <a:pt x="353204" y="354759"/>
                  </a:cubicBezTo>
                  <a:cubicBezTo>
                    <a:pt x="328839" y="325993"/>
                    <a:pt x="294440" y="309454"/>
                    <a:pt x="257174" y="309454"/>
                  </a:cubicBezTo>
                  <a:cubicBezTo>
                    <a:pt x="219909" y="309454"/>
                    <a:pt x="184793" y="325993"/>
                    <a:pt x="161144" y="354759"/>
                  </a:cubicBezTo>
                  <a:cubicBezTo>
                    <a:pt x="155411" y="361231"/>
                    <a:pt x="145378" y="361950"/>
                    <a:pt x="138928" y="356197"/>
                  </a:cubicBezTo>
                  <a:cubicBezTo>
                    <a:pt x="132478" y="351163"/>
                    <a:pt x="131762" y="341095"/>
                    <a:pt x="136778" y="333904"/>
                  </a:cubicBezTo>
                  <a:cubicBezTo>
                    <a:pt x="166877" y="298667"/>
                    <a:pt x="210592" y="277812"/>
                    <a:pt x="257174" y="277812"/>
                  </a:cubicBezTo>
                  <a:close/>
                  <a:moveTo>
                    <a:pt x="1093351" y="139700"/>
                  </a:moveTo>
                  <a:cubicBezTo>
                    <a:pt x="1139771" y="139700"/>
                    <a:pt x="1182619" y="159665"/>
                    <a:pt x="1212614" y="196030"/>
                  </a:cubicBezTo>
                  <a:cubicBezTo>
                    <a:pt x="1217613" y="202447"/>
                    <a:pt x="1216899" y="212429"/>
                    <a:pt x="1210471" y="218134"/>
                  </a:cubicBezTo>
                  <a:cubicBezTo>
                    <a:pt x="1207615" y="220273"/>
                    <a:pt x="1204044" y="221699"/>
                    <a:pt x="1200473" y="221699"/>
                  </a:cubicBezTo>
                  <a:cubicBezTo>
                    <a:pt x="1195474" y="221699"/>
                    <a:pt x="1191189" y="219560"/>
                    <a:pt x="1188333" y="215994"/>
                  </a:cubicBezTo>
                  <a:cubicBezTo>
                    <a:pt x="1165480" y="188186"/>
                    <a:pt x="1130487" y="171786"/>
                    <a:pt x="1093351" y="171786"/>
                  </a:cubicBezTo>
                  <a:cubicBezTo>
                    <a:pt x="1056215" y="171786"/>
                    <a:pt x="1021936" y="188186"/>
                    <a:pt x="997655" y="215994"/>
                  </a:cubicBezTo>
                  <a:cubicBezTo>
                    <a:pt x="991942" y="222412"/>
                    <a:pt x="982658" y="223838"/>
                    <a:pt x="975516" y="218134"/>
                  </a:cubicBezTo>
                  <a:cubicBezTo>
                    <a:pt x="969089" y="212429"/>
                    <a:pt x="968375" y="202447"/>
                    <a:pt x="974088" y="196030"/>
                  </a:cubicBezTo>
                  <a:cubicBezTo>
                    <a:pt x="1003368" y="159665"/>
                    <a:pt x="1046931" y="139700"/>
                    <a:pt x="1093351" y="139700"/>
                  </a:cubicBezTo>
                  <a:close/>
                  <a:moveTo>
                    <a:pt x="759619" y="139700"/>
                  </a:moveTo>
                  <a:cubicBezTo>
                    <a:pt x="805906" y="139700"/>
                    <a:pt x="849344" y="159665"/>
                    <a:pt x="878541" y="196030"/>
                  </a:cubicBezTo>
                  <a:cubicBezTo>
                    <a:pt x="884238" y="202447"/>
                    <a:pt x="883526" y="212429"/>
                    <a:pt x="877117" y="218134"/>
                  </a:cubicBezTo>
                  <a:cubicBezTo>
                    <a:pt x="874268" y="220273"/>
                    <a:pt x="870708" y="221699"/>
                    <a:pt x="867147" y="221699"/>
                  </a:cubicBezTo>
                  <a:cubicBezTo>
                    <a:pt x="862162" y="221699"/>
                    <a:pt x="857890" y="219560"/>
                    <a:pt x="855041" y="215994"/>
                  </a:cubicBezTo>
                  <a:cubicBezTo>
                    <a:pt x="830830" y="188186"/>
                    <a:pt x="796648" y="171786"/>
                    <a:pt x="759619" y="171786"/>
                  </a:cubicBezTo>
                  <a:cubicBezTo>
                    <a:pt x="722589" y="171786"/>
                    <a:pt x="688408" y="188186"/>
                    <a:pt x="664196" y="215994"/>
                  </a:cubicBezTo>
                  <a:cubicBezTo>
                    <a:pt x="658499" y="222412"/>
                    <a:pt x="649242" y="223838"/>
                    <a:pt x="642121" y="218134"/>
                  </a:cubicBezTo>
                  <a:cubicBezTo>
                    <a:pt x="635712" y="212429"/>
                    <a:pt x="635000" y="202447"/>
                    <a:pt x="640697" y="196030"/>
                  </a:cubicBezTo>
                  <a:cubicBezTo>
                    <a:pt x="669893" y="159665"/>
                    <a:pt x="713332" y="139700"/>
                    <a:pt x="759619" y="139700"/>
                  </a:cubicBezTo>
                  <a:close/>
                  <a:moveTo>
                    <a:pt x="424656" y="139700"/>
                  </a:moveTo>
                  <a:cubicBezTo>
                    <a:pt x="470943" y="139700"/>
                    <a:pt x="514381" y="159665"/>
                    <a:pt x="543578" y="196030"/>
                  </a:cubicBezTo>
                  <a:cubicBezTo>
                    <a:pt x="549275" y="202447"/>
                    <a:pt x="548563" y="212429"/>
                    <a:pt x="542154" y="218134"/>
                  </a:cubicBezTo>
                  <a:cubicBezTo>
                    <a:pt x="539305" y="220273"/>
                    <a:pt x="535745" y="221699"/>
                    <a:pt x="532184" y="221699"/>
                  </a:cubicBezTo>
                  <a:cubicBezTo>
                    <a:pt x="527199" y="221699"/>
                    <a:pt x="522927" y="219560"/>
                    <a:pt x="520078" y="215994"/>
                  </a:cubicBezTo>
                  <a:cubicBezTo>
                    <a:pt x="495867" y="188186"/>
                    <a:pt x="461685" y="171786"/>
                    <a:pt x="424656" y="171786"/>
                  </a:cubicBezTo>
                  <a:cubicBezTo>
                    <a:pt x="387626" y="171786"/>
                    <a:pt x="352733" y="188186"/>
                    <a:pt x="329233" y="215994"/>
                  </a:cubicBezTo>
                  <a:cubicBezTo>
                    <a:pt x="323536" y="222412"/>
                    <a:pt x="313567" y="223838"/>
                    <a:pt x="307158" y="218134"/>
                  </a:cubicBezTo>
                  <a:cubicBezTo>
                    <a:pt x="300749" y="212429"/>
                    <a:pt x="300037" y="202447"/>
                    <a:pt x="305022" y="196030"/>
                  </a:cubicBezTo>
                  <a:cubicBezTo>
                    <a:pt x="334930" y="159665"/>
                    <a:pt x="378369" y="139700"/>
                    <a:pt x="424656" y="139700"/>
                  </a:cubicBezTo>
                  <a:close/>
                  <a:moveTo>
                    <a:pt x="926306" y="0"/>
                  </a:moveTo>
                  <a:cubicBezTo>
                    <a:pt x="972593" y="0"/>
                    <a:pt x="1016031" y="20855"/>
                    <a:pt x="1045940" y="56092"/>
                  </a:cubicBezTo>
                  <a:cubicBezTo>
                    <a:pt x="1050925" y="63283"/>
                    <a:pt x="1050213" y="72632"/>
                    <a:pt x="1043804" y="78385"/>
                  </a:cubicBezTo>
                  <a:cubicBezTo>
                    <a:pt x="1040955" y="81261"/>
                    <a:pt x="1037395" y="81980"/>
                    <a:pt x="1033834" y="81980"/>
                  </a:cubicBezTo>
                  <a:cubicBezTo>
                    <a:pt x="1028849" y="81980"/>
                    <a:pt x="1024577" y="80542"/>
                    <a:pt x="1021728" y="76947"/>
                  </a:cubicBezTo>
                  <a:cubicBezTo>
                    <a:pt x="998229" y="48181"/>
                    <a:pt x="963335" y="31642"/>
                    <a:pt x="926306" y="31642"/>
                  </a:cubicBezTo>
                  <a:cubicBezTo>
                    <a:pt x="889276" y="31642"/>
                    <a:pt x="855095" y="48181"/>
                    <a:pt x="830883" y="76947"/>
                  </a:cubicBezTo>
                  <a:cubicBezTo>
                    <a:pt x="825186" y="83419"/>
                    <a:pt x="815929" y="84138"/>
                    <a:pt x="808808" y="78385"/>
                  </a:cubicBezTo>
                  <a:cubicBezTo>
                    <a:pt x="802399" y="72632"/>
                    <a:pt x="801687" y="63283"/>
                    <a:pt x="807384" y="56092"/>
                  </a:cubicBezTo>
                  <a:cubicBezTo>
                    <a:pt x="836580" y="20855"/>
                    <a:pt x="880019" y="0"/>
                    <a:pt x="926306" y="0"/>
                  </a:cubicBezTo>
                  <a:close/>
                  <a:moveTo>
                    <a:pt x="592137" y="0"/>
                  </a:moveTo>
                  <a:cubicBezTo>
                    <a:pt x="638719" y="0"/>
                    <a:pt x="682434" y="20855"/>
                    <a:pt x="711817" y="56092"/>
                  </a:cubicBezTo>
                  <a:cubicBezTo>
                    <a:pt x="717550" y="63283"/>
                    <a:pt x="716833" y="72632"/>
                    <a:pt x="710383" y="78385"/>
                  </a:cubicBezTo>
                  <a:cubicBezTo>
                    <a:pt x="707517" y="81261"/>
                    <a:pt x="703934" y="81980"/>
                    <a:pt x="700350" y="81980"/>
                  </a:cubicBezTo>
                  <a:cubicBezTo>
                    <a:pt x="695334" y="81980"/>
                    <a:pt x="691034" y="80542"/>
                    <a:pt x="688167" y="76947"/>
                  </a:cubicBezTo>
                  <a:cubicBezTo>
                    <a:pt x="663802" y="48181"/>
                    <a:pt x="629403" y="31642"/>
                    <a:pt x="592137" y="31642"/>
                  </a:cubicBezTo>
                  <a:cubicBezTo>
                    <a:pt x="554872" y="31642"/>
                    <a:pt x="519756" y="48181"/>
                    <a:pt x="496107" y="76947"/>
                  </a:cubicBezTo>
                  <a:cubicBezTo>
                    <a:pt x="490374" y="83419"/>
                    <a:pt x="480341" y="84138"/>
                    <a:pt x="473891" y="78385"/>
                  </a:cubicBezTo>
                  <a:cubicBezTo>
                    <a:pt x="467441" y="72632"/>
                    <a:pt x="466725" y="63283"/>
                    <a:pt x="471741" y="56092"/>
                  </a:cubicBezTo>
                  <a:cubicBezTo>
                    <a:pt x="501840" y="20855"/>
                    <a:pt x="545555" y="0"/>
                    <a:pt x="59213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99" name="bcgBugs_GrowthChart">
            <a:extLst>
              <a:ext uri="{FF2B5EF4-FFF2-40B4-BE49-F238E27FC236}">
                <a16:creationId xmlns:a16="http://schemas.microsoft.com/office/drawing/2014/main" id="{A911DC6D-60C8-40D9-B8DC-7E80966F4A37}"/>
              </a:ext>
            </a:extLst>
          </p:cNvPr>
          <p:cNvGrpSpPr>
            <a:grpSpLocks noChangeAspect="1"/>
          </p:cNvGrpSpPr>
          <p:nvPr/>
        </p:nvGrpSpPr>
        <p:grpSpPr bwMode="auto">
          <a:xfrm>
            <a:off x="10467975" y="4711700"/>
            <a:ext cx="667684" cy="668338"/>
            <a:chOff x="2818" y="1137"/>
            <a:chExt cx="2044" cy="2046"/>
          </a:xfrm>
        </p:grpSpPr>
        <p:sp>
          <p:nvSpPr>
            <p:cNvPr id="100" name="AutoShape 3">
              <a:extLst>
                <a:ext uri="{FF2B5EF4-FFF2-40B4-BE49-F238E27FC236}">
                  <a16:creationId xmlns:a16="http://schemas.microsoft.com/office/drawing/2014/main" id="{119B3CD8-EA91-4077-886D-D26ACBFB3456}"/>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
              <a:extLst>
                <a:ext uri="{FF2B5EF4-FFF2-40B4-BE49-F238E27FC236}">
                  <a16:creationId xmlns:a16="http://schemas.microsoft.com/office/drawing/2014/main" id="{FFCA9A5C-8294-4BF6-9C63-57C6F31B26B3}"/>
                </a:ext>
              </a:extLst>
            </p:cNvPr>
            <p:cNvSpPr>
              <a:spLocks noEditPoints="1"/>
            </p:cNvSpPr>
            <p:nvPr/>
          </p:nvSpPr>
          <p:spPr bwMode="auto">
            <a:xfrm>
              <a:off x="3064" y="1383"/>
              <a:ext cx="1555" cy="1556"/>
            </a:xfrm>
            <a:custGeom>
              <a:avLst/>
              <a:gdLst>
                <a:gd name="T0" fmla="*/ 162 w 760"/>
                <a:gd name="T1" fmla="*/ 464 h 760"/>
                <a:gd name="T2" fmla="*/ 162 w 760"/>
                <a:gd name="T3" fmla="*/ 738 h 760"/>
                <a:gd name="T4" fmla="*/ 140 w 760"/>
                <a:gd name="T5" fmla="*/ 760 h 760"/>
                <a:gd name="T6" fmla="*/ 22 w 760"/>
                <a:gd name="T7" fmla="*/ 760 h 760"/>
                <a:gd name="T8" fmla="*/ 0 w 760"/>
                <a:gd name="T9" fmla="*/ 738 h 760"/>
                <a:gd name="T10" fmla="*/ 0 w 760"/>
                <a:gd name="T11" fmla="*/ 464 h 760"/>
                <a:gd name="T12" fmla="*/ 22 w 760"/>
                <a:gd name="T13" fmla="*/ 442 h 760"/>
                <a:gd name="T14" fmla="*/ 140 w 760"/>
                <a:gd name="T15" fmla="*/ 442 h 760"/>
                <a:gd name="T16" fmla="*/ 162 w 760"/>
                <a:gd name="T17" fmla="*/ 464 h 760"/>
                <a:gd name="T18" fmla="*/ 340 w 760"/>
                <a:gd name="T19" fmla="*/ 318 h 760"/>
                <a:gd name="T20" fmla="*/ 221 w 760"/>
                <a:gd name="T21" fmla="*/ 318 h 760"/>
                <a:gd name="T22" fmla="*/ 199 w 760"/>
                <a:gd name="T23" fmla="*/ 340 h 760"/>
                <a:gd name="T24" fmla="*/ 199 w 760"/>
                <a:gd name="T25" fmla="*/ 738 h 760"/>
                <a:gd name="T26" fmla="*/ 221 w 760"/>
                <a:gd name="T27" fmla="*/ 760 h 760"/>
                <a:gd name="T28" fmla="*/ 340 w 760"/>
                <a:gd name="T29" fmla="*/ 760 h 760"/>
                <a:gd name="T30" fmla="*/ 362 w 760"/>
                <a:gd name="T31" fmla="*/ 738 h 760"/>
                <a:gd name="T32" fmla="*/ 362 w 760"/>
                <a:gd name="T33" fmla="*/ 340 h 760"/>
                <a:gd name="T34" fmla="*/ 340 w 760"/>
                <a:gd name="T35" fmla="*/ 318 h 760"/>
                <a:gd name="T36" fmla="*/ 539 w 760"/>
                <a:gd name="T37" fmla="*/ 179 h 760"/>
                <a:gd name="T38" fmla="*/ 420 w 760"/>
                <a:gd name="T39" fmla="*/ 179 h 760"/>
                <a:gd name="T40" fmla="*/ 398 w 760"/>
                <a:gd name="T41" fmla="*/ 201 h 760"/>
                <a:gd name="T42" fmla="*/ 398 w 760"/>
                <a:gd name="T43" fmla="*/ 738 h 760"/>
                <a:gd name="T44" fmla="*/ 420 w 760"/>
                <a:gd name="T45" fmla="*/ 760 h 760"/>
                <a:gd name="T46" fmla="*/ 539 w 760"/>
                <a:gd name="T47" fmla="*/ 760 h 760"/>
                <a:gd name="T48" fmla="*/ 561 w 760"/>
                <a:gd name="T49" fmla="*/ 738 h 760"/>
                <a:gd name="T50" fmla="*/ 561 w 760"/>
                <a:gd name="T51" fmla="*/ 201 h 760"/>
                <a:gd name="T52" fmla="*/ 539 w 760"/>
                <a:gd name="T53" fmla="*/ 179 h 760"/>
                <a:gd name="T54" fmla="*/ 738 w 760"/>
                <a:gd name="T55" fmla="*/ 0 h 760"/>
                <a:gd name="T56" fmla="*/ 620 w 760"/>
                <a:gd name="T57" fmla="*/ 0 h 760"/>
                <a:gd name="T58" fmla="*/ 598 w 760"/>
                <a:gd name="T59" fmla="*/ 22 h 760"/>
                <a:gd name="T60" fmla="*/ 598 w 760"/>
                <a:gd name="T61" fmla="*/ 738 h 760"/>
                <a:gd name="T62" fmla="*/ 620 w 760"/>
                <a:gd name="T63" fmla="*/ 760 h 760"/>
                <a:gd name="T64" fmla="*/ 738 w 760"/>
                <a:gd name="T65" fmla="*/ 760 h 760"/>
                <a:gd name="T66" fmla="*/ 760 w 760"/>
                <a:gd name="T67" fmla="*/ 738 h 760"/>
                <a:gd name="T68" fmla="*/ 760 w 760"/>
                <a:gd name="T69" fmla="*/ 22 h 760"/>
                <a:gd name="T70" fmla="*/ 738 w 760"/>
                <a:gd name="T7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0" h="760">
                  <a:moveTo>
                    <a:pt x="162" y="464"/>
                  </a:moveTo>
                  <a:cubicBezTo>
                    <a:pt x="162" y="738"/>
                    <a:pt x="162" y="738"/>
                    <a:pt x="162" y="738"/>
                  </a:cubicBezTo>
                  <a:cubicBezTo>
                    <a:pt x="162" y="751"/>
                    <a:pt x="152" y="760"/>
                    <a:pt x="140" y="760"/>
                  </a:cubicBezTo>
                  <a:cubicBezTo>
                    <a:pt x="22" y="760"/>
                    <a:pt x="22" y="760"/>
                    <a:pt x="22" y="760"/>
                  </a:cubicBezTo>
                  <a:cubicBezTo>
                    <a:pt x="9" y="760"/>
                    <a:pt x="0" y="751"/>
                    <a:pt x="0" y="738"/>
                  </a:cubicBezTo>
                  <a:cubicBezTo>
                    <a:pt x="0" y="464"/>
                    <a:pt x="0" y="464"/>
                    <a:pt x="0" y="464"/>
                  </a:cubicBezTo>
                  <a:cubicBezTo>
                    <a:pt x="0" y="452"/>
                    <a:pt x="9" y="442"/>
                    <a:pt x="22" y="442"/>
                  </a:cubicBezTo>
                  <a:cubicBezTo>
                    <a:pt x="140" y="442"/>
                    <a:pt x="140" y="442"/>
                    <a:pt x="140" y="442"/>
                  </a:cubicBezTo>
                  <a:cubicBezTo>
                    <a:pt x="152" y="442"/>
                    <a:pt x="162" y="452"/>
                    <a:pt x="162" y="464"/>
                  </a:cubicBezTo>
                  <a:close/>
                  <a:moveTo>
                    <a:pt x="340" y="318"/>
                  </a:moveTo>
                  <a:cubicBezTo>
                    <a:pt x="221" y="318"/>
                    <a:pt x="221" y="318"/>
                    <a:pt x="221" y="318"/>
                  </a:cubicBezTo>
                  <a:cubicBezTo>
                    <a:pt x="209" y="318"/>
                    <a:pt x="199" y="328"/>
                    <a:pt x="199" y="340"/>
                  </a:cubicBezTo>
                  <a:cubicBezTo>
                    <a:pt x="199" y="738"/>
                    <a:pt x="199" y="738"/>
                    <a:pt x="199" y="738"/>
                  </a:cubicBezTo>
                  <a:cubicBezTo>
                    <a:pt x="199" y="751"/>
                    <a:pt x="209" y="760"/>
                    <a:pt x="221" y="760"/>
                  </a:cubicBezTo>
                  <a:cubicBezTo>
                    <a:pt x="340" y="760"/>
                    <a:pt x="340" y="760"/>
                    <a:pt x="340" y="760"/>
                  </a:cubicBezTo>
                  <a:cubicBezTo>
                    <a:pt x="352" y="760"/>
                    <a:pt x="362" y="751"/>
                    <a:pt x="362" y="738"/>
                  </a:cubicBezTo>
                  <a:cubicBezTo>
                    <a:pt x="362" y="340"/>
                    <a:pt x="362" y="340"/>
                    <a:pt x="362" y="340"/>
                  </a:cubicBezTo>
                  <a:cubicBezTo>
                    <a:pt x="362" y="328"/>
                    <a:pt x="352" y="318"/>
                    <a:pt x="340" y="318"/>
                  </a:cubicBezTo>
                  <a:close/>
                  <a:moveTo>
                    <a:pt x="539" y="179"/>
                  </a:moveTo>
                  <a:cubicBezTo>
                    <a:pt x="420" y="179"/>
                    <a:pt x="420" y="179"/>
                    <a:pt x="420" y="179"/>
                  </a:cubicBezTo>
                  <a:cubicBezTo>
                    <a:pt x="408" y="179"/>
                    <a:pt x="398" y="189"/>
                    <a:pt x="398" y="201"/>
                  </a:cubicBezTo>
                  <a:cubicBezTo>
                    <a:pt x="398" y="738"/>
                    <a:pt x="398" y="738"/>
                    <a:pt x="398" y="738"/>
                  </a:cubicBezTo>
                  <a:cubicBezTo>
                    <a:pt x="398" y="751"/>
                    <a:pt x="408" y="760"/>
                    <a:pt x="420" y="760"/>
                  </a:cubicBezTo>
                  <a:cubicBezTo>
                    <a:pt x="539" y="760"/>
                    <a:pt x="539" y="760"/>
                    <a:pt x="539" y="760"/>
                  </a:cubicBezTo>
                  <a:cubicBezTo>
                    <a:pt x="551" y="760"/>
                    <a:pt x="561" y="751"/>
                    <a:pt x="561" y="738"/>
                  </a:cubicBezTo>
                  <a:cubicBezTo>
                    <a:pt x="561" y="201"/>
                    <a:pt x="561" y="201"/>
                    <a:pt x="561" y="201"/>
                  </a:cubicBezTo>
                  <a:cubicBezTo>
                    <a:pt x="561" y="189"/>
                    <a:pt x="551" y="179"/>
                    <a:pt x="539" y="179"/>
                  </a:cubicBezTo>
                  <a:close/>
                  <a:moveTo>
                    <a:pt x="738" y="0"/>
                  </a:moveTo>
                  <a:cubicBezTo>
                    <a:pt x="620" y="0"/>
                    <a:pt x="620" y="0"/>
                    <a:pt x="620" y="0"/>
                  </a:cubicBezTo>
                  <a:cubicBezTo>
                    <a:pt x="608" y="0"/>
                    <a:pt x="598" y="9"/>
                    <a:pt x="598" y="22"/>
                  </a:cubicBezTo>
                  <a:cubicBezTo>
                    <a:pt x="598" y="738"/>
                    <a:pt x="598" y="738"/>
                    <a:pt x="598" y="738"/>
                  </a:cubicBezTo>
                  <a:cubicBezTo>
                    <a:pt x="598" y="751"/>
                    <a:pt x="608" y="760"/>
                    <a:pt x="620" y="760"/>
                  </a:cubicBezTo>
                  <a:cubicBezTo>
                    <a:pt x="738" y="760"/>
                    <a:pt x="738" y="760"/>
                    <a:pt x="738" y="760"/>
                  </a:cubicBezTo>
                  <a:cubicBezTo>
                    <a:pt x="751" y="760"/>
                    <a:pt x="760" y="751"/>
                    <a:pt x="760" y="738"/>
                  </a:cubicBezTo>
                  <a:cubicBezTo>
                    <a:pt x="760" y="22"/>
                    <a:pt x="760" y="22"/>
                    <a:pt x="760" y="22"/>
                  </a:cubicBezTo>
                  <a:cubicBezTo>
                    <a:pt x="760" y="9"/>
                    <a:pt x="751" y="0"/>
                    <a:pt x="73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a:extLst>
              <a:ext uri="{FF2B5EF4-FFF2-40B4-BE49-F238E27FC236}">
                <a16:creationId xmlns:a16="http://schemas.microsoft.com/office/drawing/2014/main" id="{E4775441-06B2-40CC-9D17-02E4C2EBBEDF}"/>
              </a:ext>
            </a:extLst>
          </p:cNvPr>
          <p:cNvSpPr/>
          <p:nvPr/>
        </p:nvSpPr>
        <p:spPr>
          <a:xfrm>
            <a:off x="8045116" y="665748"/>
            <a:ext cx="4193005" cy="9144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Wy – TRANSPORT</a:t>
            </a:r>
          </a:p>
        </p:txBody>
      </p:sp>
    </p:spTree>
    <p:custDataLst>
      <p:tags r:id="rId2"/>
    </p:custDataLst>
    <p:extLst>
      <p:ext uri="{BB962C8B-B14F-4D97-AF65-F5344CB8AC3E}">
        <p14:creationId xmlns:p14="http://schemas.microsoft.com/office/powerpoint/2010/main" val="32296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2C2EF1-B20F-4AB1-A58B-B9EF49B5A57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8"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122C2EF1-B20F-4AB1-A58B-B9EF49B5A5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200" cy="886397"/>
          </a:xfrm>
        </p:spPr>
        <p:txBody>
          <a:bodyPr vert="horz"/>
          <a:lstStyle/>
          <a:p>
            <a:r>
              <a:rPr lang="en-US" sz="3200">
                <a:ea typeface="+mj-lt"/>
                <a:cs typeface="+mj-lt"/>
              </a:rPr>
              <a:t>We leveraged the power of data to analyze the root causes and drive valuable insights</a:t>
            </a:r>
          </a:p>
        </p:txBody>
      </p:sp>
      <p:sp>
        <p:nvSpPr>
          <p:cNvPr id="6" name="ee4pHeader1">
            <a:extLst>
              <a:ext uri="{FF2B5EF4-FFF2-40B4-BE49-F238E27FC236}">
                <a16:creationId xmlns:a16="http://schemas.microsoft.com/office/drawing/2014/main" id="{3EE2CDB2-78DB-45BE-A553-4B034DA5B250}"/>
              </a:ext>
            </a:extLst>
          </p:cNvPr>
          <p:cNvSpPr txBox="1"/>
          <p:nvPr/>
        </p:nvSpPr>
        <p:spPr>
          <a:xfrm>
            <a:off x="629399" y="2206709"/>
            <a:ext cx="5085929" cy="283417"/>
          </a:xfrm>
          <a:prstGeom prst="rect">
            <a:avLst/>
          </a:prstGeom>
          <a:noFill/>
          <a:ln cap="rnd">
            <a:noFill/>
          </a:ln>
        </p:spPr>
        <p:txBody>
          <a:bodyPr wrap="square" lIns="0" tIns="0" rIns="0" bIns="0" rtlCol="0" anchor="b">
            <a:noAutofit/>
          </a:bodyPr>
          <a:lstStyle/>
          <a:p>
            <a:pPr marL="0" lvl="3"/>
            <a:r>
              <a:rPr lang="en-US">
                <a:solidFill>
                  <a:srgbClr val="FF0000"/>
                </a:solidFill>
              </a:rPr>
              <a:t>By analyzing data from bus ridership to attractions before COVID &amp; after COVID</a:t>
            </a:r>
          </a:p>
        </p:txBody>
      </p:sp>
      <p:sp>
        <p:nvSpPr>
          <p:cNvPr id="7" name="ee4pHeader2">
            <a:extLst>
              <a:ext uri="{FF2B5EF4-FFF2-40B4-BE49-F238E27FC236}">
                <a16:creationId xmlns:a16="http://schemas.microsoft.com/office/drawing/2014/main" id="{DAD7256E-4533-4E0E-B2DE-493AB4F0A3C4}"/>
              </a:ext>
            </a:extLst>
          </p:cNvPr>
          <p:cNvSpPr txBox="1"/>
          <p:nvPr/>
        </p:nvSpPr>
        <p:spPr>
          <a:xfrm>
            <a:off x="6238445" y="1820629"/>
            <a:ext cx="5406605" cy="223486"/>
          </a:xfrm>
          <a:prstGeom prst="rect">
            <a:avLst/>
          </a:prstGeom>
          <a:noFill/>
          <a:ln cap="rnd">
            <a:noFill/>
          </a:ln>
        </p:spPr>
        <p:txBody>
          <a:bodyPr wrap="square" lIns="0" tIns="0" rIns="0" bIns="0" rtlCol="0" anchor="b">
            <a:noAutofit/>
          </a:bodyPr>
          <a:lstStyle/>
          <a:p>
            <a:pPr marL="0" lvl="3"/>
            <a:r>
              <a:rPr lang="en-US">
                <a:solidFill>
                  <a:srgbClr val="FF0000"/>
                </a:solidFill>
              </a:rPr>
              <a:t>…we identified that government restrictions reduces ridership to attractions by</a:t>
            </a:r>
          </a:p>
        </p:txBody>
      </p:sp>
      <p:grpSp>
        <p:nvGrpSpPr>
          <p:cNvPr id="8" name="Group 7">
            <a:extLst>
              <a:ext uri="{FF2B5EF4-FFF2-40B4-BE49-F238E27FC236}">
                <a16:creationId xmlns:a16="http://schemas.microsoft.com/office/drawing/2014/main" id="{86CB271E-CA55-43B0-BDA0-4FF1D2F640F9}"/>
              </a:ext>
            </a:extLst>
          </p:cNvPr>
          <p:cNvGrpSpPr/>
          <p:nvPr/>
        </p:nvGrpSpPr>
        <p:grpSpPr>
          <a:xfrm>
            <a:off x="5823801" y="2081213"/>
            <a:ext cx="306171" cy="4079081"/>
            <a:chOff x="5942914" y="2081213"/>
            <a:chExt cx="306171" cy="4079081"/>
          </a:xfrm>
        </p:grpSpPr>
        <p:cxnSp>
          <p:nvCxnSpPr>
            <p:cNvPr id="9" name="Straight Connector 8">
              <a:extLst>
                <a:ext uri="{FF2B5EF4-FFF2-40B4-BE49-F238E27FC236}">
                  <a16:creationId xmlns:a16="http://schemas.microsoft.com/office/drawing/2014/main" id="{379DC876-DA66-493A-85C2-01203E423042}"/>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9D782B1-E8CE-41F5-8458-32E30A5C1AF3}"/>
                </a:ext>
              </a:extLst>
            </p:cNvPr>
            <p:cNvGrpSpPr/>
            <p:nvPr/>
          </p:nvGrpSpPr>
          <p:grpSpPr>
            <a:xfrm>
              <a:off x="5942914" y="3967299"/>
              <a:ext cx="306171" cy="306910"/>
              <a:chOff x="5937564" y="3833745"/>
              <a:chExt cx="306171" cy="306910"/>
            </a:xfrm>
          </p:grpSpPr>
          <p:sp>
            <p:nvSpPr>
              <p:cNvPr id="11" name="Freeform 94">
                <a:extLst>
                  <a:ext uri="{FF2B5EF4-FFF2-40B4-BE49-F238E27FC236}">
                    <a16:creationId xmlns:a16="http://schemas.microsoft.com/office/drawing/2014/main" id="{22EBBF2B-0D20-4337-AB58-95F5353F8F3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12" name="Freeform 95">
                <a:extLst>
                  <a:ext uri="{FF2B5EF4-FFF2-40B4-BE49-F238E27FC236}">
                    <a16:creationId xmlns:a16="http://schemas.microsoft.com/office/drawing/2014/main" id="{30EFF30D-8ECA-4E16-BC75-BD042173F9C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13" name="Rectangle 12">
            <a:extLst>
              <a:ext uri="{FF2B5EF4-FFF2-40B4-BE49-F238E27FC236}">
                <a16:creationId xmlns:a16="http://schemas.microsoft.com/office/drawing/2014/main" id="{52214D19-BF29-430F-B5C1-3AD79F856ADA}"/>
              </a:ext>
            </a:extLst>
          </p:cNvPr>
          <p:cNvSpPr/>
          <p:nvPr/>
        </p:nvSpPr>
        <p:spPr>
          <a:xfrm>
            <a:off x="629400" y="2935182"/>
            <a:ext cx="4969730" cy="3216943"/>
          </a:xfrm>
          <a:prstGeom prst="rect">
            <a:avLst/>
          </a:prstGeom>
          <a:noFill/>
          <a:ln w="1079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FF0000"/>
                </a:solidFill>
              </a:rPr>
              <a:t>Line/bar graph to show the number of travelers to Sentosa before and after COVID:</a:t>
            </a:r>
            <a:endParaRPr lang="vi-VN" sz="1400" b="1">
              <a:solidFill>
                <a:srgbClr val="FF0000"/>
              </a:solidFill>
            </a:endParaRPr>
          </a:p>
          <a:p>
            <a:pPr algn="ctr"/>
            <a:r>
              <a:rPr lang="en-US" sz="1400">
                <a:solidFill>
                  <a:srgbClr val="FF0000"/>
                </a:solidFill>
              </a:rPr>
              <a:t>- the number of riders before COVID vs after COVID</a:t>
            </a:r>
            <a:endParaRPr lang="vi-VN" sz="1400">
              <a:solidFill>
                <a:srgbClr val="FF0000"/>
              </a:solidFill>
            </a:endParaRPr>
          </a:p>
          <a:p>
            <a:pPr algn="ctr"/>
            <a:endParaRPr lang="en-US" sz="1400">
              <a:solidFill>
                <a:srgbClr val="FF0000"/>
              </a:solidFill>
            </a:endParaRPr>
          </a:p>
          <a:p>
            <a:pPr algn="ctr"/>
            <a:r>
              <a:rPr lang="en-US" sz="1400">
                <a:solidFill>
                  <a:srgbClr val="FF0000"/>
                </a:solidFill>
                <a:ea typeface="+mn-lt"/>
                <a:cs typeface="+mn-lt"/>
              </a:rPr>
              <a:t>Government restrictions due to COVID reduces ridership (</a:t>
            </a:r>
            <a:r>
              <a:rPr lang="en-US" sz="1400" err="1">
                <a:solidFill>
                  <a:srgbClr val="FF0000"/>
                </a:solidFill>
                <a:ea typeface="+mn-lt"/>
                <a:cs typeface="+mn-lt"/>
              </a:rPr>
              <a:t>Eg.</a:t>
            </a:r>
            <a:r>
              <a:rPr lang="en-US" sz="1400">
                <a:solidFill>
                  <a:srgbClr val="FF0000"/>
                </a:solidFill>
                <a:ea typeface="+mn-lt"/>
                <a:cs typeface="+mn-lt"/>
              </a:rPr>
              <a:t> Capacity of attractions reduce, booking for entry to attractions based on first come first serve basis)</a:t>
            </a:r>
            <a:endParaRPr lang="en-US">
              <a:solidFill>
                <a:srgbClr val="FF0000"/>
              </a:solidFill>
            </a:endParaRPr>
          </a:p>
          <a:p>
            <a:pPr algn="ctr"/>
            <a:endParaRPr lang="en-US" sz="1400">
              <a:solidFill>
                <a:srgbClr val="171D3C"/>
              </a:solidFill>
            </a:endParaRPr>
          </a:p>
        </p:txBody>
      </p:sp>
      <p:sp>
        <p:nvSpPr>
          <p:cNvPr id="15" name="ee4pHeader2">
            <a:extLst>
              <a:ext uri="{FF2B5EF4-FFF2-40B4-BE49-F238E27FC236}">
                <a16:creationId xmlns:a16="http://schemas.microsoft.com/office/drawing/2014/main" id="{62D0A2D6-96AB-49DF-B708-D0BDE9F35432}"/>
              </a:ext>
            </a:extLst>
          </p:cNvPr>
          <p:cNvSpPr txBox="1"/>
          <p:nvPr/>
        </p:nvSpPr>
        <p:spPr>
          <a:xfrm>
            <a:off x="6238445" y="4058775"/>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ith following potential root cause by</a:t>
            </a:r>
          </a:p>
        </p:txBody>
      </p:sp>
      <p:sp>
        <p:nvSpPr>
          <p:cNvPr id="16" name="TextBox 15">
            <a:extLst>
              <a:ext uri="{FF2B5EF4-FFF2-40B4-BE49-F238E27FC236}">
                <a16:creationId xmlns:a16="http://schemas.microsoft.com/office/drawing/2014/main" id="{F34C97FE-F02F-47E1-A6E9-899093133970}"/>
              </a:ext>
            </a:extLst>
          </p:cNvPr>
          <p:cNvSpPr txBox="1"/>
          <p:nvPr/>
        </p:nvSpPr>
        <p:spPr>
          <a:xfrm>
            <a:off x="6238445" y="4437248"/>
            <a:ext cx="4995640" cy="1384995"/>
          </a:xfrm>
          <a:prstGeom prst="rect">
            <a:avLst/>
          </a:prstGeom>
          <a:noFill/>
        </p:spPr>
        <p:txBody>
          <a:bodyPr wrap="square" lIns="91440" tIns="45720" rIns="91440" bIns="45720" rtlCol="0" anchor="t">
            <a:spAutoFit/>
          </a:bodyPr>
          <a:lstStyle/>
          <a:p>
            <a:pPr marL="323850" lvl="1" indent="-215900">
              <a:buClr>
                <a:srgbClr val="DF2A6F"/>
              </a:buClr>
              <a:buSzPct val="100000"/>
              <a:buFont typeface="Trebuchet MS" panose="020B0603020202020204" pitchFamily="34" charset="0"/>
              <a:buChar char="•"/>
            </a:pPr>
            <a:r>
              <a:rPr lang="vi-VN" sz="1400" err="1">
                <a:solidFill>
                  <a:srgbClr val="FF0000"/>
                </a:solidFill>
                <a:latin typeface="Trebuchet MS" panose="020B0603020202020204" pitchFamily="34" charset="0"/>
              </a:rPr>
              <a:t>Limited</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booking</a:t>
            </a:r>
            <a:r>
              <a:rPr lang="vi-VN" sz="1400">
                <a:solidFill>
                  <a:srgbClr val="FF0000"/>
                </a:solidFill>
                <a:latin typeface="Trebuchet MS" panose="020B0603020202020204" pitchFamily="34" charset="0"/>
              </a:rPr>
              <a:t> to </a:t>
            </a:r>
            <a:r>
              <a:rPr lang="vi-VN" sz="1400" err="1">
                <a:solidFill>
                  <a:srgbClr val="FF0000"/>
                </a:solidFill>
                <a:latin typeface="Trebuchet MS" panose="020B0603020202020204" pitchFamily="34" charset="0"/>
              </a:rPr>
              <a:t>attractions</a:t>
            </a:r>
            <a:r>
              <a:rPr lang="vi-VN" sz="1400">
                <a:solidFill>
                  <a:srgbClr val="FF0000"/>
                </a:solidFill>
                <a:latin typeface="Trebuchet MS" panose="020B0603020202020204" pitchFamily="34" charset="0"/>
              </a:rPr>
              <a:t> </a:t>
            </a:r>
          </a:p>
          <a:p>
            <a:pPr marL="323850" lvl="1" indent="-215900">
              <a:buClr>
                <a:srgbClr val="DF2A6F"/>
              </a:buClr>
              <a:buSzPct val="100000"/>
              <a:buFont typeface="Trebuchet MS" panose="020B0603020202020204" pitchFamily="34" charset="0"/>
              <a:buChar char="•"/>
            </a:pPr>
            <a:r>
              <a:rPr lang="vi-VN" sz="1400" err="1">
                <a:solidFill>
                  <a:srgbClr val="FF0000"/>
                </a:solidFill>
                <a:latin typeface="Trebuchet MS" panose="020B0603020202020204" pitchFamily="34" charset="0"/>
              </a:rPr>
              <a:t>Safe</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distancing</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measures</a:t>
            </a:r>
            <a:endParaRPr lang="vi-VN" sz="1400">
              <a:solidFill>
                <a:srgbClr val="FF0000"/>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FF0000"/>
                </a:solidFill>
                <a:latin typeface="Trebuchet MS" panose="020B0603020202020204" pitchFamily="34" charset="0"/>
              </a:rPr>
              <a:t>Xx</a:t>
            </a:r>
            <a:endParaRPr lang="vi-VN" sz="1400">
              <a:solidFill>
                <a:srgbClr val="FF0000"/>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FF0000"/>
                </a:solidFill>
                <a:latin typeface="Trebuchet MS" panose="020B0603020202020204" pitchFamily="34" charset="0"/>
              </a:rPr>
              <a:t>Xx</a:t>
            </a:r>
            <a:endParaRPr lang="vi-VN" sz="1400">
              <a:solidFill>
                <a:srgbClr val="FF0000"/>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FF0000"/>
                </a:solidFill>
                <a:latin typeface="Trebuchet MS" panose="020B0603020202020204" pitchFamily="34" charset="0"/>
              </a:rPr>
              <a:t>Xx</a:t>
            </a:r>
            <a:endParaRPr lang="vi-VN" sz="1400">
              <a:solidFill>
                <a:srgbClr val="FF0000"/>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FF0000"/>
                </a:solidFill>
                <a:latin typeface="Trebuchet MS" panose="020B0603020202020204" pitchFamily="34" charset="0"/>
              </a:rPr>
              <a:t>Xx</a:t>
            </a:r>
            <a:endParaRPr lang="en-US" sz="1400">
              <a:solidFill>
                <a:srgbClr val="FF0000"/>
              </a:solidFill>
              <a:latin typeface="Trebuchet MS" panose="020B0603020202020204" pitchFamily="34" charset="0"/>
            </a:endParaRPr>
          </a:p>
        </p:txBody>
      </p:sp>
      <p:sp>
        <p:nvSpPr>
          <p:cNvPr id="17" name="Oval 16">
            <a:extLst>
              <a:ext uri="{FF2B5EF4-FFF2-40B4-BE49-F238E27FC236}">
                <a16:creationId xmlns:a16="http://schemas.microsoft.com/office/drawing/2014/main" id="{D6A19D99-FD2D-4A02-BD8C-EB79DE5CB3E8}"/>
              </a:ext>
            </a:extLst>
          </p:cNvPr>
          <p:cNvSpPr>
            <a:spLocks noChangeAspect="1"/>
          </p:cNvSpPr>
          <p:nvPr/>
        </p:nvSpPr>
        <p:spPr>
          <a:xfrm>
            <a:off x="6238446" y="2244303"/>
            <a:ext cx="1604688" cy="1604688"/>
          </a:xfrm>
          <a:prstGeom prst="ellipse">
            <a:avLst/>
          </a:prstGeom>
          <a:solidFill>
            <a:srgbClr val="FFFFFF"/>
          </a:solidFill>
          <a:ln w="3810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vi-VN" sz="4500" b="1" kern="0">
                <a:solidFill>
                  <a:srgbClr val="171D3C"/>
                </a:solidFill>
              </a:rPr>
              <a:t>X%</a:t>
            </a:r>
            <a:endParaRPr lang="en-US" sz="1400" kern="0">
              <a:solidFill>
                <a:srgbClr val="171D3C"/>
              </a:solidFill>
            </a:endParaRPr>
          </a:p>
          <a:p>
            <a:pPr algn="ctr"/>
            <a:r>
              <a:rPr lang="en-SG" sz="1400" kern="0">
                <a:solidFill>
                  <a:srgbClr val="171D3C"/>
                </a:solidFill>
              </a:rPr>
              <a:t>guests</a:t>
            </a:r>
            <a:endParaRPr lang="en-US" sz="1400" kern="0">
              <a:solidFill>
                <a:srgbClr val="171D3C"/>
              </a:solidFill>
            </a:endParaRPr>
          </a:p>
        </p:txBody>
      </p:sp>
      <p:sp>
        <p:nvSpPr>
          <p:cNvPr id="18" name="TextBox 17">
            <a:extLst>
              <a:ext uri="{FF2B5EF4-FFF2-40B4-BE49-F238E27FC236}">
                <a16:creationId xmlns:a16="http://schemas.microsoft.com/office/drawing/2014/main" id="{019024A8-1BEF-4B4D-B472-4BE8F204F39E}"/>
              </a:ext>
            </a:extLst>
          </p:cNvPr>
          <p:cNvSpPr txBox="1"/>
          <p:nvPr/>
        </p:nvSpPr>
        <p:spPr>
          <a:xfrm>
            <a:off x="8847667" y="2785036"/>
            <a:ext cx="2386417" cy="523220"/>
          </a:xfrm>
          <a:prstGeom prst="rect">
            <a:avLst/>
          </a:prstGeom>
          <a:noFill/>
        </p:spPr>
        <p:txBody>
          <a:bodyPr wrap="square" rtlCol="0" anchor="ctr">
            <a:spAutoFit/>
          </a:bodyPr>
          <a:lstStyle/>
          <a:p>
            <a:r>
              <a:rPr lang="en-SG" sz="1400"/>
              <a:t>Are impacted by the problem</a:t>
            </a:r>
            <a:endParaRPr lang="en-US" sz="1400"/>
          </a:p>
        </p:txBody>
      </p:sp>
      <p:cxnSp>
        <p:nvCxnSpPr>
          <p:cNvPr id="19" name="Straight Connector 18">
            <a:extLst>
              <a:ext uri="{FF2B5EF4-FFF2-40B4-BE49-F238E27FC236}">
                <a16:creationId xmlns:a16="http://schemas.microsoft.com/office/drawing/2014/main" id="{10596A96-FB53-4328-8EDF-9CCC725CDFDA}"/>
              </a:ext>
            </a:extLst>
          </p:cNvPr>
          <p:cNvCxnSpPr/>
          <p:nvPr/>
        </p:nvCxnSpPr>
        <p:spPr>
          <a:xfrm>
            <a:off x="8431430" y="2284613"/>
            <a:ext cx="0" cy="1524067"/>
          </a:xfrm>
          <a:prstGeom prst="line">
            <a:avLst/>
          </a:prstGeom>
          <a:ln w="9525" cap="rnd">
            <a:solidFill>
              <a:schemeClr val="tx1">
                <a:lumMod val="60000"/>
                <a:lumOff val="40000"/>
              </a:schemeClr>
            </a:solidFill>
            <a:prstDash val="dash"/>
            <a:round/>
            <a:headEnd type="diamond"/>
            <a:tailEnd type="diamon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5588E7A5-52DE-4CD0-97CD-566540589768}"/>
              </a:ext>
            </a:extLst>
          </p:cNvPr>
          <p:cNvGrpSpPr>
            <a:grpSpLocks noChangeAspect="1"/>
          </p:cNvGrpSpPr>
          <p:nvPr/>
        </p:nvGrpSpPr>
        <p:grpSpPr>
          <a:xfrm>
            <a:off x="8277975" y="2893192"/>
            <a:ext cx="306910" cy="306910"/>
            <a:chOff x="982662" y="1847850"/>
            <a:chExt cx="269875" cy="269875"/>
          </a:xfrm>
        </p:grpSpPr>
        <p:sp>
          <p:nvSpPr>
            <p:cNvPr id="24" name="Oval 50">
              <a:extLst>
                <a:ext uri="{FF2B5EF4-FFF2-40B4-BE49-F238E27FC236}">
                  <a16:creationId xmlns:a16="http://schemas.microsoft.com/office/drawing/2014/main" id="{505FAE24-11E5-496E-9AA9-05D2E91251B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5" name="Freeform 51">
              <a:extLst>
                <a:ext uri="{FF2B5EF4-FFF2-40B4-BE49-F238E27FC236}">
                  <a16:creationId xmlns:a16="http://schemas.microsoft.com/office/drawing/2014/main" id="{57C8CC55-C161-4A1F-B214-EF582F99F47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3" name="Rectangle 2">
            <a:extLst>
              <a:ext uri="{FF2B5EF4-FFF2-40B4-BE49-F238E27FC236}">
                <a16:creationId xmlns:a16="http://schemas.microsoft.com/office/drawing/2014/main" id="{CE3EB5D0-9162-483B-A943-516EA90AB6BC}"/>
              </a:ext>
            </a:extLst>
          </p:cNvPr>
          <p:cNvSpPr/>
          <p:nvPr/>
        </p:nvSpPr>
        <p:spPr>
          <a:xfrm>
            <a:off x="10715946" y="180653"/>
            <a:ext cx="1265432" cy="112844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Eve - Macro</a:t>
            </a:r>
          </a:p>
        </p:txBody>
      </p:sp>
    </p:spTree>
    <p:custDataLst>
      <p:tags r:id="rId2"/>
    </p:custDataLst>
    <p:extLst>
      <p:ext uri="{BB962C8B-B14F-4D97-AF65-F5344CB8AC3E}">
        <p14:creationId xmlns:p14="http://schemas.microsoft.com/office/powerpoint/2010/main" val="1146848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2C2EF1-B20F-4AB1-A58B-B9EF49B5A57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6"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122C2EF1-B20F-4AB1-A58B-B9EF49B5A5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00847" y="377410"/>
            <a:ext cx="11436895" cy="886397"/>
          </a:xfrm>
        </p:spPr>
        <p:txBody>
          <a:bodyPr vert="horz"/>
          <a:lstStyle/>
          <a:p>
            <a:r>
              <a:rPr lang="en-US" sz="3200">
                <a:solidFill>
                  <a:srgbClr val="FF0000"/>
                </a:solidFill>
              </a:rPr>
              <a:t>We had investigated the co-relationship in between population density, amenities , and resorts on each bus stop</a:t>
            </a:r>
          </a:p>
        </p:txBody>
      </p:sp>
      <p:sp>
        <p:nvSpPr>
          <p:cNvPr id="6" name="ee4pHeader1">
            <a:extLst>
              <a:ext uri="{FF2B5EF4-FFF2-40B4-BE49-F238E27FC236}">
                <a16:creationId xmlns:a16="http://schemas.microsoft.com/office/drawing/2014/main" id="{3EE2CDB2-78DB-45BE-A553-4B034DA5B250}"/>
              </a:ext>
            </a:extLst>
          </p:cNvPr>
          <p:cNvSpPr txBox="1"/>
          <p:nvPr/>
        </p:nvSpPr>
        <p:spPr>
          <a:xfrm>
            <a:off x="396924" y="1601070"/>
            <a:ext cx="5292573" cy="683789"/>
          </a:xfrm>
          <a:prstGeom prst="rect">
            <a:avLst/>
          </a:prstGeom>
          <a:noFill/>
          <a:ln cap="rnd">
            <a:noFill/>
          </a:ln>
        </p:spPr>
        <p:txBody>
          <a:bodyPr wrap="square" lIns="0" tIns="0" rIns="0" bIns="0" rtlCol="0" anchor="b">
            <a:noAutofit/>
          </a:bodyPr>
          <a:lstStyle/>
          <a:p>
            <a:pPr marL="0" lvl="3" algn="ctr"/>
            <a:r>
              <a:rPr lang="en-US">
                <a:solidFill>
                  <a:srgbClr val="FF0000"/>
                </a:solidFill>
              </a:rPr>
              <a:t>By analyzing data from the 'Population Density &amp; Amenities' Vs 'Population Density &amp; Resorts'</a:t>
            </a:r>
          </a:p>
        </p:txBody>
      </p:sp>
      <p:sp>
        <p:nvSpPr>
          <p:cNvPr id="7" name="ee4pHeader2">
            <a:extLst>
              <a:ext uri="{FF2B5EF4-FFF2-40B4-BE49-F238E27FC236}">
                <a16:creationId xmlns:a16="http://schemas.microsoft.com/office/drawing/2014/main" id="{DAD7256E-4533-4E0E-B2DE-493AB4F0A3C4}"/>
              </a:ext>
            </a:extLst>
          </p:cNvPr>
          <p:cNvSpPr txBox="1"/>
          <p:nvPr/>
        </p:nvSpPr>
        <p:spPr>
          <a:xfrm>
            <a:off x="6212615" y="1820629"/>
            <a:ext cx="6248419" cy="593383"/>
          </a:xfrm>
          <a:prstGeom prst="rect">
            <a:avLst/>
          </a:prstGeom>
          <a:noFill/>
          <a:ln cap="rnd">
            <a:noFill/>
          </a:ln>
        </p:spPr>
        <p:txBody>
          <a:bodyPr wrap="square" lIns="0" tIns="0" rIns="0" bIns="0" rtlCol="0" anchor="b">
            <a:noAutofit/>
          </a:bodyPr>
          <a:lstStyle/>
          <a:p>
            <a:pPr marL="0" lvl="3"/>
            <a:r>
              <a:rPr lang="en-US">
                <a:solidFill>
                  <a:srgbClr val="FF0000"/>
                </a:solidFill>
              </a:rPr>
              <a:t>We found that, bus stops with more Amenities tend to be have higher population density than resort. Therefore, conclusion is number of amenities had a positive co-relationship with the population density in each bus stop.</a:t>
            </a:r>
          </a:p>
        </p:txBody>
      </p:sp>
      <p:grpSp>
        <p:nvGrpSpPr>
          <p:cNvPr id="8" name="Group 7">
            <a:extLst>
              <a:ext uri="{FF2B5EF4-FFF2-40B4-BE49-F238E27FC236}">
                <a16:creationId xmlns:a16="http://schemas.microsoft.com/office/drawing/2014/main" id="{86CB271E-CA55-43B0-BDA0-4FF1D2F640F9}"/>
              </a:ext>
            </a:extLst>
          </p:cNvPr>
          <p:cNvGrpSpPr/>
          <p:nvPr/>
        </p:nvGrpSpPr>
        <p:grpSpPr>
          <a:xfrm>
            <a:off x="5823801" y="2081213"/>
            <a:ext cx="306171" cy="4079081"/>
            <a:chOff x="5942914" y="2081213"/>
            <a:chExt cx="306171" cy="4079081"/>
          </a:xfrm>
        </p:grpSpPr>
        <p:cxnSp>
          <p:nvCxnSpPr>
            <p:cNvPr id="9" name="Straight Connector 8">
              <a:extLst>
                <a:ext uri="{FF2B5EF4-FFF2-40B4-BE49-F238E27FC236}">
                  <a16:creationId xmlns:a16="http://schemas.microsoft.com/office/drawing/2014/main" id="{379DC876-DA66-493A-85C2-01203E423042}"/>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9D782B1-E8CE-41F5-8458-32E30A5C1AF3}"/>
                </a:ext>
              </a:extLst>
            </p:cNvPr>
            <p:cNvGrpSpPr/>
            <p:nvPr/>
          </p:nvGrpSpPr>
          <p:grpSpPr>
            <a:xfrm>
              <a:off x="5942914" y="3967299"/>
              <a:ext cx="306171" cy="306910"/>
              <a:chOff x="5937564" y="3833745"/>
              <a:chExt cx="306171" cy="306910"/>
            </a:xfrm>
          </p:grpSpPr>
          <p:sp>
            <p:nvSpPr>
              <p:cNvPr id="11" name="Freeform 94">
                <a:extLst>
                  <a:ext uri="{FF2B5EF4-FFF2-40B4-BE49-F238E27FC236}">
                    <a16:creationId xmlns:a16="http://schemas.microsoft.com/office/drawing/2014/main" id="{22EBBF2B-0D20-4337-AB58-95F5353F8F3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12" name="Freeform 95">
                <a:extLst>
                  <a:ext uri="{FF2B5EF4-FFF2-40B4-BE49-F238E27FC236}">
                    <a16:creationId xmlns:a16="http://schemas.microsoft.com/office/drawing/2014/main" id="{30EFF30D-8ECA-4E16-BC75-BD042173F9C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13" name="Rectangle 12">
            <a:extLst>
              <a:ext uri="{FF2B5EF4-FFF2-40B4-BE49-F238E27FC236}">
                <a16:creationId xmlns:a16="http://schemas.microsoft.com/office/drawing/2014/main" id="{52214D19-BF29-430F-B5C1-3AD79F856ADA}"/>
              </a:ext>
            </a:extLst>
          </p:cNvPr>
          <p:cNvSpPr/>
          <p:nvPr/>
        </p:nvSpPr>
        <p:spPr>
          <a:xfrm>
            <a:off x="500247" y="2683421"/>
            <a:ext cx="4730000" cy="3755423"/>
          </a:xfrm>
          <a:prstGeom prst="rect">
            <a:avLst/>
          </a:prstGeom>
          <a:noFill/>
          <a:ln w="1079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rgbClr val="171D3C"/>
                </a:solidFill>
              </a:rPr>
              <a:t>Chart/Visual showing output or</a:t>
            </a:r>
            <a:endParaRPr lang="vi-VN" sz="1400">
              <a:solidFill>
                <a:srgbClr val="171D3C"/>
              </a:solidFill>
            </a:endParaRPr>
          </a:p>
          <a:p>
            <a:pPr algn="ctr"/>
            <a:r>
              <a:rPr lang="en-US" sz="1400">
                <a:solidFill>
                  <a:srgbClr val="171D3C"/>
                </a:solidFill>
              </a:rPr>
              <a:t>key insights that build the output/recommendations</a:t>
            </a:r>
          </a:p>
          <a:p>
            <a:pPr algn="ctr"/>
            <a:endParaRPr lang="en-US" sz="1400">
              <a:solidFill>
                <a:srgbClr val="171D3C"/>
              </a:solidFill>
            </a:endParaRPr>
          </a:p>
          <a:p>
            <a:pPr algn="ctr"/>
            <a:r>
              <a:rPr lang="en-US" sz="1400">
                <a:solidFill>
                  <a:srgbClr val="171D3C"/>
                </a:solidFill>
              </a:rPr>
              <a:t>Limit to one insight/output theme</a:t>
            </a:r>
            <a:r>
              <a:rPr lang="vi-VN" sz="1400">
                <a:solidFill>
                  <a:srgbClr val="171D3C"/>
                </a:solidFill>
              </a:rPr>
              <a:t> </a:t>
            </a:r>
            <a:r>
              <a:rPr lang="en-US" sz="1400">
                <a:solidFill>
                  <a:srgbClr val="171D3C"/>
                </a:solidFill>
              </a:rPr>
              <a:t>per slide</a:t>
            </a:r>
          </a:p>
        </p:txBody>
      </p:sp>
      <p:sp>
        <p:nvSpPr>
          <p:cNvPr id="15" name="ee4pHeader2">
            <a:extLst>
              <a:ext uri="{FF2B5EF4-FFF2-40B4-BE49-F238E27FC236}">
                <a16:creationId xmlns:a16="http://schemas.microsoft.com/office/drawing/2014/main" id="{62D0A2D6-96AB-49DF-B708-D0BDE9F35432}"/>
              </a:ext>
            </a:extLst>
          </p:cNvPr>
          <p:cNvSpPr txBox="1"/>
          <p:nvPr/>
        </p:nvSpPr>
        <p:spPr>
          <a:xfrm>
            <a:off x="6238445" y="4058775"/>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ith following potential root causes</a:t>
            </a:r>
          </a:p>
        </p:txBody>
      </p:sp>
      <p:sp>
        <p:nvSpPr>
          <p:cNvPr id="16" name="TextBox 15">
            <a:extLst>
              <a:ext uri="{FF2B5EF4-FFF2-40B4-BE49-F238E27FC236}">
                <a16:creationId xmlns:a16="http://schemas.microsoft.com/office/drawing/2014/main" id="{F34C97FE-F02F-47E1-A6E9-899093133970}"/>
              </a:ext>
            </a:extLst>
          </p:cNvPr>
          <p:cNvSpPr txBox="1"/>
          <p:nvPr/>
        </p:nvSpPr>
        <p:spPr>
          <a:xfrm>
            <a:off x="6238445" y="4437248"/>
            <a:ext cx="4995640" cy="1384995"/>
          </a:xfrm>
          <a:prstGeom prst="rect">
            <a:avLst/>
          </a:prstGeom>
          <a:noFill/>
        </p:spPr>
        <p:txBody>
          <a:bodyPr wrap="square" lIns="91440" tIns="45720" rIns="91440" bIns="45720" rtlCol="0" anchor="t">
            <a:spAutoFit/>
          </a:bodyPr>
          <a:lstStyle/>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Bus</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stop</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with</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more</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Amenities</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like</a:t>
            </a:r>
            <a:r>
              <a:rPr lang="vi-VN" sz="1400">
                <a:solidFill>
                  <a:srgbClr val="171D3C"/>
                </a:solidFill>
                <a:latin typeface="Trebuchet MS" panose="020B0603020202020204" pitchFamily="34" charset="0"/>
              </a:rPr>
              <a:t> F&amp;B </a:t>
            </a:r>
            <a:r>
              <a:rPr lang="vi-VN" sz="1400" err="1">
                <a:solidFill>
                  <a:srgbClr val="171D3C"/>
                </a:solidFill>
                <a:latin typeface="Trebuchet MS" panose="020B0603020202020204" pitchFamily="34" charset="0"/>
              </a:rPr>
              <a:t>tend</a:t>
            </a:r>
            <a:r>
              <a:rPr lang="vi-VN" sz="1400">
                <a:solidFill>
                  <a:srgbClr val="171D3C"/>
                </a:solidFill>
                <a:latin typeface="Trebuchet MS" panose="020B0603020202020204" pitchFamily="34" charset="0"/>
              </a:rPr>
              <a:t> to </a:t>
            </a:r>
            <a:r>
              <a:rPr lang="vi-VN" sz="1400" err="1">
                <a:solidFill>
                  <a:srgbClr val="171D3C"/>
                </a:solidFill>
                <a:latin typeface="Trebuchet MS" panose="020B0603020202020204" pitchFamily="34" charset="0"/>
              </a:rPr>
              <a:t>have</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higher</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ridership</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etc</a:t>
            </a:r>
            <a:endParaRPr lang="vi-VN" sz="1400">
              <a:solidFill>
                <a:srgbClr val="171D3C"/>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vi-VN" sz="1400">
              <a:solidFill>
                <a:srgbClr val="171D3C"/>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vi-VN" sz="1400">
              <a:solidFill>
                <a:srgbClr val="171D3C"/>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vi-VN" sz="1400">
              <a:solidFill>
                <a:srgbClr val="171D3C"/>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en-US" sz="1400">
              <a:solidFill>
                <a:srgbClr val="171D3C"/>
              </a:solidFill>
              <a:latin typeface="Trebuchet MS" panose="020B0603020202020204" pitchFamily="34" charset="0"/>
            </a:endParaRPr>
          </a:p>
        </p:txBody>
      </p:sp>
      <p:sp>
        <p:nvSpPr>
          <p:cNvPr id="5" name="Rectangle 4">
            <a:extLst>
              <a:ext uri="{FF2B5EF4-FFF2-40B4-BE49-F238E27FC236}">
                <a16:creationId xmlns:a16="http://schemas.microsoft.com/office/drawing/2014/main" id="{EBE47E42-C971-49FF-8E99-19D4C6761E2B}"/>
              </a:ext>
            </a:extLst>
          </p:cNvPr>
          <p:cNvSpPr/>
          <p:nvPr/>
        </p:nvSpPr>
        <p:spPr>
          <a:xfrm>
            <a:off x="11231912" y="53759"/>
            <a:ext cx="914399" cy="914399"/>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KN</a:t>
            </a:r>
          </a:p>
        </p:txBody>
      </p:sp>
      <p:pic>
        <p:nvPicPr>
          <p:cNvPr id="20" name="Picture 20" descr="Chart, bar chart&#10;&#10;Description automatically generated">
            <a:extLst>
              <a:ext uri="{FF2B5EF4-FFF2-40B4-BE49-F238E27FC236}">
                <a16:creationId xmlns:a16="http://schemas.microsoft.com/office/drawing/2014/main" id="{973FA275-484B-4731-8B52-FFC79AAB30EC}"/>
              </a:ext>
            </a:extLst>
          </p:cNvPr>
          <p:cNvPicPr>
            <a:picLocks noChangeAspect="1"/>
          </p:cNvPicPr>
          <p:nvPr/>
        </p:nvPicPr>
        <p:blipFill>
          <a:blip r:embed="rId8"/>
          <a:stretch>
            <a:fillRect/>
          </a:stretch>
        </p:blipFill>
        <p:spPr>
          <a:xfrm>
            <a:off x="-157566" y="2114227"/>
            <a:ext cx="5739538" cy="3817749"/>
          </a:xfrm>
          <a:prstGeom prst="rect">
            <a:avLst/>
          </a:prstGeom>
        </p:spPr>
      </p:pic>
    </p:spTree>
    <p:custDataLst>
      <p:tags r:id="rId2"/>
    </p:custDataLst>
    <p:extLst>
      <p:ext uri="{BB962C8B-B14F-4D97-AF65-F5344CB8AC3E}">
        <p14:creationId xmlns:p14="http://schemas.microsoft.com/office/powerpoint/2010/main" val="2840975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D7355-ACFA-42D5-85AF-F036AA1D1DD8}"/>
              </a:ext>
            </a:extLst>
          </p:cNvPr>
          <p:cNvSpPr>
            <a:spLocks noGrp="1"/>
          </p:cNvSpPr>
          <p:nvPr>
            <p:ph type="title"/>
          </p:nvPr>
        </p:nvSpPr>
        <p:spPr/>
        <p:txBody>
          <a:bodyPr/>
          <a:lstStyle/>
          <a:p>
            <a:r>
              <a:rPr lang="en-US" b="1"/>
              <a:t>Executive Summary</a:t>
            </a:r>
          </a:p>
        </p:txBody>
      </p:sp>
      <p:sp>
        <p:nvSpPr>
          <p:cNvPr id="3" name="Text Placeholder 2">
            <a:extLst>
              <a:ext uri="{FF2B5EF4-FFF2-40B4-BE49-F238E27FC236}">
                <a16:creationId xmlns:a16="http://schemas.microsoft.com/office/drawing/2014/main" id="{24EA6045-D161-499A-99D8-27A9B2007106}"/>
              </a:ext>
            </a:extLst>
          </p:cNvPr>
          <p:cNvSpPr>
            <a:spLocks noGrp="1"/>
          </p:cNvSpPr>
          <p:nvPr>
            <p:ph type="body" sz="quarter" idx="10"/>
          </p:nvPr>
        </p:nvSpPr>
        <p:spPr>
          <a:xfrm>
            <a:off x="672208" y="1297943"/>
            <a:ext cx="10933801" cy="4825445"/>
          </a:xfrm>
        </p:spPr>
        <p:txBody>
          <a:bodyPr vert="horz" lIns="0" tIns="0" rIns="0" bIns="0" rtlCol="0" anchor="t">
            <a:noAutofit/>
          </a:bodyPr>
          <a:lstStyle/>
          <a:p>
            <a:pPr>
              <a:lnSpc>
                <a:spcPct val="90000"/>
              </a:lnSpc>
              <a:spcBef>
                <a:spcPct val="0"/>
              </a:spcBef>
              <a:buNone/>
            </a:pPr>
            <a:r>
              <a:rPr lang="en-US" sz="1400">
                <a:solidFill>
                  <a:srgbClr val="0070C0"/>
                </a:solidFill>
                <a:latin typeface="Arial"/>
                <a:ea typeface="+mn-lt"/>
                <a:cs typeface="Arial"/>
              </a:rPr>
              <a:t>Situation </a:t>
            </a:r>
          </a:p>
          <a:p>
            <a:pPr>
              <a:lnSpc>
                <a:spcPct val="90000"/>
              </a:lnSpc>
              <a:spcBef>
                <a:spcPct val="0"/>
              </a:spcBef>
              <a:buNone/>
            </a:pPr>
            <a:r>
              <a:rPr lang="en-US" sz="1400">
                <a:latin typeface="Arial"/>
                <a:ea typeface="+mn-lt"/>
                <a:cs typeface="Arial"/>
              </a:rPr>
              <a:t>In recent years, we have met increasingly stiff competition on our hardware products, and with the pandemic, there is an explosion in using Video Conferencing Tools (VCT) for work and personal interactions. The total global revenue for VCT in 2019 was estimated to be 14 billion USD and projected to grow to 50 billion USD by 2026. (</a:t>
            </a:r>
            <a:r>
              <a:rPr lang="en-US" sz="1400">
                <a:latin typeface="Arial"/>
                <a:ea typeface="+mn-lt"/>
                <a:cs typeface="Arial"/>
                <a:hlinkClick r:id="rId2"/>
              </a:rPr>
              <a:t>Global Market Insights Inc, 2020</a:t>
            </a:r>
            <a:r>
              <a:rPr lang="en-US" sz="1400">
                <a:latin typeface="Arial"/>
                <a:ea typeface="+mn-lt"/>
                <a:cs typeface="Arial"/>
              </a:rPr>
              <a:t>)</a:t>
            </a:r>
          </a:p>
          <a:p>
            <a:pPr>
              <a:lnSpc>
                <a:spcPct val="90000"/>
              </a:lnSpc>
              <a:spcBef>
                <a:spcPct val="0"/>
              </a:spcBef>
              <a:buNone/>
            </a:pPr>
            <a:endParaRPr lang="en-US" sz="1400">
              <a:latin typeface="Arial"/>
              <a:ea typeface="+mn-lt"/>
              <a:cs typeface="Arial"/>
            </a:endParaRPr>
          </a:p>
          <a:p>
            <a:pPr>
              <a:lnSpc>
                <a:spcPct val="90000"/>
              </a:lnSpc>
              <a:spcBef>
                <a:spcPct val="0"/>
              </a:spcBef>
              <a:buNone/>
            </a:pPr>
            <a:endParaRPr lang="en-US" sz="1400">
              <a:ea typeface="+mn-lt"/>
              <a:cs typeface="+mn-lt"/>
            </a:endParaRPr>
          </a:p>
          <a:p>
            <a:pPr>
              <a:lnSpc>
                <a:spcPct val="90000"/>
              </a:lnSpc>
              <a:spcBef>
                <a:spcPct val="0"/>
              </a:spcBef>
              <a:buNone/>
            </a:pPr>
            <a:r>
              <a:rPr lang="en-US" sz="1400"/>
              <a:t>Currently, these shuttle services are operated manually through radio dispatch. This tends to be reactive in nature and may increase customer waiting time when surges in demand happens. Sentosa is looking for a solution to cater to higher ridership during peak period to </a:t>
            </a:r>
            <a:r>
              <a:rPr lang="en-US" sz="1400">
                <a:ea typeface="+mn-lt"/>
                <a:cs typeface="+mn-lt"/>
              </a:rPr>
              <a:t>increase visitor satisfaction and return.</a:t>
            </a:r>
            <a:endParaRPr lang="en-US" sz="1400"/>
          </a:p>
          <a:p>
            <a:pPr>
              <a:lnSpc>
                <a:spcPct val="90000"/>
              </a:lnSpc>
              <a:spcBef>
                <a:spcPct val="0"/>
              </a:spcBef>
              <a:buNone/>
            </a:pPr>
            <a:endParaRPr lang="en-US" sz="1400">
              <a:ea typeface="+mn-lt"/>
              <a:cs typeface="+mn-lt"/>
            </a:endParaRPr>
          </a:p>
          <a:p>
            <a:pPr>
              <a:buNone/>
            </a:pPr>
            <a:endParaRPr lang="en-US" sz="1400">
              <a:ea typeface="+mn-lt"/>
              <a:cs typeface="+mn-lt"/>
            </a:endParaRPr>
          </a:p>
          <a:p>
            <a:pPr>
              <a:buNone/>
            </a:pPr>
            <a:r>
              <a:rPr lang="en-US" sz="1400">
                <a:solidFill>
                  <a:srgbClr val="0070C0"/>
                </a:solidFill>
                <a:latin typeface="Arial"/>
                <a:ea typeface="+mn-lt"/>
                <a:cs typeface="Arial"/>
              </a:rPr>
              <a:t>Complication</a:t>
            </a:r>
            <a:endParaRPr lang="en-US" sz="1400">
              <a:ea typeface="+mn-lt"/>
              <a:cs typeface="+mn-lt"/>
            </a:endParaRPr>
          </a:p>
          <a:p>
            <a:pPr>
              <a:buNone/>
            </a:pPr>
            <a:r>
              <a:rPr lang="en-US" sz="1400">
                <a:latin typeface="Arial"/>
                <a:ea typeface="+mn-lt"/>
                <a:cs typeface="Arial"/>
              </a:rPr>
              <a:t>We should expand our services by enhancing Facetime to enter the Global VCT market for all users for 3 main reasons: </a:t>
            </a:r>
            <a:endParaRPr lang="en-US" sz="1400">
              <a:ea typeface="+mn-lt"/>
              <a:cs typeface="+mn-lt"/>
            </a:endParaRPr>
          </a:p>
          <a:p>
            <a:pPr marL="342900" indent="-342900">
              <a:buAutoNum type="arabicPeriod"/>
            </a:pPr>
            <a:r>
              <a:rPr lang="en-US" sz="1400" b="1">
                <a:latin typeface="Arial"/>
                <a:ea typeface="+mn-lt"/>
                <a:cs typeface="Arial"/>
              </a:rPr>
              <a:t>Growing Demand for VCT </a:t>
            </a:r>
            <a:endParaRPr lang="en-US" sz="1400">
              <a:ea typeface="+mn-lt"/>
              <a:cs typeface="+mn-lt"/>
            </a:endParaRPr>
          </a:p>
          <a:p>
            <a:pPr marL="569595" lvl="1" indent="-285750">
              <a:buClr>
                <a:srgbClr val="171D3C"/>
              </a:buClr>
              <a:buFont typeface="Arial"/>
              <a:buChar char="•"/>
            </a:pPr>
            <a:r>
              <a:rPr lang="en-US" sz="1400">
                <a:latin typeface="Arial"/>
                <a:ea typeface="+mn-lt"/>
                <a:cs typeface="Arial"/>
              </a:rPr>
              <a:t>Acceleration in Remote Working </a:t>
            </a:r>
            <a:endParaRPr lang="en-US" sz="1400">
              <a:ea typeface="+mn-lt"/>
              <a:cs typeface="+mn-lt"/>
            </a:endParaRPr>
          </a:p>
          <a:p>
            <a:pPr marL="569595" lvl="1" indent="-285750">
              <a:buClr>
                <a:srgbClr val="171D3C"/>
              </a:buClr>
              <a:buFont typeface="Arial"/>
              <a:buChar char="•"/>
            </a:pPr>
            <a:r>
              <a:rPr lang="en-US" sz="1400">
                <a:latin typeface="Arial"/>
                <a:ea typeface="+mn-lt"/>
                <a:cs typeface="Arial"/>
              </a:rPr>
              <a:t>Growing Consumer Spending on Emerging Technology</a:t>
            </a:r>
            <a:endParaRPr lang="en-US" sz="1400">
              <a:ea typeface="+mn-lt"/>
              <a:cs typeface="+mn-lt"/>
            </a:endParaRPr>
          </a:p>
          <a:p>
            <a:pPr marL="342900" indent="-342900">
              <a:buClr>
                <a:srgbClr val="171D3C"/>
              </a:buClr>
              <a:buAutoNum type="arabicPeriod"/>
            </a:pPr>
            <a:r>
              <a:rPr lang="en-US" sz="1400">
                <a:latin typeface="Arial"/>
                <a:ea typeface="+mn-lt"/>
                <a:cs typeface="Arial"/>
              </a:rPr>
              <a:t>We can provide </a:t>
            </a:r>
            <a:r>
              <a:rPr lang="en-US" sz="1400" b="1">
                <a:latin typeface="Arial"/>
                <a:ea typeface="+mn-lt"/>
                <a:cs typeface="Arial"/>
              </a:rPr>
              <a:t>Better Data Security and Privacy</a:t>
            </a:r>
            <a:r>
              <a:rPr lang="en-US" sz="1400">
                <a:latin typeface="Arial"/>
                <a:ea typeface="+mn-lt"/>
                <a:cs typeface="Arial"/>
              </a:rPr>
              <a:t> than our competitors</a:t>
            </a:r>
            <a:endParaRPr lang="en-US" sz="1400">
              <a:ea typeface="+mn-lt"/>
              <a:cs typeface="+mn-lt"/>
            </a:endParaRPr>
          </a:p>
          <a:p>
            <a:pPr marL="569595" lvl="1" indent="-285750">
              <a:buClr>
                <a:srgbClr val="171D3C"/>
              </a:buClr>
              <a:buFont typeface="Arial"/>
              <a:buChar char="•"/>
            </a:pPr>
            <a:r>
              <a:rPr lang="en-US" sz="1400">
                <a:solidFill>
                  <a:srgbClr val="0C0C0C"/>
                </a:solidFill>
                <a:latin typeface="Arial"/>
                <a:ea typeface="+mn-lt"/>
                <a:cs typeface="Arial"/>
              </a:rPr>
              <a:t>Facetime is secured by end-to-end encryption. </a:t>
            </a:r>
            <a:endParaRPr lang="en-US" sz="1400">
              <a:ea typeface="+mn-lt"/>
              <a:cs typeface="+mn-lt"/>
            </a:endParaRPr>
          </a:p>
          <a:p>
            <a:pPr marL="569595" lvl="1" indent="-285750">
              <a:buClr>
                <a:srgbClr val="171D3C"/>
              </a:buClr>
              <a:buFont typeface="Arial"/>
              <a:buChar char="•"/>
            </a:pPr>
            <a:r>
              <a:rPr lang="en-US" sz="1400">
                <a:latin typeface="Arial"/>
                <a:ea typeface="+mn-lt"/>
                <a:cs typeface="Arial"/>
              </a:rPr>
              <a:t>Data collection is the least among its competitors </a:t>
            </a:r>
            <a:endParaRPr lang="en-US" sz="1400">
              <a:ea typeface="+mn-lt"/>
              <a:cs typeface="+mn-lt"/>
            </a:endParaRPr>
          </a:p>
          <a:p>
            <a:pPr marL="342900" indent="-342900">
              <a:buClr>
                <a:srgbClr val="171D3C"/>
              </a:buClr>
              <a:buAutoNum type="arabicPeriod"/>
            </a:pPr>
            <a:r>
              <a:rPr lang="en-US" sz="1400">
                <a:latin typeface="Arial"/>
                <a:ea typeface="+mn-lt"/>
                <a:cs typeface="Arial"/>
              </a:rPr>
              <a:t>We are the </a:t>
            </a:r>
            <a:r>
              <a:rPr lang="en-US" sz="1400" b="1">
                <a:latin typeface="Arial"/>
                <a:ea typeface="+mn-lt"/>
                <a:cs typeface="Arial"/>
              </a:rPr>
              <a:t>Top Brand in providing Seamless Experience</a:t>
            </a:r>
            <a:endParaRPr lang="en-US" sz="1400">
              <a:ea typeface="+mn-lt"/>
              <a:cs typeface="+mn-lt"/>
            </a:endParaRPr>
          </a:p>
          <a:p>
            <a:pPr marL="569595" lvl="1" indent="-285750">
              <a:buClr>
                <a:srgbClr val="171D3C"/>
              </a:buClr>
              <a:buFont typeface="Arial"/>
              <a:buChar char="•"/>
            </a:pPr>
            <a:r>
              <a:rPr lang="en-US" sz="1400">
                <a:latin typeface="Arial"/>
                <a:ea typeface="+mn-lt"/>
                <a:cs typeface="Arial"/>
              </a:rPr>
              <a:t>No.1 in brand value with focus in user experience </a:t>
            </a:r>
            <a:endParaRPr lang="en-US" sz="1400">
              <a:ea typeface="+mn-lt"/>
              <a:cs typeface="+mn-lt"/>
            </a:endParaRPr>
          </a:p>
          <a:p>
            <a:pPr marL="569595" lvl="1" indent="-285750">
              <a:buClr>
                <a:srgbClr val="171D3C"/>
              </a:buClr>
              <a:buFont typeface="Arial"/>
              <a:buChar char="•"/>
            </a:pPr>
            <a:r>
              <a:rPr lang="en-US" sz="1400">
                <a:latin typeface="Arial"/>
                <a:ea typeface="+mn-lt"/>
                <a:cs typeface="Arial"/>
              </a:rPr>
              <a:t>Strong in-house Ecosystem</a:t>
            </a:r>
            <a:endParaRPr lang="en-US" sz="1400">
              <a:ea typeface="+mn-lt"/>
              <a:cs typeface="+mn-lt"/>
            </a:endParaRPr>
          </a:p>
          <a:p>
            <a:pPr marL="457200" lvl="1" indent="-172720">
              <a:buNone/>
            </a:pPr>
            <a:endParaRPr lang="en-US" sz="1400">
              <a:ea typeface="+mn-lt"/>
              <a:cs typeface="+mn-lt"/>
            </a:endParaRPr>
          </a:p>
          <a:p>
            <a:pPr>
              <a:buNone/>
            </a:pPr>
            <a:r>
              <a:rPr lang="en-US" sz="1400">
                <a:solidFill>
                  <a:srgbClr val="0070C0"/>
                </a:solidFill>
                <a:latin typeface="Arial"/>
                <a:ea typeface="+mn-lt"/>
                <a:cs typeface="Arial"/>
              </a:rPr>
              <a:t>Impact</a:t>
            </a:r>
            <a:endParaRPr lang="en-US" sz="1400">
              <a:ea typeface="+mn-lt"/>
              <a:cs typeface="+mn-lt"/>
            </a:endParaRPr>
          </a:p>
          <a:p>
            <a:pPr>
              <a:buNone/>
            </a:pPr>
            <a:r>
              <a:rPr lang="en-US" sz="1400">
                <a:latin typeface="Arial"/>
                <a:ea typeface="+mn-lt"/>
                <a:cs typeface="Arial"/>
              </a:rPr>
              <a:t>We aim to capture 10% (USD 5 billion) of the VCT market by 2026 and attract non-Apple users to experience our services, and potentially getting them to buy our products.</a:t>
            </a:r>
            <a:endParaRPr lang="en-US" sz="1400">
              <a:ea typeface="+mn-lt"/>
              <a:cs typeface="+mn-lt"/>
            </a:endParaRPr>
          </a:p>
          <a:p>
            <a:pPr>
              <a:buNone/>
            </a:pPr>
            <a:endParaRPr lang="en-US" sz="1400">
              <a:ea typeface="+mn-lt"/>
              <a:cs typeface="+mn-lt"/>
            </a:endParaRPr>
          </a:p>
          <a:p>
            <a:pPr>
              <a:buNone/>
            </a:pPr>
            <a:r>
              <a:rPr lang="en-US" sz="1400">
                <a:solidFill>
                  <a:srgbClr val="0070C0"/>
                </a:solidFill>
                <a:latin typeface="Arial"/>
                <a:ea typeface="+mn-lt"/>
                <a:cs typeface="Arial"/>
              </a:rPr>
              <a:t>Next Steps</a:t>
            </a:r>
            <a:endParaRPr lang="en-US" sz="1400">
              <a:ea typeface="+mn-lt"/>
              <a:cs typeface="+mn-lt"/>
            </a:endParaRPr>
          </a:p>
          <a:p>
            <a:pPr>
              <a:buNone/>
            </a:pPr>
            <a:r>
              <a:rPr lang="en-US" sz="1400">
                <a:latin typeface="Arial"/>
                <a:ea typeface="+mn-lt"/>
                <a:cs typeface="Arial"/>
              </a:rPr>
              <a:t>With your approval, we can work with the R&amp;D and marketing department on enhancing Facetime to enter the Global VCT market.</a:t>
            </a:r>
            <a:endParaRPr lang="en-US" sz="1800"/>
          </a:p>
          <a:p>
            <a:pPr>
              <a:lnSpc>
                <a:spcPct val="90000"/>
              </a:lnSpc>
              <a:spcBef>
                <a:spcPct val="0"/>
              </a:spcBef>
              <a:buNone/>
            </a:pPr>
            <a:endParaRPr lang="en-US" sz="1400">
              <a:ea typeface="+mn-lt"/>
              <a:cs typeface="+mn-lt"/>
            </a:endParaRPr>
          </a:p>
        </p:txBody>
      </p:sp>
    </p:spTree>
    <p:extLst>
      <p:ext uri="{BB962C8B-B14F-4D97-AF65-F5344CB8AC3E}">
        <p14:creationId xmlns:p14="http://schemas.microsoft.com/office/powerpoint/2010/main" val="560075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Chart, bar chart&#10;&#10;Description automatically generated">
            <a:extLst>
              <a:ext uri="{FF2B5EF4-FFF2-40B4-BE49-F238E27FC236}">
                <a16:creationId xmlns:a16="http://schemas.microsoft.com/office/drawing/2014/main" id="{D269BD89-FFB9-44EC-85E5-0A1314FFE561}"/>
              </a:ext>
            </a:extLst>
          </p:cNvPr>
          <p:cNvPicPr>
            <a:picLocks noChangeAspect="1"/>
          </p:cNvPicPr>
          <p:nvPr/>
        </p:nvPicPr>
        <p:blipFill>
          <a:blip r:embed="rId3"/>
          <a:stretch>
            <a:fillRect/>
          </a:stretch>
        </p:blipFill>
        <p:spPr>
          <a:xfrm>
            <a:off x="264093" y="2569973"/>
            <a:ext cx="5434578" cy="3758559"/>
          </a:xfrm>
          <a:prstGeom prst="rect">
            <a:avLst/>
          </a:prstGeom>
        </p:spPr>
      </p:pic>
      <p:sp>
        <p:nvSpPr>
          <p:cNvPr id="2" name="Title 1">
            <a:extLst>
              <a:ext uri="{FF2B5EF4-FFF2-40B4-BE49-F238E27FC236}">
                <a16:creationId xmlns:a16="http://schemas.microsoft.com/office/drawing/2014/main" id="{8C21A7F5-1441-458D-8448-412BC6D902F3}"/>
              </a:ext>
            </a:extLst>
          </p:cNvPr>
          <p:cNvSpPr>
            <a:spLocks noGrp="1"/>
          </p:cNvSpPr>
          <p:nvPr>
            <p:ph type="title"/>
          </p:nvPr>
        </p:nvSpPr>
        <p:spPr>
          <a:xfrm>
            <a:off x="250717" y="7424"/>
            <a:ext cx="11879178" cy="1524114"/>
          </a:xfrm>
        </p:spPr>
        <p:txBody>
          <a:bodyPr vert="horz" lIns="91440" tIns="45720" rIns="91440" bIns="45720" rtlCol="0" anchor="ctr">
            <a:noAutofit/>
          </a:bodyPr>
          <a:lstStyle/>
          <a:p>
            <a:pPr>
              <a:lnSpc>
                <a:spcPct val="100000"/>
              </a:lnSpc>
            </a:pPr>
            <a:r>
              <a:rPr lang="en-US" sz="2800" b="1">
                <a:solidFill>
                  <a:srgbClr val="0070C0"/>
                </a:solidFill>
                <a:latin typeface="Arial"/>
                <a:cs typeface="Arial"/>
              </a:rPr>
              <a:t>Pandemic is accelerating global demand for Remote connectivity services and moving Consumer spending towards Emerging Tech</a:t>
            </a:r>
            <a:endParaRPr lang="en-US" sz="2800">
              <a:solidFill>
                <a:srgbClr val="0070C0"/>
              </a:solidFill>
              <a:latin typeface="Arial"/>
              <a:cs typeface="Arial"/>
            </a:endParaRPr>
          </a:p>
        </p:txBody>
      </p:sp>
      <p:sp>
        <p:nvSpPr>
          <p:cNvPr id="7" name="TextBox 6">
            <a:extLst>
              <a:ext uri="{FF2B5EF4-FFF2-40B4-BE49-F238E27FC236}">
                <a16:creationId xmlns:a16="http://schemas.microsoft.com/office/drawing/2014/main" id="{FAB962E9-1359-4FA5-B80A-689CD2FA932C}"/>
              </a:ext>
            </a:extLst>
          </p:cNvPr>
          <p:cNvSpPr txBox="1"/>
          <p:nvPr/>
        </p:nvSpPr>
        <p:spPr>
          <a:xfrm>
            <a:off x="275198" y="1446415"/>
            <a:ext cx="5349974" cy="1110233"/>
          </a:xfrm>
          <a:prstGeom prst="rect">
            <a:avLst/>
          </a:prstGeom>
        </p:spPr>
        <p:txBody>
          <a:bodyPr vert="horz" lIns="91440" tIns="45720" rIns="91440" bIns="45720" rtlCol="0" anchor="t">
            <a:noAutofit/>
          </a:bodyPr>
          <a:lstStyle/>
          <a:p>
            <a:pPr defTabSz="914400">
              <a:spcBef>
                <a:spcPct val="0"/>
              </a:spcBef>
            </a:pPr>
            <a:r>
              <a:rPr lang="en-US" sz="2000">
                <a:solidFill>
                  <a:srgbClr val="2E75B5"/>
                </a:solidFill>
                <a:latin typeface="Arial"/>
                <a:ea typeface="+mj-ea"/>
                <a:cs typeface="Arial"/>
              </a:rPr>
              <a:t>Global acceleration towards working remotely by both employees and employers; Trend expected to continue post-pandemic</a:t>
            </a:r>
            <a:endParaRPr lang="en-US" sz="2000">
              <a:ea typeface="+mj-ea"/>
              <a:cs typeface="Calibri" panose="020F0502020204030204"/>
            </a:endParaRPr>
          </a:p>
        </p:txBody>
      </p:sp>
      <p:sp>
        <p:nvSpPr>
          <p:cNvPr id="12" name="TextBox 11">
            <a:extLst>
              <a:ext uri="{FF2B5EF4-FFF2-40B4-BE49-F238E27FC236}">
                <a16:creationId xmlns:a16="http://schemas.microsoft.com/office/drawing/2014/main" id="{81CE1F96-7FD2-4736-9515-CFBEB26A3D95}"/>
              </a:ext>
            </a:extLst>
          </p:cNvPr>
          <p:cNvSpPr txBox="1"/>
          <p:nvPr/>
        </p:nvSpPr>
        <p:spPr>
          <a:xfrm>
            <a:off x="6271890" y="1491772"/>
            <a:ext cx="5440211" cy="1110233"/>
          </a:xfrm>
          <a:prstGeom prst="rect">
            <a:avLst/>
          </a:prstGeom>
        </p:spPr>
        <p:txBody>
          <a:bodyPr vert="horz" lIns="91440" tIns="45720" rIns="91440" bIns="45720" rtlCol="0" anchor="t">
            <a:noAutofit/>
          </a:bodyPr>
          <a:lstStyle/>
          <a:p>
            <a:pPr defTabSz="914400">
              <a:spcBef>
                <a:spcPct val="0"/>
              </a:spcBef>
            </a:pPr>
            <a:r>
              <a:rPr lang="en-US" sz="2000">
                <a:solidFill>
                  <a:srgbClr val="2E75B5"/>
                </a:solidFill>
                <a:latin typeface="Arial"/>
                <a:ea typeface="+mj-ea"/>
                <a:cs typeface="Arial"/>
              </a:rPr>
              <a:t>Consumer Tech Spend: Growing and moving away from Traditional towards Emerging Tech</a:t>
            </a:r>
            <a:endParaRPr lang="en-US">
              <a:ea typeface="+mj-ea"/>
              <a:cs typeface="Calibri" panose="020F0502020204030204"/>
            </a:endParaRPr>
          </a:p>
        </p:txBody>
      </p:sp>
      <p:pic>
        <p:nvPicPr>
          <p:cNvPr id="8" name="Picture 8" descr="Chart, bar chart&#10;&#10;Description automatically generated">
            <a:extLst>
              <a:ext uri="{FF2B5EF4-FFF2-40B4-BE49-F238E27FC236}">
                <a16:creationId xmlns:a16="http://schemas.microsoft.com/office/drawing/2014/main" id="{93EBD2AC-C167-48D1-A6E5-756A10FC2AC2}"/>
              </a:ext>
            </a:extLst>
          </p:cNvPr>
          <p:cNvPicPr>
            <a:picLocks noChangeAspect="1"/>
          </p:cNvPicPr>
          <p:nvPr/>
        </p:nvPicPr>
        <p:blipFill>
          <a:blip r:embed="rId4"/>
          <a:stretch>
            <a:fillRect/>
          </a:stretch>
        </p:blipFill>
        <p:spPr>
          <a:xfrm>
            <a:off x="6563930" y="3168601"/>
            <a:ext cx="4766637" cy="3447647"/>
          </a:xfrm>
          <a:prstGeom prst="rect">
            <a:avLst/>
          </a:prstGeom>
        </p:spPr>
      </p:pic>
      <p:sp>
        <p:nvSpPr>
          <p:cNvPr id="11" name="Rectangle 10">
            <a:extLst>
              <a:ext uri="{FF2B5EF4-FFF2-40B4-BE49-F238E27FC236}">
                <a16:creationId xmlns:a16="http://schemas.microsoft.com/office/drawing/2014/main" id="{6F061CAD-A596-48E8-81DC-1FB6632F7E82}"/>
              </a:ext>
            </a:extLst>
          </p:cNvPr>
          <p:cNvSpPr/>
          <p:nvPr/>
        </p:nvSpPr>
        <p:spPr>
          <a:xfrm>
            <a:off x="2119086" y="3479799"/>
            <a:ext cx="3274785" cy="206318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20CBDF74-6D8D-4C24-AC03-E599815AAAD7}"/>
              </a:ext>
            </a:extLst>
          </p:cNvPr>
          <p:cNvSpPr txBox="1"/>
          <p:nvPr/>
        </p:nvSpPr>
        <p:spPr>
          <a:xfrm>
            <a:off x="3427606" y="3541147"/>
            <a:ext cx="2380344"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b="1">
                <a:solidFill>
                  <a:srgbClr val="FF0000"/>
                </a:solidFill>
                <a:latin typeface="Graphik Web"/>
              </a:rPr>
              <a:t>74% of respondents plan to </a:t>
            </a:r>
            <a:endParaRPr lang="en-US" sz="1100">
              <a:solidFill>
                <a:srgbClr val="FF0000"/>
              </a:solidFill>
              <a:latin typeface="Calibri" panose="020F0502020204030204"/>
              <a:cs typeface="Calibri"/>
            </a:endParaRPr>
          </a:p>
          <a:p>
            <a:r>
              <a:rPr lang="en-US" sz="1100" b="1">
                <a:solidFill>
                  <a:srgbClr val="FF0000"/>
                </a:solidFill>
                <a:latin typeface="Graphik Web"/>
              </a:rPr>
              <a:t>keep some remote work permanent post Covid</a:t>
            </a:r>
            <a:endParaRPr lang="en-US" sz="1100">
              <a:solidFill>
                <a:srgbClr val="FF0000"/>
              </a:solidFill>
              <a:cs typeface="Calibri"/>
            </a:endParaRPr>
          </a:p>
        </p:txBody>
      </p:sp>
      <p:sp>
        <p:nvSpPr>
          <p:cNvPr id="10" name="TextBox 9">
            <a:extLst>
              <a:ext uri="{FF2B5EF4-FFF2-40B4-BE49-F238E27FC236}">
                <a16:creationId xmlns:a16="http://schemas.microsoft.com/office/drawing/2014/main" id="{D899CF74-4B1C-4692-AC07-1E0A650E59F2}"/>
              </a:ext>
            </a:extLst>
          </p:cNvPr>
          <p:cNvSpPr txBox="1"/>
          <p:nvPr/>
        </p:nvSpPr>
        <p:spPr>
          <a:xfrm>
            <a:off x="6610124" y="6271077"/>
            <a:ext cx="274319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hlinkClick r:id="rId5"/>
              </a:rPr>
              <a:t>Source : IDC report</a:t>
            </a:r>
            <a:endParaRPr lang="en-US" sz="1000">
              <a:latin typeface="Arial"/>
            </a:endParaRPr>
          </a:p>
        </p:txBody>
      </p:sp>
      <p:sp>
        <p:nvSpPr>
          <p:cNvPr id="15" name="TextBox 14">
            <a:extLst>
              <a:ext uri="{FF2B5EF4-FFF2-40B4-BE49-F238E27FC236}">
                <a16:creationId xmlns:a16="http://schemas.microsoft.com/office/drawing/2014/main" id="{45CF405F-A446-4596-AA35-42EDC5E03444}"/>
              </a:ext>
            </a:extLst>
          </p:cNvPr>
          <p:cNvSpPr txBox="1"/>
          <p:nvPr/>
        </p:nvSpPr>
        <p:spPr>
          <a:xfrm>
            <a:off x="621847" y="6342515"/>
            <a:ext cx="274319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hlinkClick r:id="rId6"/>
              </a:rPr>
              <a:t>Source : Garner April 2020</a:t>
            </a:r>
            <a:endParaRPr lang="en-US" sz="1000">
              <a:latin typeface="Arial"/>
              <a:cs typeface="Calibri"/>
            </a:endParaRPr>
          </a:p>
        </p:txBody>
      </p:sp>
      <p:sp>
        <p:nvSpPr>
          <p:cNvPr id="13" name="TextBox 1">
            <a:extLst>
              <a:ext uri="{FF2B5EF4-FFF2-40B4-BE49-F238E27FC236}">
                <a16:creationId xmlns:a16="http://schemas.microsoft.com/office/drawing/2014/main" id="{B244B77D-5992-4E51-B451-CFFE18C3A752}"/>
              </a:ext>
            </a:extLst>
          </p:cNvPr>
          <p:cNvSpPr txBox="1"/>
          <p:nvPr/>
        </p:nvSpPr>
        <p:spPr>
          <a:xfrm>
            <a:off x="6322104" y="2264340"/>
            <a:ext cx="5221399" cy="83099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a:latin typeface="Arial"/>
                <a:cs typeface="Arial"/>
              </a:rPr>
              <a:t>Total consumer Tech spend est. </a:t>
            </a:r>
            <a:r>
              <a:rPr lang="en-US" sz="1600" b="1">
                <a:latin typeface="Arial"/>
                <a:cs typeface="Arial"/>
              </a:rPr>
              <a:t>2.06 trillion USD by 2023.</a:t>
            </a:r>
            <a:r>
              <a:rPr lang="en-US" sz="1600">
                <a:latin typeface="Arial"/>
                <a:cs typeface="Arial"/>
              </a:rPr>
              <a:t> Consumer are embracing </a:t>
            </a:r>
            <a:r>
              <a:rPr lang="en-US" sz="1600" b="1">
                <a:latin typeface="Arial"/>
                <a:cs typeface="Arial"/>
              </a:rPr>
              <a:t>Emerging Tech such as Augmented Reality (AR) .</a:t>
            </a:r>
          </a:p>
        </p:txBody>
      </p:sp>
      <p:sp>
        <p:nvSpPr>
          <p:cNvPr id="5" name="Rectangle 4">
            <a:extLst>
              <a:ext uri="{FF2B5EF4-FFF2-40B4-BE49-F238E27FC236}">
                <a16:creationId xmlns:a16="http://schemas.microsoft.com/office/drawing/2014/main" id="{E6703BD0-395E-43C5-AE02-C61DD7BE610D}"/>
              </a:ext>
            </a:extLst>
          </p:cNvPr>
          <p:cNvSpPr/>
          <p:nvPr/>
        </p:nvSpPr>
        <p:spPr>
          <a:xfrm>
            <a:off x="3915229" y="4142016"/>
            <a:ext cx="1378856" cy="1387927"/>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DFAF413-D490-4EBD-98F8-376B4E72EE05}"/>
              </a:ext>
            </a:extLst>
          </p:cNvPr>
          <p:cNvSpPr txBox="1"/>
          <p:nvPr/>
        </p:nvSpPr>
        <p:spPr>
          <a:xfrm>
            <a:off x="4495346" y="4586060"/>
            <a:ext cx="2743199"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solidFill>
                  <a:schemeClr val="accent6"/>
                </a:solidFill>
              </a:rPr>
              <a:t>23%</a:t>
            </a:r>
            <a:endParaRPr lang="en-US" sz="1100" b="1">
              <a:solidFill>
                <a:schemeClr val="accent6"/>
              </a:solidFill>
              <a:cs typeface="Calibri"/>
            </a:endParaRPr>
          </a:p>
        </p:txBody>
      </p:sp>
      <p:sp>
        <p:nvSpPr>
          <p:cNvPr id="9" name="Slide Number Placeholder 8">
            <a:extLst>
              <a:ext uri="{FF2B5EF4-FFF2-40B4-BE49-F238E27FC236}">
                <a16:creationId xmlns:a16="http://schemas.microsoft.com/office/drawing/2014/main" id="{42156F82-F8B7-4A34-95B7-D7868E4711E8}"/>
              </a:ext>
            </a:extLst>
          </p:cNvPr>
          <p:cNvSpPr>
            <a:spLocks noGrp="1"/>
          </p:cNvSpPr>
          <p:nvPr>
            <p:ph type="sldNum" sz="quarter" idx="12"/>
          </p:nvPr>
        </p:nvSpPr>
        <p:spPr/>
        <p:txBody>
          <a:bodyPr/>
          <a:lstStyle/>
          <a:p>
            <a:fld id="{48F63A3B-78C7-47BE-AE5E-E10140E04643}" type="slidenum">
              <a:rPr lang="en-US" dirty="0"/>
              <a:t>53</a:t>
            </a:fld>
            <a:endParaRPr lang="en-US"/>
          </a:p>
        </p:txBody>
      </p:sp>
    </p:spTree>
    <p:extLst>
      <p:ext uri="{BB962C8B-B14F-4D97-AF65-F5344CB8AC3E}">
        <p14:creationId xmlns:p14="http://schemas.microsoft.com/office/powerpoint/2010/main" val="19862990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5" descr="A picture containing diagram&#10;&#10;Description automatically generated">
            <a:extLst>
              <a:ext uri="{FF2B5EF4-FFF2-40B4-BE49-F238E27FC236}">
                <a16:creationId xmlns:a16="http://schemas.microsoft.com/office/drawing/2014/main" id="{5009C379-2008-489C-9129-749DA92F23E3}"/>
              </a:ext>
            </a:extLst>
          </p:cNvPr>
          <p:cNvPicPr>
            <a:picLocks noChangeAspect="1"/>
          </p:cNvPicPr>
          <p:nvPr/>
        </p:nvPicPr>
        <p:blipFill>
          <a:blip r:embed="rId3"/>
          <a:stretch>
            <a:fillRect/>
          </a:stretch>
        </p:blipFill>
        <p:spPr>
          <a:xfrm>
            <a:off x="9597900" y="4179407"/>
            <a:ext cx="1800225" cy="1751134"/>
          </a:xfrm>
          <a:prstGeom prst="rect">
            <a:avLst/>
          </a:prstGeom>
        </p:spPr>
      </p:pic>
      <p:sp>
        <p:nvSpPr>
          <p:cNvPr id="4" name="TextBox 3">
            <a:extLst>
              <a:ext uri="{FF2B5EF4-FFF2-40B4-BE49-F238E27FC236}">
                <a16:creationId xmlns:a16="http://schemas.microsoft.com/office/drawing/2014/main" id="{C527165A-B095-4EFB-A8CF-54F5C567DE6D}"/>
              </a:ext>
            </a:extLst>
          </p:cNvPr>
          <p:cNvSpPr txBox="1"/>
          <p:nvPr/>
        </p:nvSpPr>
        <p:spPr>
          <a:xfrm>
            <a:off x="493155" y="1825160"/>
            <a:ext cx="567781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solidFill>
                  <a:srgbClr val="0C0C0C"/>
                </a:solidFill>
                <a:latin typeface="Arial"/>
              </a:rPr>
              <a:t>Facetime provides end-to-end encryption for all users. Zoom provides end-to-end encryption only for its paid users.</a:t>
            </a:r>
            <a:endParaRPr lang="en-US" sz="1600">
              <a:solidFill>
                <a:srgbClr val="0C0C0C"/>
              </a:solidFill>
              <a:latin typeface="Arial"/>
              <a:cs typeface="Arial"/>
            </a:endParaRPr>
          </a:p>
        </p:txBody>
      </p:sp>
      <p:sp>
        <p:nvSpPr>
          <p:cNvPr id="19" name="TextBox 18">
            <a:extLst>
              <a:ext uri="{FF2B5EF4-FFF2-40B4-BE49-F238E27FC236}">
                <a16:creationId xmlns:a16="http://schemas.microsoft.com/office/drawing/2014/main" id="{D8319991-FADE-48E0-A5B9-112D4B8F7E87}"/>
              </a:ext>
            </a:extLst>
          </p:cNvPr>
          <p:cNvSpPr txBox="1"/>
          <p:nvPr/>
        </p:nvSpPr>
        <p:spPr>
          <a:xfrm>
            <a:off x="6313021" y="1363824"/>
            <a:ext cx="5252219" cy="352411"/>
          </a:xfrm>
          <a:prstGeom prst="rect">
            <a:avLst/>
          </a:prstGeom>
        </p:spPr>
        <p:txBody>
          <a:bodyPr vert="horz" lIns="91440" tIns="45720" rIns="91440" bIns="45720" rtlCol="0" anchor="ctr">
            <a:noAutofit/>
          </a:bodyPr>
          <a:lstStyle/>
          <a:p>
            <a:pPr defTabSz="914400">
              <a:lnSpc>
                <a:spcPct val="90000"/>
              </a:lnSpc>
              <a:spcBef>
                <a:spcPct val="0"/>
              </a:spcBef>
            </a:pPr>
            <a:r>
              <a:rPr lang="en-US" sz="2000">
                <a:solidFill>
                  <a:srgbClr val="2E75B5"/>
                </a:solidFill>
                <a:latin typeface="Arial"/>
                <a:ea typeface="+mj-ea"/>
                <a:cs typeface="Arial"/>
              </a:rPr>
              <a:t>#1 Brand Value and User Experience</a:t>
            </a:r>
            <a:endParaRPr lang="en-US" sz="2000">
              <a:solidFill>
                <a:srgbClr val="2E75B5"/>
              </a:solidFill>
              <a:latin typeface="Arial"/>
              <a:ea typeface="+mj-ea"/>
              <a:cs typeface="Calibri"/>
            </a:endParaRPr>
          </a:p>
        </p:txBody>
      </p:sp>
      <p:sp>
        <p:nvSpPr>
          <p:cNvPr id="20" name="TextBox 19">
            <a:extLst>
              <a:ext uri="{FF2B5EF4-FFF2-40B4-BE49-F238E27FC236}">
                <a16:creationId xmlns:a16="http://schemas.microsoft.com/office/drawing/2014/main" id="{754FFF53-A5D2-43C1-96DF-7189B461BD63}"/>
              </a:ext>
            </a:extLst>
          </p:cNvPr>
          <p:cNvSpPr txBox="1"/>
          <p:nvPr/>
        </p:nvSpPr>
        <p:spPr>
          <a:xfrm>
            <a:off x="6404925" y="3882941"/>
            <a:ext cx="5252219" cy="352411"/>
          </a:xfrm>
          <a:prstGeom prst="rect">
            <a:avLst/>
          </a:prstGeom>
        </p:spPr>
        <p:txBody>
          <a:bodyPr vert="horz" lIns="91440" tIns="45720" rIns="91440" bIns="45720" rtlCol="0" anchor="ctr">
            <a:noAutofit/>
          </a:bodyPr>
          <a:lstStyle/>
          <a:p>
            <a:pPr defTabSz="914400">
              <a:lnSpc>
                <a:spcPct val="90000"/>
              </a:lnSpc>
              <a:spcBef>
                <a:spcPct val="0"/>
              </a:spcBef>
            </a:pPr>
            <a:r>
              <a:rPr lang="en-US" sz="2000">
                <a:solidFill>
                  <a:srgbClr val="2E75B5"/>
                </a:solidFill>
                <a:latin typeface="Arial"/>
                <a:ea typeface="+mj-ea"/>
                <a:cs typeface="Arial"/>
              </a:rPr>
              <a:t>Strong in-house Ecosystem</a:t>
            </a:r>
            <a:endParaRPr lang="en-US" sz="2000">
              <a:solidFill>
                <a:srgbClr val="2E75B5"/>
              </a:solidFill>
              <a:latin typeface="Arial"/>
              <a:ea typeface="+mj-ea"/>
              <a:cs typeface="Calibri"/>
            </a:endParaRPr>
          </a:p>
        </p:txBody>
      </p:sp>
      <p:pic>
        <p:nvPicPr>
          <p:cNvPr id="2" name="Picture 4" descr="Chart&#10;&#10;Description automatically generated">
            <a:extLst>
              <a:ext uri="{FF2B5EF4-FFF2-40B4-BE49-F238E27FC236}">
                <a16:creationId xmlns:a16="http://schemas.microsoft.com/office/drawing/2014/main" id="{EC7C5E2B-D9A6-4429-A7BF-2209C7E1FADF}"/>
              </a:ext>
            </a:extLst>
          </p:cNvPr>
          <p:cNvPicPr>
            <a:picLocks noChangeAspect="1"/>
          </p:cNvPicPr>
          <p:nvPr/>
        </p:nvPicPr>
        <p:blipFill>
          <a:blip r:embed="rId4"/>
          <a:stretch>
            <a:fillRect/>
          </a:stretch>
        </p:blipFill>
        <p:spPr>
          <a:xfrm>
            <a:off x="563917" y="3428540"/>
            <a:ext cx="5172075" cy="2995128"/>
          </a:xfrm>
          <a:prstGeom prst="rect">
            <a:avLst/>
          </a:prstGeom>
        </p:spPr>
      </p:pic>
      <p:sp>
        <p:nvSpPr>
          <p:cNvPr id="18" name="TextBox 17">
            <a:extLst>
              <a:ext uri="{FF2B5EF4-FFF2-40B4-BE49-F238E27FC236}">
                <a16:creationId xmlns:a16="http://schemas.microsoft.com/office/drawing/2014/main" id="{6AB32BDA-C680-42CF-BE85-BBB7B3816D7B}"/>
              </a:ext>
            </a:extLst>
          </p:cNvPr>
          <p:cNvSpPr txBox="1"/>
          <p:nvPr/>
        </p:nvSpPr>
        <p:spPr>
          <a:xfrm>
            <a:off x="496732" y="1317505"/>
            <a:ext cx="1870844" cy="368286"/>
          </a:xfrm>
          <a:prstGeom prst="rect">
            <a:avLst/>
          </a:prstGeom>
        </p:spPr>
        <p:txBody>
          <a:bodyPr vert="horz" lIns="91440" tIns="45720" rIns="91440" bIns="45720" rtlCol="0" anchor="ctr">
            <a:noAutofit/>
          </a:bodyPr>
          <a:lstStyle/>
          <a:p>
            <a:pPr defTabSz="914400">
              <a:lnSpc>
                <a:spcPct val="90000"/>
              </a:lnSpc>
              <a:spcBef>
                <a:spcPct val="0"/>
              </a:spcBef>
            </a:pPr>
            <a:r>
              <a:rPr lang="en-US" sz="2000">
                <a:solidFill>
                  <a:srgbClr val="2E75B5"/>
                </a:solidFill>
                <a:latin typeface="Arial"/>
                <a:ea typeface="+mj-ea"/>
                <a:cs typeface="Arial"/>
              </a:rPr>
              <a:t>Data Security</a:t>
            </a:r>
            <a:endParaRPr lang="en-US" sz="2000">
              <a:latin typeface="Arial"/>
              <a:ea typeface="+mj-ea"/>
              <a:cs typeface="Arial"/>
            </a:endParaRPr>
          </a:p>
        </p:txBody>
      </p:sp>
      <p:sp>
        <p:nvSpPr>
          <p:cNvPr id="22" name="TextBox 21">
            <a:extLst>
              <a:ext uri="{FF2B5EF4-FFF2-40B4-BE49-F238E27FC236}">
                <a16:creationId xmlns:a16="http://schemas.microsoft.com/office/drawing/2014/main" id="{D856C5A6-FAC1-4A61-8926-4BA883C179BB}"/>
              </a:ext>
            </a:extLst>
          </p:cNvPr>
          <p:cNvSpPr txBox="1"/>
          <p:nvPr/>
        </p:nvSpPr>
        <p:spPr>
          <a:xfrm>
            <a:off x="480857" y="2905005"/>
            <a:ext cx="1870844" cy="368286"/>
          </a:xfrm>
          <a:prstGeom prst="rect">
            <a:avLst/>
          </a:prstGeom>
        </p:spPr>
        <p:txBody>
          <a:bodyPr vert="horz" lIns="91440" tIns="45720" rIns="91440" bIns="45720" rtlCol="0" anchor="ctr">
            <a:noAutofit/>
          </a:bodyPr>
          <a:lstStyle/>
          <a:p>
            <a:pPr defTabSz="914400">
              <a:lnSpc>
                <a:spcPct val="90000"/>
              </a:lnSpc>
              <a:spcBef>
                <a:spcPct val="0"/>
              </a:spcBef>
            </a:pPr>
            <a:r>
              <a:rPr lang="en-US" sz="2000">
                <a:solidFill>
                  <a:srgbClr val="2E75B5"/>
                </a:solidFill>
                <a:latin typeface="Arial"/>
                <a:ea typeface="+mj-ea"/>
                <a:cs typeface="Arial"/>
              </a:rPr>
              <a:t>Data Privacy</a:t>
            </a:r>
            <a:endParaRPr lang="en-US" sz="2000">
              <a:latin typeface="Arial"/>
              <a:ea typeface="+mj-ea"/>
              <a:cs typeface="Calibri"/>
            </a:endParaRPr>
          </a:p>
        </p:txBody>
      </p:sp>
      <p:sp>
        <p:nvSpPr>
          <p:cNvPr id="23" name="TextBox 22">
            <a:extLst>
              <a:ext uri="{FF2B5EF4-FFF2-40B4-BE49-F238E27FC236}">
                <a16:creationId xmlns:a16="http://schemas.microsoft.com/office/drawing/2014/main" id="{03D665B7-EC4F-420A-B7B8-0381FC483256}"/>
              </a:ext>
            </a:extLst>
          </p:cNvPr>
          <p:cNvSpPr txBox="1"/>
          <p:nvPr/>
        </p:nvSpPr>
        <p:spPr>
          <a:xfrm>
            <a:off x="6403615" y="4294914"/>
            <a:ext cx="3028953"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solidFill>
                  <a:srgbClr val="0C0C0C"/>
                </a:solidFill>
                <a:latin typeface="Arial"/>
              </a:rPr>
              <a:t>Seamless integration and optimization between various network of devices, software and services.</a:t>
            </a:r>
            <a:endParaRPr lang="en-US" sz="1600"/>
          </a:p>
        </p:txBody>
      </p:sp>
      <p:graphicFrame>
        <p:nvGraphicFramePr>
          <p:cNvPr id="9" name="Table 8">
            <a:extLst>
              <a:ext uri="{FF2B5EF4-FFF2-40B4-BE49-F238E27FC236}">
                <a16:creationId xmlns:a16="http://schemas.microsoft.com/office/drawing/2014/main" id="{E9977547-A51D-44E6-9F3F-FE873AD20655}"/>
              </a:ext>
            </a:extLst>
          </p:cNvPr>
          <p:cNvGraphicFramePr>
            <a:graphicFrameLocks noGrp="1"/>
          </p:cNvGraphicFramePr>
          <p:nvPr/>
        </p:nvGraphicFramePr>
        <p:xfrm>
          <a:off x="6470598" y="1825026"/>
          <a:ext cx="3735751" cy="1559413"/>
        </p:xfrm>
        <a:graphic>
          <a:graphicData uri="http://schemas.openxmlformats.org/drawingml/2006/table">
            <a:tbl>
              <a:tblPr firstRow="1" bandRow="1">
                <a:tableStyleId>{5C22544A-7EE6-4342-B048-85BDC9FD1C3A}</a:tableStyleId>
              </a:tblPr>
              <a:tblGrid>
                <a:gridCol w="609600">
                  <a:extLst>
                    <a:ext uri="{9D8B030D-6E8A-4147-A177-3AD203B41FA5}">
                      <a16:colId xmlns:a16="http://schemas.microsoft.com/office/drawing/2014/main" val="3800757665"/>
                    </a:ext>
                  </a:extLst>
                </a:gridCol>
                <a:gridCol w="1182075">
                  <a:extLst>
                    <a:ext uri="{9D8B030D-6E8A-4147-A177-3AD203B41FA5}">
                      <a16:colId xmlns:a16="http://schemas.microsoft.com/office/drawing/2014/main" val="3412506050"/>
                    </a:ext>
                  </a:extLst>
                </a:gridCol>
                <a:gridCol w="1944076">
                  <a:extLst>
                    <a:ext uri="{9D8B030D-6E8A-4147-A177-3AD203B41FA5}">
                      <a16:colId xmlns:a16="http://schemas.microsoft.com/office/drawing/2014/main" val="3317896872"/>
                    </a:ext>
                  </a:extLst>
                </a:gridCol>
              </a:tblGrid>
              <a:tr h="273538">
                <a:tc>
                  <a:txBody>
                    <a:bodyPr/>
                    <a:lstStyle/>
                    <a:p>
                      <a:r>
                        <a:rPr lang="en-US" sz="1600">
                          <a:effectLst/>
                          <a:latin typeface="Arial"/>
                        </a:rPr>
                        <a:t>Rank</a:t>
                      </a:r>
                    </a:p>
                  </a:txBody>
                  <a:tcPr marL="0" marR="0" marT="0" marB="0" anchor="ctr"/>
                </a:tc>
                <a:tc>
                  <a:txBody>
                    <a:bodyPr/>
                    <a:lstStyle/>
                    <a:p>
                      <a:r>
                        <a:rPr lang="en-US" sz="1600">
                          <a:effectLst/>
                          <a:latin typeface="Arial"/>
                        </a:rPr>
                        <a:t>Brand</a:t>
                      </a:r>
                    </a:p>
                  </a:txBody>
                  <a:tcPr marL="0" marR="0" marT="0" marB="0" anchor="ctr"/>
                </a:tc>
                <a:tc>
                  <a:txBody>
                    <a:bodyPr/>
                    <a:lstStyle/>
                    <a:p>
                      <a:r>
                        <a:rPr lang="en-US" sz="1600">
                          <a:effectLst/>
                          <a:latin typeface="Arial"/>
                        </a:rPr>
                        <a:t>Value (billion USD)</a:t>
                      </a:r>
                    </a:p>
                  </a:txBody>
                  <a:tcPr marL="0" marR="0" marT="0" marB="0" anchor="ctr"/>
                </a:tc>
                <a:extLst>
                  <a:ext uri="{0D108BD9-81ED-4DB2-BD59-A6C34878D82A}">
                    <a16:rowId xmlns:a16="http://schemas.microsoft.com/office/drawing/2014/main" val="1734736568"/>
                  </a:ext>
                </a:extLst>
              </a:tr>
              <a:tr h="257175">
                <a:tc>
                  <a:txBody>
                    <a:bodyPr/>
                    <a:lstStyle/>
                    <a:p>
                      <a:r>
                        <a:rPr lang="en-US" sz="1600">
                          <a:effectLst/>
                          <a:latin typeface="Arial"/>
                        </a:rPr>
                        <a:t>1</a:t>
                      </a:r>
                    </a:p>
                  </a:txBody>
                  <a:tcPr marL="0" marR="0" marT="0" marB="0" anchor="ctr"/>
                </a:tc>
                <a:tc>
                  <a:txBody>
                    <a:bodyPr/>
                    <a:lstStyle/>
                    <a:p>
                      <a:r>
                        <a:rPr lang="en-US" sz="1600">
                          <a:effectLst/>
                          <a:latin typeface="Arial"/>
                        </a:rPr>
                        <a:t>Apple</a:t>
                      </a:r>
                    </a:p>
                  </a:txBody>
                  <a:tcPr marL="0" marR="0" marT="0" marB="0" anchor="ctr"/>
                </a:tc>
                <a:tc>
                  <a:txBody>
                    <a:bodyPr/>
                    <a:lstStyle/>
                    <a:p>
                      <a:pPr algn="ctr"/>
                      <a:r>
                        <a:rPr lang="en-US" sz="1600">
                          <a:effectLst/>
                          <a:latin typeface="Arial"/>
                        </a:rPr>
                        <a:t>352.21</a:t>
                      </a:r>
                    </a:p>
                  </a:txBody>
                  <a:tcPr marL="0" marR="0" marT="0" marB="0" anchor="ctr"/>
                </a:tc>
                <a:extLst>
                  <a:ext uri="{0D108BD9-81ED-4DB2-BD59-A6C34878D82A}">
                    <a16:rowId xmlns:a16="http://schemas.microsoft.com/office/drawing/2014/main" val="1156528739"/>
                  </a:ext>
                </a:extLst>
              </a:tr>
              <a:tr h="257175">
                <a:tc>
                  <a:txBody>
                    <a:bodyPr/>
                    <a:lstStyle/>
                    <a:p>
                      <a:r>
                        <a:rPr lang="en-US" sz="1600">
                          <a:effectLst/>
                          <a:latin typeface="Arial"/>
                        </a:rPr>
                        <a:t>2</a:t>
                      </a:r>
                    </a:p>
                  </a:txBody>
                  <a:tcPr marL="0" marR="0" marT="0" marB="0" anchor="ctr"/>
                </a:tc>
                <a:tc>
                  <a:txBody>
                    <a:bodyPr/>
                    <a:lstStyle/>
                    <a:p>
                      <a:r>
                        <a:rPr lang="en-US" sz="1600">
                          <a:effectLst/>
                          <a:latin typeface="Arial"/>
                        </a:rPr>
                        <a:t>Microsoft</a:t>
                      </a:r>
                    </a:p>
                  </a:txBody>
                  <a:tcPr marL="0" marR="0" marT="0" marB="0" anchor="ctr"/>
                </a:tc>
                <a:tc>
                  <a:txBody>
                    <a:bodyPr/>
                    <a:lstStyle/>
                    <a:p>
                      <a:pPr algn="ctr"/>
                      <a:r>
                        <a:rPr lang="en-US" sz="1600">
                          <a:effectLst/>
                          <a:latin typeface="Arial"/>
                        </a:rPr>
                        <a:t>326.54</a:t>
                      </a:r>
                    </a:p>
                  </a:txBody>
                  <a:tcPr marL="0" marR="0" marT="0" marB="0" anchor="ctr"/>
                </a:tc>
                <a:extLst>
                  <a:ext uri="{0D108BD9-81ED-4DB2-BD59-A6C34878D82A}">
                    <a16:rowId xmlns:a16="http://schemas.microsoft.com/office/drawing/2014/main" val="1025801085"/>
                  </a:ext>
                </a:extLst>
              </a:tr>
              <a:tr h="257175">
                <a:tc>
                  <a:txBody>
                    <a:bodyPr/>
                    <a:lstStyle/>
                    <a:p>
                      <a:r>
                        <a:rPr lang="en-US" sz="1600">
                          <a:effectLst/>
                          <a:latin typeface="Arial"/>
                        </a:rPr>
                        <a:t>3</a:t>
                      </a:r>
                    </a:p>
                  </a:txBody>
                  <a:tcPr marL="0" marR="0" marT="0" marB="0" anchor="ctr"/>
                </a:tc>
                <a:tc>
                  <a:txBody>
                    <a:bodyPr/>
                    <a:lstStyle/>
                    <a:p>
                      <a:r>
                        <a:rPr lang="en-US" sz="1600">
                          <a:effectLst/>
                          <a:latin typeface="Arial"/>
                        </a:rPr>
                        <a:t>Google</a:t>
                      </a:r>
                    </a:p>
                  </a:txBody>
                  <a:tcPr marL="0" marR="0" marT="0" marB="0" anchor="ctr"/>
                </a:tc>
                <a:tc>
                  <a:txBody>
                    <a:bodyPr/>
                    <a:lstStyle/>
                    <a:p>
                      <a:pPr algn="ctr"/>
                      <a:r>
                        <a:rPr lang="en-US" sz="1600">
                          <a:effectLst/>
                          <a:latin typeface="Arial"/>
                        </a:rPr>
                        <a:t>323.60</a:t>
                      </a:r>
                    </a:p>
                  </a:txBody>
                  <a:tcPr marL="0" marR="0" marT="0" marB="0" anchor="ctr"/>
                </a:tc>
                <a:extLst>
                  <a:ext uri="{0D108BD9-81ED-4DB2-BD59-A6C34878D82A}">
                    <a16:rowId xmlns:a16="http://schemas.microsoft.com/office/drawing/2014/main" val="285842214"/>
                  </a:ext>
                </a:extLst>
              </a:tr>
              <a:tr h="257175">
                <a:tc>
                  <a:txBody>
                    <a:bodyPr/>
                    <a:lstStyle/>
                    <a:p>
                      <a:r>
                        <a:rPr lang="en-US" sz="1600">
                          <a:effectLst/>
                          <a:latin typeface="Arial"/>
                        </a:rPr>
                        <a:t>4</a:t>
                      </a:r>
                    </a:p>
                  </a:txBody>
                  <a:tcPr marL="0" marR="0" marT="0" marB="0" anchor="ctr"/>
                </a:tc>
                <a:tc>
                  <a:txBody>
                    <a:bodyPr/>
                    <a:lstStyle/>
                    <a:p>
                      <a:r>
                        <a:rPr lang="en-US" sz="1600">
                          <a:effectLst/>
                          <a:latin typeface="Arial"/>
                        </a:rPr>
                        <a:t>Tencent</a:t>
                      </a:r>
                    </a:p>
                  </a:txBody>
                  <a:tcPr marL="0" marR="0" marT="0" marB="0" anchor="ctr"/>
                </a:tc>
                <a:tc>
                  <a:txBody>
                    <a:bodyPr/>
                    <a:lstStyle/>
                    <a:p>
                      <a:pPr algn="ctr"/>
                      <a:r>
                        <a:rPr lang="en-US" sz="1600">
                          <a:effectLst/>
                          <a:latin typeface="Arial"/>
                        </a:rPr>
                        <a:t>150.98</a:t>
                      </a:r>
                    </a:p>
                  </a:txBody>
                  <a:tcPr marL="0" marR="0" marT="0" marB="0" anchor="ctr"/>
                </a:tc>
                <a:extLst>
                  <a:ext uri="{0D108BD9-81ED-4DB2-BD59-A6C34878D82A}">
                    <a16:rowId xmlns:a16="http://schemas.microsoft.com/office/drawing/2014/main" val="695904573"/>
                  </a:ext>
                </a:extLst>
              </a:tr>
              <a:tr h="257175">
                <a:tc>
                  <a:txBody>
                    <a:bodyPr/>
                    <a:lstStyle/>
                    <a:p>
                      <a:r>
                        <a:rPr lang="en-US" sz="1600">
                          <a:effectLst/>
                          <a:latin typeface="Arial"/>
                        </a:rPr>
                        <a:t>5</a:t>
                      </a:r>
                    </a:p>
                  </a:txBody>
                  <a:tcPr marL="0" marR="0" marT="0" marB="0" anchor="ctr"/>
                </a:tc>
                <a:tc>
                  <a:txBody>
                    <a:bodyPr/>
                    <a:lstStyle/>
                    <a:p>
                      <a:r>
                        <a:rPr lang="en-US" sz="1600">
                          <a:effectLst/>
                          <a:latin typeface="Arial"/>
                        </a:rPr>
                        <a:t>Facebook</a:t>
                      </a:r>
                    </a:p>
                  </a:txBody>
                  <a:tcPr marL="0" marR="0" marT="0" marB="0" anchor="ctr"/>
                </a:tc>
                <a:tc>
                  <a:txBody>
                    <a:bodyPr/>
                    <a:lstStyle/>
                    <a:p>
                      <a:pPr algn="ctr"/>
                      <a:r>
                        <a:rPr lang="en-US" sz="1600">
                          <a:effectLst/>
                          <a:latin typeface="Arial"/>
                        </a:rPr>
                        <a:t>147.19</a:t>
                      </a:r>
                    </a:p>
                  </a:txBody>
                  <a:tcPr marL="0" marR="0" marT="0" marB="0" anchor="ctr"/>
                </a:tc>
                <a:extLst>
                  <a:ext uri="{0D108BD9-81ED-4DB2-BD59-A6C34878D82A}">
                    <a16:rowId xmlns:a16="http://schemas.microsoft.com/office/drawing/2014/main" val="3845543304"/>
                  </a:ext>
                </a:extLst>
              </a:tr>
            </a:tbl>
          </a:graphicData>
        </a:graphic>
      </p:graphicFrame>
      <p:sp>
        <p:nvSpPr>
          <p:cNvPr id="7" name="TextBox 6">
            <a:extLst>
              <a:ext uri="{FF2B5EF4-FFF2-40B4-BE49-F238E27FC236}">
                <a16:creationId xmlns:a16="http://schemas.microsoft.com/office/drawing/2014/main" id="{8B946A0A-19CB-4B86-976C-1ABA2A4D8477}"/>
              </a:ext>
            </a:extLst>
          </p:cNvPr>
          <p:cNvSpPr txBox="1"/>
          <p:nvPr/>
        </p:nvSpPr>
        <p:spPr>
          <a:xfrm>
            <a:off x="565150" y="6423025"/>
            <a:ext cx="3362324"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cs typeface="Arial"/>
              </a:rPr>
              <a:t>Source: </a:t>
            </a:r>
            <a:r>
              <a:rPr lang="en-US" sz="1000">
                <a:latin typeface="Arial"/>
                <a:cs typeface="Arial"/>
                <a:hlinkClick r:id="rId5"/>
              </a:rPr>
              <a:t>The Data Big Tech Companies Have On You</a:t>
            </a:r>
            <a:endParaRPr lang="en-US" sz="1000">
              <a:latin typeface="Arial"/>
              <a:cs typeface="Arial"/>
            </a:endParaRPr>
          </a:p>
          <a:p>
            <a:endParaRPr lang="en-US" sz="1200">
              <a:cs typeface="Calibri"/>
            </a:endParaRPr>
          </a:p>
        </p:txBody>
      </p:sp>
      <p:sp>
        <p:nvSpPr>
          <p:cNvPr id="5" name="TextBox 4">
            <a:extLst>
              <a:ext uri="{FF2B5EF4-FFF2-40B4-BE49-F238E27FC236}">
                <a16:creationId xmlns:a16="http://schemas.microsoft.com/office/drawing/2014/main" id="{66557AA3-4226-467F-ABA6-669F2675059A}"/>
              </a:ext>
            </a:extLst>
          </p:cNvPr>
          <p:cNvSpPr txBox="1"/>
          <p:nvPr/>
        </p:nvSpPr>
        <p:spPr>
          <a:xfrm>
            <a:off x="6404882" y="3424918"/>
            <a:ext cx="484323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cs typeface="Arial"/>
              </a:rPr>
              <a:t>Source: BCG analysis : Brandz – Top 100 most valuable global brands 2020</a:t>
            </a:r>
          </a:p>
        </p:txBody>
      </p:sp>
      <p:sp>
        <p:nvSpPr>
          <p:cNvPr id="16" name="TextBox 15">
            <a:extLst>
              <a:ext uri="{FF2B5EF4-FFF2-40B4-BE49-F238E27FC236}">
                <a16:creationId xmlns:a16="http://schemas.microsoft.com/office/drawing/2014/main" id="{1D0818D1-FD95-49F8-89BE-7668000EF3DC}"/>
              </a:ext>
            </a:extLst>
          </p:cNvPr>
          <p:cNvSpPr txBox="1"/>
          <p:nvPr/>
        </p:nvSpPr>
        <p:spPr>
          <a:xfrm>
            <a:off x="495684" y="169762"/>
            <a:ext cx="11509681" cy="867516"/>
          </a:xfrm>
          <a:prstGeom prst="rect">
            <a:avLst/>
          </a:prstGeom>
        </p:spPr>
        <p:txBody>
          <a:bodyPr vert="horz" lIns="91440" tIns="45720" rIns="91440" bIns="45720" rtlCol="0" anchor="ctr">
            <a:noAutofit/>
          </a:bodyPr>
          <a:lstStyle/>
          <a:p>
            <a:pPr defTabSz="914400">
              <a:spcBef>
                <a:spcPct val="0"/>
              </a:spcBef>
            </a:pPr>
            <a:r>
              <a:rPr lang="en-US" sz="2800" b="1">
                <a:solidFill>
                  <a:srgbClr val="0070C0"/>
                </a:solidFill>
                <a:latin typeface="Arial"/>
                <a:ea typeface="+mj-ea"/>
                <a:cs typeface="Arial"/>
              </a:rPr>
              <a:t>Strong trust in our Brand, Data Security, Privacy and high appreciation of our ecosystem in the consumer market</a:t>
            </a:r>
          </a:p>
        </p:txBody>
      </p:sp>
      <p:sp>
        <p:nvSpPr>
          <p:cNvPr id="6" name="TextBox 5">
            <a:extLst>
              <a:ext uri="{FF2B5EF4-FFF2-40B4-BE49-F238E27FC236}">
                <a16:creationId xmlns:a16="http://schemas.microsoft.com/office/drawing/2014/main" id="{1B3BD5D0-DBE5-4735-BAC7-8914A053C6DD}"/>
              </a:ext>
            </a:extLst>
          </p:cNvPr>
          <p:cNvSpPr txBox="1"/>
          <p:nvPr/>
        </p:nvSpPr>
        <p:spPr>
          <a:xfrm>
            <a:off x="9166058" y="6017795"/>
            <a:ext cx="249254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cs typeface="Arial"/>
              </a:rPr>
              <a:t>Source: </a:t>
            </a:r>
            <a:r>
              <a:rPr lang="en-US" sz="1000">
                <a:latin typeface="Arial"/>
                <a:cs typeface="Arial"/>
                <a:hlinkClick r:id="rId6">
                  <a:extLst>
                    <a:ext uri="{A12FA001-AC4F-418D-AE19-62706E023703}">
                      <ahyp:hlinkClr xmlns:ahyp="http://schemas.microsoft.com/office/drawing/2018/hyperlinkcolor" val="tx"/>
                    </a:ext>
                  </a:extLst>
                </a:hlinkClick>
              </a:rPr>
              <a:t>Strategic Management Insight</a:t>
            </a:r>
            <a:endParaRPr lang="en-US" sz="1000">
              <a:latin typeface="Arial"/>
              <a:cs typeface="Arial"/>
            </a:endParaRPr>
          </a:p>
          <a:p>
            <a:endParaRPr lang="en-US" sz="1000">
              <a:latin typeface="Arial"/>
              <a:cs typeface="Arial"/>
            </a:endParaRPr>
          </a:p>
        </p:txBody>
      </p:sp>
      <p:sp>
        <p:nvSpPr>
          <p:cNvPr id="3" name="Slide Number Placeholder 2">
            <a:extLst>
              <a:ext uri="{FF2B5EF4-FFF2-40B4-BE49-F238E27FC236}">
                <a16:creationId xmlns:a16="http://schemas.microsoft.com/office/drawing/2014/main" id="{74730E56-69C4-4DDA-B928-048F23D8596C}"/>
              </a:ext>
            </a:extLst>
          </p:cNvPr>
          <p:cNvSpPr>
            <a:spLocks noGrp="1"/>
          </p:cNvSpPr>
          <p:nvPr>
            <p:ph type="sldNum" sz="quarter" idx="12"/>
          </p:nvPr>
        </p:nvSpPr>
        <p:spPr/>
        <p:txBody>
          <a:bodyPr/>
          <a:lstStyle/>
          <a:p>
            <a:fld id="{48F63A3B-78C7-47BE-AE5E-E10140E04643}" type="slidenum">
              <a:rPr lang="en-US" dirty="0"/>
              <a:t>54</a:t>
            </a:fld>
            <a:endParaRPr lang="en-US"/>
          </a:p>
        </p:txBody>
      </p:sp>
    </p:spTree>
    <p:extLst>
      <p:ext uri="{BB962C8B-B14F-4D97-AF65-F5344CB8AC3E}">
        <p14:creationId xmlns:p14="http://schemas.microsoft.com/office/powerpoint/2010/main" val="13513388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AC40630-40AD-4D8B-9600-43918643D123}"/>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4" name="think-cell Slide" r:id="rId6" imgW="351" imgH="351" progId="TCLayout.ActiveDocument.1">
                  <p:embed/>
                </p:oleObj>
              </mc:Choice>
              <mc:Fallback>
                <p:oleObj name="think-cell Slide" r:id="rId6" imgW="351" imgH="351" progId="TCLayout.ActiveDocument.1">
                  <p:embed/>
                  <p:pic>
                    <p:nvPicPr>
                      <p:cNvPr id="9" name="Object 8" hidden="1">
                        <a:extLst>
                          <a:ext uri="{FF2B5EF4-FFF2-40B4-BE49-F238E27FC236}">
                            <a16:creationId xmlns:a16="http://schemas.microsoft.com/office/drawing/2014/main" id="{5AC40630-40AD-4D8B-9600-43918643D1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83" name="Group 82">
            <a:extLst>
              <a:ext uri="{FF2B5EF4-FFF2-40B4-BE49-F238E27FC236}">
                <a16:creationId xmlns:a16="http://schemas.microsoft.com/office/drawing/2014/main" id="{7204B308-BA36-4D56-9C52-FABFCC133194}"/>
              </a:ext>
            </a:extLst>
          </p:cNvPr>
          <p:cNvGrpSpPr/>
          <p:nvPr/>
        </p:nvGrpSpPr>
        <p:grpSpPr>
          <a:xfrm rot="5400000">
            <a:off x="9643828" y="2129964"/>
            <a:ext cx="306171" cy="3818467"/>
            <a:chOff x="5942914" y="2081213"/>
            <a:chExt cx="306171" cy="4079081"/>
          </a:xfrm>
        </p:grpSpPr>
        <p:cxnSp>
          <p:nvCxnSpPr>
            <p:cNvPr id="84" name="Straight Connector 83">
              <a:extLst>
                <a:ext uri="{FF2B5EF4-FFF2-40B4-BE49-F238E27FC236}">
                  <a16:creationId xmlns:a16="http://schemas.microsoft.com/office/drawing/2014/main" id="{8AC8DBC6-2D76-4708-8C31-176DC3ED8C69}"/>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D19B41F0-FD59-4A3E-8C5A-7562B8924930}"/>
                </a:ext>
              </a:extLst>
            </p:cNvPr>
            <p:cNvGrpSpPr/>
            <p:nvPr/>
          </p:nvGrpSpPr>
          <p:grpSpPr>
            <a:xfrm>
              <a:off x="5942914" y="3967299"/>
              <a:ext cx="306171" cy="306910"/>
              <a:chOff x="5937564" y="3833745"/>
              <a:chExt cx="306171" cy="306910"/>
            </a:xfrm>
          </p:grpSpPr>
          <p:sp>
            <p:nvSpPr>
              <p:cNvPr id="86" name="Freeform 94">
                <a:extLst>
                  <a:ext uri="{FF2B5EF4-FFF2-40B4-BE49-F238E27FC236}">
                    <a16:creationId xmlns:a16="http://schemas.microsoft.com/office/drawing/2014/main" id="{2D48EDE9-5353-40B8-B7CD-999BF3F3FEC0}"/>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87" name="Freeform 95">
                <a:extLst>
                  <a:ext uri="{FF2B5EF4-FFF2-40B4-BE49-F238E27FC236}">
                    <a16:creationId xmlns:a16="http://schemas.microsoft.com/office/drawing/2014/main" id="{7A57C118-2E3D-41F6-BBC8-933010304B3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2" name="Title 1"/>
          <p:cNvSpPr>
            <a:spLocks noGrp="1"/>
          </p:cNvSpPr>
          <p:nvPr>
            <p:ph type="title"/>
          </p:nvPr>
        </p:nvSpPr>
        <p:spPr>
          <a:xfrm>
            <a:off x="630000" y="622800"/>
            <a:ext cx="6256800" cy="775597"/>
          </a:xfrm>
        </p:spPr>
        <p:txBody>
          <a:bodyPr vert="horz"/>
          <a:lstStyle/>
          <a:p>
            <a:r>
              <a:rPr lang="en-US" sz="2800">
                <a:highlight>
                  <a:srgbClr val="FFFF00"/>
                </a:highlight>
              </a:rPr>
              <a:t>Solving &lt;this problem&gt; could</a:t>
            </a:r>
            <a:br>
              <a:rPr lang="en-US" sz="2800">
                <a:highlight>
                  <a:srgbClr val="FFFF00"/>
                </a:highlight>
              </a:rPr>
            </a:br>
            <a:r>
              <a:rPr lang="en-US" sz="2800">
                <a:highlight>
                  <a:srgbClr val="FFFF00"/>
                </a:highlight>
              </a:rPr>
              <a:t>impact Y M lives across B countries</a:t>
            </a:r>
          </a:p>
        </p:txBody>
      </p:sp>
      <p:sp>
        <p:nvSpPr>
          <p:cNvPr id="43" name="Oval 42">
            <a:extLst>
              <a:ext uri="{FF2B5EF4-FFF2-40B4-BE49-F238E27FC236}">
                <a16:creationId xmlns:a16="http://schemas.microsoft.com/office/drawing/2014/main" id="{E00733D0-6050-4A6A-9B74-F7A02E3BF82B}"/>
              </a:ext>
            </a:extLst>
          </p:cNvPr>
          <p:cNvSpPr/>
          <p:nvPr/>
        </p:nvSpPr>
        <p:spPr>
          <a:xfrm>
            <a:off x="630000" y="1836301"/>
            <a:ext cx="898448" cy="898448"/>
          </a:xfrm>
          <a:prstGeom prst="ellipse">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6" name="Oval 45">
            <a:extLst>
              <a:ext uri="{FF2B5EF4-FFF2-40B4-BE49-F238E27FC236}">
                <a16:creationId xmlns:a16="http://schemas.microsoft.com/office/drawing/2014/main" id="{11EE7A06-B7C8-4624-BA7E-17139EBB8118}"/>
              </a:ext>
            </a:extLst>
          </p:cNvPr>
          <p:cNvSpPr/>
          <p:nvPr/>
        </p:nvSpPr>
        <p:spPr>
          <a:xfrm>
            <a:off x="630000" y="3495243"/>
            <a:ext cx="898448" cy="898448"/>
          </a:xfrm>
          <a:prstGeom prst="ellipse">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7" name="Oval 46">
            <a:extLst>
              <a:ext uri="{FF2B5EF4-FFF2-40B4-BE49-F238E27FC236}">
                <a16:creationId xmlns:a16="http://schemas.microsoft.com/office/drawing/2014/main" id="{F72C6B24-8418-4412-9865-FB9025226B82}"/>
              </a:ext>
            </a:extLst>
          </p:cNvPr>
          <p:cNvSpPr/>
          <p:nvPr/>
        </p:nvSpPr>
        <p:spPr>
          <a:xfrm>
            <a:off x="630000" y="5154184"/>
            <a:ext cx="898448" cy="898448"/>
          </a:xfrm>
          <a:prstGeom prst="ellipse">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48" name="Group 47">
            <a:extLst>
              <a:ext uri="{FF2B5EF4-FFF2-40B4-BE49-F238E27FC236}">
                <a16:creationId xmlns:a16="http://schemas.microsoft.com/office/drawing/2014/main" id="{55C40723-898F-49E1-820A-2D1BDAA53EBF}"/>
              </a:ext>
            </a:extLst>
          </p:cNvPr>
          <p:cNvGrpSpPr>
            <a:grpSpLocks noChangeAspect="1"/>
          </p:cNvGrpSpPr>
          <p:nvPr/>
        </p:nvGrpSpPr>
        <p:grpSpPr>
          <a:xfrm>
            <a:off x="545330" y="1751631"/>
            <a:ext cx="1067787" cy="1067787"/>
            <a:chOff x="5274038" y="2605402"/>
            <a:chExt cx="1645200" cy="1645200"/>
          </a:xfrm>
        </p:grpSpPr>
        <p:sp>
          <p:nvSpPr>
            <p:cNvPr id="49" name="AutoShape 3">
              <a:extLst>
                <a:ext uri="{FF2B5EF4-FFF2-40B4-BE49-F238E27FC236}">
                  <a16:creationId xmlns:a16="http://schemas.microsoft.com/office/drawing/2014/main" id="{3EC76C44-3ACA-419C-959A-B2334743F702}"/>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0" name="Group 49">
              <a:extLst>
                <a:ext uri="{FF2B5EF4-FFF2-40B4-BE49-F238E27FC236}">
                  <a16:creationId xmlns:a16="http://schemas.microsoft.com/office/drawing/2014/main" id="{E487BD5C-7BCC-41D8-BC0C-72EA93E15A9A}"/>
                </a:ext>
              </a:extLst>
            </p:cNvPr>
            <p:cNvGrpSpPr/>
            <p:nvPr/>
          </p:nvGrpSpPr>
          <p:grpSpPr>
            <a:xfrm>
              <a:off x="5577973" y="2880027"/>
              <a:ext cx="1037330" cy="1095951"/>
              <a:chOff x="5577973" y="2880027"/>
              <a:chExt cx="1037330" cy="1095951"/>
            </a:xfrm>
          </p:grpSpPr>
          <p:sp>
            <p:nvSpPr>
              <p:cNvPr id="51" name="Line 5">
                <a:extLst>
                  <a:ext uri="{FF2B5EF4-FFF2-40B4-BE49-F238E27FC236}">
                    <a16:creationId xmlns:a16="http://schemas.microsoft.com/office/drawing/2014/main" id="{55AF2899-16F8-494B-9AA8-F6CCA00BB2B6}"/>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Line 6">
                <a:extLst>
                  <a:ext uri="{FF2B5EF4-FFF2-40B4-BE49-F238E27FC236}">
                    <a16:creationId xmlns:a16="http://schemas.microsoft.com/office/drawing/2014/main" id="{B4EEBB4A-9F58-49D0-A309-6B45737DF758}"/>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2">
                <a:extLst>
                  <a:ext uri="{FF2B5EF4-FFF2-40B4-BE49-F238E27FC236}">
                    <a16:creationId xmlns:a16="http://schemas.microsoft.com/office/drawing/2014/main" id="{878A382E-D2C6-4DC0-85DD-A286F8555DD5}"/>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4">
                <a:extLst>
                  <a:ext uri="{FF2B5EF4-FFF2-40B4-BE49-F238E27FC236}">
                    <a16:creationId xmlns:a16="http://schemas.microsoft.com/office/drawing/2014/main" id="{D3F86C36-F16B-40B7-AF98-D48C2A428B6A}"/>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5" name="Freeform 23">
                <a:extLst>
                  <a:ext uri="{FF2B5EF4-FFF2-40B4-BE49-F238E27FC236}">
                    <a16:creationId xmlns:a16="http://schemas.microsoft.com/office/drawing/2014/main" id="{C11079BC-BA4D-421F-936C-38CBD586BBB7}"/>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57" name="Group 56">
            <a:extLst>
              <a:ext uri="{FF2B5EF4-FFF2-40B4-BE49-F238E27FC236}">
                <a16:creationId xmlns:a16="http://schemas.microsoft.com/office/drawing/2014/main" id="{C3466721-82AA-422B-AF19-FBD3928CDBD1}"/>
              </a:ext>
            </a:extLst>
          </p:cNvPr>
          <p:cNvGrpSpPr>
            <a:grpSpLocks noChangeAspect="1"/>
          </p:cNvGrpSpPr>
          <p:nvPr/>
        </p:nvGrpSpPr>
        <p:grpSpPr>
          <a:xfrm>
            <a:off x="629566" y="3495243"/>
            <a:ext cx="899316" cy="898448"/>
            <a:chOff x="6464300" y="2606675"/>
            <a:chExt cx="1646238" cy="1644650"/>
          </a:xfrm>
        </p:grpSpPr>
        <p:sp>
          <p:nvSpPr>
            <p:cNvPr id="58" name="AutoShape 13">
              <a:extLst>
                <a:ext uri="{FF2B5EF4-FFF2-40B4-BE49-F238E27FC236}">
                  <a16:creationId xmlns:a16="http://schemas.microsoft.com/office/drawing/2014/main" id="{1017E76E-7DDB-476E-A039-011C173CA129}"/>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9" name="Group 58">
              <a:extLst>
                <a:ext uri="{FF2B5EF4-FFF2-40B4-BE49-F238E27FC236}">
                  <a16:creationId xmlns:a16="http://schemas.microsoft.com/office/drawing/2014/main" id="{43B13EE7-3E7B-4C89-A68B-6DAB6B73C5D6}"/>
                </a:ext>
              </a:extLst>
            </p:cNvPr>
            <p:cNvGrpSpPr/>
            <p:nvPr/>
          </p:nvGrpSpPr>
          <p:grpSpPr>
            <a:xfrm>
              <a:off x="6729413" y="3032124"/>
              <a:ext cx="1153373" cy="976314"/>
              <a:chOff x="6729413" y="3032124"/>
              <a:chExt cx="1153373" cy="976314"/>
            </a:xfrm>
          </p:grpSpPr>
          <p:sp>
            <p:nvSpPr>
              <p:cNvPr id="60" name="Freeform 11">
                <a:extLst>
                  <a:ext uri="{FF2B5EF4-FFF2-40B4-BE49-F238E27FC236}">
                    <a16:creationId xmlns:a16="http://schemas.microsoft.com/office/drawing/2014/main" id="{D942C4CF-D40C-4568-B83F-852422A13EB5}"/>
                  </a:ext>
                </a:extLst>
              </p:cNvPr>
              <p:cNvSpPr>
                <a:spLocks/>
              </p:cNvSpPr>
              <p:nvPr/>
            </p:nvSpPr>
            <p:spPr bwMode="auto">
              <a:xfrm>
                <a:off x="7041869" y="3032124"/>
                <a:ext cx="840917" cy="580108"/>
              </a:xfrm>
              <a:custGeom>
                <a:avLst/>
                <a:gdLst>
                  <a:gd name="connsiteX0" fmla="*/ 20275 w 840917"/>
                  <a:gd name="connsiteY0" fmla="*/ 256303 h 580108"/>
                  <a:gd name="connsiteX1" fmla="*/ 200737 w 840917"/>
                  <a:gd name="connsiteY1" fmla="*/ 256303 h 580108"/>
                  <a:gd name="connsiteX2" fmla="*/ 218569 w 840917"/>
                  <a:gd name="connsiteY2" fmla="*/ 265589 h 580108"/>
                  <a:gd name="connsiteX3" fmla="*/ 274919 w 840917"/>
                  <a:gd name="connsiteY3" fmla="*/ 412751 h 580108"/>
                  <a:gd name="connsiteX4" fmla="*/ 159366 w 840917"/>
                  <a:gd name="connsiteY4" fmla="*/ 407036 h 580108"/>
                  <a:gd name="connsiteX5" fmla="*/ 16709 w 840917"/>
                  <a:gd name="connsiteY5" fmla="*/ 264161 h 580108"/>
                  <a:gd name="connsiteX6" fmla="*/ 20275 w 840917"/>
                  <a:gd name="connsiteY6" fmla="*/ 256303 h 580108"/>
                  <a:gd name="connsiteX7" fmla="*/ 651482 w 840917"/>
                  <a:gd name="connsiteY7" fmla="*/ 255588 h 580108"/>
                  <a:gd name="connsiteX8" fmla="*/ 824991 w 840917"/>
                  <a:gd name="connsiteY8" fmla="*/ 256301 h 580108"/>
                  <a:gd name="connsiteX9" fmla="*/ 828561 w 840917"/>
                  <a:gd name="connsiteY9" fmla="*/ 264138 h 580108"/>
                  <a:gd name="connsiteX10" fmla="*/ 514389 w 840917"/>
                  <a:gd name="connsiteY10" fmla="*/ 578338 h 580108"/>
                  <a:gd name="connsiteX11" fmla="*/ 506534 w 840917"/>
                  <a:gd name="connsiteY11" fmla="*/ 574063 h 580108"/>
                  <a:gd name="connsiteX12" fmla="*/ 506534 w 840917"/>
                  <a:gd name="connsiteY12" fmla="*/ 573351 h 580108"/>
                  <a:gd name="connsiteX13" fmla="*/ 617923 w 840917"/>
                  <a:gd name="connsiteY13" fmla="*/ 278387 h 580108"/>
                  <a:gd name="connsiteX14" fmla="*/ 651482 w 840917"/>
                  <a:gd name="connsiteY14" fmla="*/ 255588 h 580108"/>
                  <a:gd name="connsiteX15" fmla="*/ 268809 w 840917"/>
                  <a:gd name="connsiteY15" fmla="*/ 255588 h 580108"/>
                  <a:gd name="connsiteX16" fmla="*/ 574001 w 840917"/>
                  <a:gd name="connsiteY16" fmla="*/ 255588 h 580108"/>
                  <a:gd name="connsiteX17" fmla="*/ 578290 w 840917"/>
                  <a:gd name="connsiteY17" fmla="*/ 262020 h 580108"/>
                  <a:gd name="connsiteX18" fmla="*/ 497525 w 840917"/>
                  <a:gd name="connsiteY18" fmla="*/ 477838 h 580108"/>
                  <a:gd name="connsiteX19" fmla="*/ 405324 w 840917"/>
                  <a:gd name="connsiteY19" fmla="*/ 419238 h 580108"/>
                  <a:gd name="connsiteX20" fmla="*/ 321700 w 840917"/>
                  <a:gd name="connsiteY20" fmla="*/ 414951 h 580108"/>
                  <a:gd name="connsiteX21" fmla="*/ 264520 w 840917"/>
                  <a:gd name="connsiteY21" fmla="*/ 262020 h 580108"/>
                  <a:gd name="connsiteX22" fmla="*/ 268809 w 840917"/>
                  <a:gd name="connsiteY22" fmla="*/ 255588 h 580108"/>
                  <a:gd name="connsiteX23" fmla="*/ 375756 w 840917"/>
                  <a:gd name="connsiteY23" fmla="*/ 1433 h 580108"/>
                  <a:gd name="connsiteX24" fmla="*/ 466182 w 840917"/>
                  <a:gd name="connsiteY24" fmla="*/ 1433 h 580108"/>
                  <a:gd name="connsiteX25" fmla="*/ 486831 w 840917"/>
                  <a:gd name="connsiteY25" fmla="*/ 12176 h 580108"/>
                  <a:gd name="connsiteX26" fmla="*/ 575832 w 840917"/>
                  <a:gd name="connsiteY26" fmla="*/ 205563 h 580108"/>
                  <a:gd name="connsiteX27" fmla="*/ 571560 w 840917"/>
                  <a:gd name="connsiteY27" fmla="*/ 212725 h 580108"/>
                  <a:gd name="connsiteX28" fmla="*/ 271802 w 840917"/>
                  <a:gd name="connsiteY28" fmla="*/ 212725 h 580108"/>
                  <a:gd name="connsiteX29" fmla="*/ 267530 w 840917"/>
                  <a:gd name="connsiteY29" fmla="*/ 205563 h 580108"/>
                  <a:gd name="connsiteX30" fmla="*/ 357244 w 840917"/>
                  <a:gd name="connsiteY30" fmla="*/ 10028 h 580108"/>
                  <a:gd name="connsiteX31" fmla="*/ 375756 w 840917"/>
                  <a:gd name="connsiteY31" fmla="*/ 1433 h 580108"/>
                  <a:gd name="connsiteX32" fmla="*/ 535360 w 840917"/>
                  <a:gd name="connsiteY32" fmla="*/ 0 h 580108"/>
                  <a:gd name="connsiteX33" fmla="*/ 641992 w 840917"/>
                  <a:gd name="connsiteY33" fmla="*/ 1434 h 580108"/>
                  <a:gd name="connsiteX34" fmla="*/ 663461 w 840917"/>
                  <a:gd name="connsiteY34" fmla="*/ 12185 h 580108"/>
                  <a:gd name="connsiteX35" fmla="*/ 840226 w 840917"/>
                  <a:gd name="connsiteY35" fmla="*/ 204278 h 580108"/>
                  <a:gd name="connsiteX36" fmla="*/ 837363 w 840917"/>
                  <a:gd name="connsiteY36" fmla="*/ 212163 h 580108"/>
                  <a:gd name="connsiteX37" fmla="*/ 827344 w 840917"/>
                  <a:gd name="connsiteY37" fmla="*/ 213596 h 580108"/>
                  <a:gd name="connsiteX38" fmla="*/ 646285 w 840917"/>
                  <a:gd name="connsiteY38" fmla="*/ 213596 h 580108"/>
                  <a:gd name="connsiteX39" fmla="*/ 616228 w 840917"/>
                  <a:gd name="connsiteY39" fmla="*/ 194960 h 580108"/>
                  <a:gd name="connsiteX40" fmla="*/ 531066 w 840917"/>
                  <a:gd name="connsiteY40" fmla="*/ 7168 h 580108"/>
                  <a:gd name="connsiteX41" fmla="*/ 535360 w 840917"/>
                  <a:gd name="connsiteY41" fmla="*/ 0 h 580108"/>
                  <a:gd name="connsiteX42" fmla="*/ 308007 w 840917"/>
                  <a:gd name="connsiteY42" fmla="*/ 0 h 580108"/>
                  <a:gd name="connsiteX43" fmla="*/ 312303 w 840917"/>
                  <a:gd name="connsiteY43" fmla="*/ 7163 h 580108"/>
                  <a:gd name="connsiteX44" fmla="*/ 220654 w 840917"/>
                  <a:gd name="connsiteY44" fmla="*/ 202698 h 580108"/>
                  <a:gd name="connsiteX45" fmla="*/ 207050 w 840917"/>
                  <a:gd name="connsiteY45" fmla="*/ 212725 h 580108"/>
                  <a:gd name="connsiteX46" fmla="*/ 5138 w 840917"/>
                  <a:gd name="connsiteY46" fmla="*/ 212725 h 580108"/>
                  <a:gd name="connsiteX47" fmla="*/ 842 w 840917"/>
                  <a:gd name="connsiteY47" fmla="*/ 204846 h 580108"/>
                  <a:gd name="connsiteX48" fmla="*/ 71010 w 840917"/>
                  <a:gd name="connsiteY48" fmla="*/ 128924 h 580108"/>
                  <a:gd name="connsiteX49" fmla="*/ 176978 w 840917"/>
                  <a:gd name="connsiteY49" fmla="*/ 13609 h 580108"/>
                  <a:gd name="connsiteX50" fmla="*/ 200606 w 840917"/>
                  <a:gd name="connsiteY50" fmla="*/ 1433 h 580108"/>
                  <a:gd name="connsiteX51" fmla="*/ 308007 w 840917"/>
                  <a:gd name="connsiteY51" fmla="*/ 0 h 5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40917" h="580108">
                    <a:moveTo>
                      <a:pt x="20275" y="256303"/>
                    </a:moveTo>
                    <a:cubicBezTo>
                      <a:pt x="78051" y="256303"/>
                      <a:pt x="139394" y="255588"/>
                      <a:pt x="200737" y="256303"/>
                    </a:cubicBezTo>
                    <a:cubicBezTo>
                      <a:pt x="206443" y="256303"/>
                      <a:pt x="217142" y="260589"/>
                      <a:pt x="218569" y="265589"/>
                    </a:cubicBezTo>
                    <a:cubicBezTo>
                      <a:pt x="237828" y="314167"/>
                      <a:pt x="255660" y="364173"/>
                      <a:pt x="274919" y="412751"/>
                    </a:cubicBezTo>
                    <a:cubicBezTo>
                      <a:pt x="274919" y="412751"/>
                      <a:pt x="274919" y="412751"/>
                      <a:pt x="159366" y="407036"/>
                    </a:cubicBezTo>
                    <a:cubicBezTo>
                      <a:pt x="112289" y="359173"/>
                      <a:pt x="64499" y="312024"/>
                      <a:pt x="16709" y="264161"/>
                    </a:cubicBezTo>
                    <a:cubicBezTo>
                      <a:pt x="14569" y="261303"/>
                      <a:pt x="15995" y="256303"/>
                      <a:pt x="20275" y="256303"/>
                    </a:cubicBezTo>
                    <a:close/>
                    <a:moveTo>
                      <a:pt x="651482" y="255588"/>
                    </a:moveTo>
                    <a:cubicBezTo>
                      <a:pt x="710032" y="256301"/>
                      <a:pt x="768583" y="256301"/>
                      <a:pt x="824991" y="256301"/>
                    </a:cubicBezTo>
                    <a:cubicBezTo>
                      <a:pt x="829275" y="256301"/>
                      <a:pt x="832131" y="261288"/>
                      <a:pt x="828561" y="264138"/>
                    </a:cubicBezTo>
                    <a:cubicBezTo>
                      <a:pt x="723599" y="368871"/>
                      <a:pt x="618637" y="475030"/>
                      <a:pt x="514389" y="578338"/>
                    </a:cubicBezTo>
                    <a:cubicBezTo>
                      <a:pt x="510818" y="582613"/>
                      <a:pt x="505106" y="578338"/>
                      <a:pt x="506534" y="574063"/>
                    </a:cubicBezTo>
                    <a:cubicBezTo>
                      <a:pt x="506534" y="573351"/>
                      <a:pt x="506534" y="573351"/>
                      <a:pt x="506534" y="573351"/>
                    </a:cubicBezTo>
                    <a:cubicBezTo>
                      <a:pt x="544378" y="475742"/>
                      <a:pt x="581507" y="376708"/>
                      <a:pt x="617923" y="278387"/>
                    </a:cubicBezTo>
                    <a:cubicBezTo>
                      <a:pt x="624349" y="260575"/>
                      <a:pt x="632917" y="255588"/>
                      <a:pt x="651482" y="255588"/>
                    </a:cubicBezTo>
                    <a:close/>
                    <a:moveTo>
                      <a:pt x="268809" y="255588"/>
                    </a:moveTo>
                    <a:cubicBezTo>
                      <a:pt x="268809" y="255588"/>
                      <a:pt x="268809" y="255588"/>
                      <a:pt x="574001" y="255588"/>
                    </a:cubicBezTo>
                    <a:cubicBezTo>
                      <a:pt x="577575" y="255588"/>
                      <a:pt x="579719" y="259161"/>
                      <a:pt x="578290" y="262020"/>
                    </a:cubicBezTo>
                    <a:cubicBezTo>
                      <a:pt x="551130" y="334197"/>
                      <a:pt x="523970" y="406375"/>
                      <a:pt x="497525" y="477838"/>
                    </a:cubicBezTo>
                    <a:cubicBezTo>
                      <a:pt x="479656" y="444965"/>
                      <a:pt x="445349" y="421382"/>
                      <a:pt x="405324" y="419238"/>
                    </a:cubicBezTo>
                    <a:cubicBezTo>
                      <a:pt x="405324" y="419238"/>
                      <a:pt x="405324" y="419238"/>
                      <a:pt x="321700" y="414951"/>
                    </a:cubicBezTo>
                    <a:cubicBezTo>
                      <a:pt x="315982" y="400658"/>
                      <a:pt x="302402" y="362783"/>
                      <a:pt x="264520" y="262020"/>
                    </a:cubicBezTo>
                    <a:cubicBezTo>
                      <a:pt x="263806" y="259161"/>
                      <a:pt x="265235" y="255588"/>
                      <a:pt x="268809" y="255588"/>
                    </a:cubicBezTo>
                    <a:close/>
                    <a:moveTo>
                      <a:pt x="375756" y="1433"/>
                    </a:moveTo>
                    <a:cubicBezTo>
                      <a:pt x="406373" y="0"/>
                      <a:pt x="436278" y="0"/>
                      <a:pt x="466182" y="1433"/>
                    </a:cubicBezTo>
                    <a:cubicBezTo>
                      <a:pt x="472590" y="1433"/>
                      <a:pt x="483270" y="6446"/>
                      <a:pt x="486831" y="12176"/>
                    </a:cubicBezTo>
                    <a:cubicBezTo>
                      <a:pt x="516735" y="75206"/>
                      <a:pt x="544504" y="139668"/>
                      <a:pt x="575832" y="205563"/>
                    </a:cubicBezTo>
                    <a:cubicBezTo>
                      <a:pt x="576544" y="209144"/>
                      <a:pt x="575120" y="212725"/>
                      <a:pt x="571560" y="212725"/>
                    </a:cubicBezTo>
                    <a:cubicBezTo>
                      <a:pt x="571560" y="212725"/>
                      <a:pt x="571560" y="212725"/>
                      <a:pt x="271802" y="212725"/>
                    </a:cubicBezTo>
                    <a:cubicBezTo>
                      <a:pt x="268242" y="212725"/>
                      <a:pt x="265394" y="209144"/>
                      <a:pt x="267530" y="205563"/>
                    </a:cubicBezTo>
                    <a:cubicBezTo>
                      <a:pt x="297435" y="138236"/>
                      <a:pt x="327339" y="73057"/>
                      <a:pt x="357244" y="10028"/>
                    </a:cubicBezTo>
                    <a:cubicBezTo>
                      <a:pt x="360092" y="4298"/>
                      <a:pt x="369348" y="1433"/>
                      <a:pt x="375756" y="1433"/>
                    </a:cubicBezTo>
                    <a:close/>
                    <a:moveTo>
                      <a:pt x="535360" y="0"/>
                    </a:moveTo>
                    <a:cubicBezTo>
                      <a:pt x="573289" y="0"/>
                      <a:pt x="607640" y="0"/>
                      <a:pt x="641992" y="1434"/>
                    </a:cubicBezTo>
                    <a:cubicBezTo>
                      <a:pt x="649148" y="1434"/>
                      <a:pt x="658451" y="6451"/>
                      <a:pt x="663461" y="12185"/>
                    </a:cubicBezTo>
                    <a:cubicBezTo>
                      <a:pt x="722144" y="74544"/>
                      <a:pt x="779396" y="139053"/>
                      <a:pt x="840226" y="204278"/>
                    </a:cubicBezTo>
                    <a:cubicBezTo>
                      <a:pt x="841657" y="206429"/>
                      <a:pt x="840942" y="212163"/>
                      <a:pt x="837363" y="212163"/>
                    </a:cubicBezTo>
                    <a:cubicBezTo>
                      <a:pt x="833069" y="212880"/>
                      <a:pt x="829491" y="213596"/>
                      <a:pt x="827344" y="213596"/>
                    </a:cubicBezTo>
                    <a:cubicBezTo>
                      <a:pt x="766514" y="213596"/>
                      <a:pt x="706400" y="212880"/>
                      <a:pt x="646285" y="213596"/>
                    </a:cubicBezTo>
                    <a:cubicBezTo>
                      <a:pt x="630541" y="214313"/>
                      <a:pt x="621953" y="209296"/>
                      <a:pt x="616228" y="194960"/>
                    </a:cubicBezTo>
                    <a:cubicBezTo>
                      <a:pt x="588318" y="134035"/>
                      <a:pt x="560408" y="72393"/>
                      <a:pt x="531066" y="7168"/>
                    </a:cubicBezTo>
                    <a:cubicBezTo>
                      <a:pt x="528919" y="4301"/>
                      <a:pt x="531782" y="0"/>
                      <a:pt x="535360" y="0"/>
                    </a:cubicBezTo>
                    <a:close/>
                    <a:moveTo>
                      <a:pt x="308007" y="0"/>
                    </a:moveTo>
                    <a:cubicBezTo>
                      <a:pt x="310871" y="0"/>
                      <a:pt x="313019" y="4298"/>
                      <a:pt x="312303" y="7163"/>
                    </a:cubicBezTo>
                    <a:cubicBezTo>
                      <a:pt x="280083" y="75206"/>
                      <a:pt x="250727" y="138952"/>
                      <a:pt x="220654" y="202698"/>
                    </a:cubicBezTo>
                    <a:cubicBezTo>
                      <a:pt x="219222" y="206995"/>
                      <a:pt x="212062" y="211293"/>
                      <a:pt x="207050" y="212725"/>
                    </a:cubicBezTo>
                    <a:cubicBezTo>
                      <a:pt x="141178" y="212725"/>
                      <a:pt x="76022" y="212725"/>
                      <a:pt x="5138" y="212725"/>
                    </a:cubicBezTo>
                    <a:cubicBezTo>
                      <a:pt x="842" y="212725"/>
                      <a:pt x="-1306" y="206995"/>
                      <a:pt x="842" y="204846"/>
                    </a:cubicBezTo>
                    <a:cubicBezTo>
                      <a:pt x="26618" y="177629"/>
                      <a:pt x="48098" y="153277"/>
                      <a:pt x="71010" y="128924"/>
                    </a:cubicBezTo>
                    <a:cubicBezTo>
                      <a:pt x="106094" y="89531"/>
                      <a:pt x="140462" y="51570"/>
                      <a:pt x="176978" y="13609"/>
                    </a:cubicBezTo>
                    <a:cubicBezTo>
                      <a:pt x="182706" y="7879"/>
                      <a:pt x="192014" y="1433"/>
                      <a:pt x="200606" y="1433"/>
                    </a:cubicBezTo>
                    <a:cubicBezTo>
                      <a:pt x="234259" y="0"/>
                      <a:pt x="268627" y="0"/>
                      <a:pt x="30800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61" name="Freeform 12">
                <a:extLst>
                  <a:ext uri="{FF2B5EF4-FFF2-40B4-BE49-F238E27FC236}">
                    <a16:creationId xmlns:a16="http://schemas.microsoft.com/office/drawing/2014/main" id="{CF171BE9-69E1-4D35-9DAC-447B74056236}"/>
                  </a:ext>
                </a:extLst>
              </p:cNvPr>
              <p:cNvSpPr>
                <a:spLocks/>
              </p:cNvSpPr>
              <p:nvPr/>
            </p:nvSpPr>
            <p:spPr bwMode="auto">
              <a:xfrm>
                <a:off x="6729413" y="3467100"/>
                <a:ext cx="1123838" cy="541338"/>
              </a:xfrm>
              <a:custGeom>
                <a:avLst/>
                <a:gdLst>
                  <a:gd name="connsiteX0" fmla="*/ 409739 w 1123838"/>
                  <a:gd name="connsiteY0" fmla="*/ 31588 h 541338"/>
                  <a:gd name="connsiteX1" fmla="*/ 326138 w 1123838"/>
                  <a:gd name="connsiteY1" fmla="*/ 51530 h 541338"/>
                  <a:gd name="connsiteX2" fmla="*/ 31750 w 1123838"/>
                  <a:gd name="connsiteY2" fmla="*/ 218189 h 541338"/>
                  <a:gd name="connsiteX3" fmla="*/ 31750 w 1123838"/>
                  <a:gd name="connsiteY3" fmla="*/ 501651 h 541338"/>
                  <a:gd name="connsiteX4" fmla="*/ 368296 w 1123838"/>
                  <a:gd name="connsiteY4" fmla="*/ 372028 h 541338"/>
                  <a:gd name="connsiteX5" fmla="*/ 419028 w 1123838"/>
                  <a:gd name="connsiteY5" fmla="*/ 364193 h 541338"/>
                  <a:gd name="connsiteX6" fmla="*/ 568366 w 1123838"/>
                  <a:gd name="connsiteY6" fmla="*/ 374876 h 541338"/>
                  <a:gd name="connsiteX7" fmla="*/ 797017 w 1123838"/>
                  <a:gd name="connsiteY7" fmla="*/ 348524 h 541338"/>
                  <a:gd name="connsiteX8" fmla="*/ 1047818 w 1123838"/>
                  <a:gd name="connsiteY8" fmla="*/ 182578 h 541338"/>
                  <a:gd name="connsiteX9" fmla="*/ 1079972 w 1123838"/>
                  <a:gd name="connsiteY9" fmla="*/ 145542 h 541338"/>
                  <a:gd name="connsiteX10" fmla="*/ 1074971 w 1123838"/>
                  <a:gd name="connsiteY10" fmla="*/ 71472 h 541338"/>
                  <a:gd name="connsiteX11" fmla="*/ 1036386 w 1123838"/>
                  <a:gd name="connsiteY11" fmla="*/ 57940 h 541338"/>
                  <a:gd name="connsiteX12" fmla="*/ 999230 w 1123838"/>
                  <a:gd name="connsiteY12" fmla="*/ 75745 h 541338"/>
                  <a:gd name="connsiteX13" fmla="*/ 951356 w 1123838"/>
                  <a:gd name="connsiteY13" fmla="*/ 129161 h 541338"/>
                  <a:gd name="connsiteX14" fmla="*/ 805591 w 1123838"/>
                  <a:gd name="connsiteY14" fmla="*/ 220325 h 541338"/>
                  <a:gd name="connsiteX15" fmla="*/ 608380 w 1123838"/>
                  <a:gd name="connsiteY15" fmla="*/ 209642 h 541338"/>
                  <a:gd name="connsiteX16" fmla="*/ 553360 w 1123838"/>
                  <a:gd name="connsiteY16" fmla="*/ 187563 h 541338"/>
                  <a:gd name="connsiteX17" fmla="*/ 544071 w 1123838"/>
                  <a:gd name="connsiteY17" fmla="*/ 171182 h 541338"/>
                  <a:gd name="connsiteX18" fmla="*/ 557648 w 1123838"/>
                  <a:gd name="connsiteY18" fmla="*/ 157650 h 541338"/>
                  <a:gd name="connsiteX19" fmla="*/ 715560 w 1123838"/>
                  <a:gd name="connsiteY19" fmla="*/ 141981 h 541338"/>
                  <a:gd name="connsiteX20" fmla="*/ 759146 w 1123838"/>
                  <a:gd name="connsiteY20" fmla="*/ 94975 h 541338"/>
                  <a:gd name="connsiteX21" fmla="*/ 713416 w 1123838"/>
                  <a:gd name="connsiteY21" fmla="*/ 47256 h 541338"/>
                  <a:gd name="connsiteX22" fmla="*/ 409739 w 1123838"/>
                  <a:gd name="connsiteY22" fmla="*/ 31588 h 541338"/>
                  <a:gd name="connsiteX23" fmla="*/ 390213 w 1123838"/>
                  <a:gd name="connsiteY23" fmla="*/ 0 h 541338"/>
                  <a:gd name="connsiteX24" fmla="*/ 393072 w 1123838"/>
                  <a:gd name="connsiteY24" fmla="*/ 0 h 541338"/>
                  <a:gd name="connsiteX25" fmla="*/ 397360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4708 w 1123838"/>
                  <a:gd name="connsiteY50" fmla="*/ 195682 h 541338"/>
                  <a:gd name="connsiteX51" fmla="*/ 775423 w 1123838"/>
                  <a:gd name="connsiteY51" fmla="*/ 195682 h 541338"/>
                  <a:gd name="connsiteX52" fmla="*/ 785428 w 1123838"/>
                  <a:gd name="connsiteY52" fmla="*/ 193539 h 541338"/>
                  <a:gd name="connsiteX53" fmla="*/ 786858 w 1123838"/>
                  <a:gd name="connsiteY53" fmla="*/ 192825 h 541338"/>
                  <a:gd name="connsiteX54" fmla="*/ 796863 w 1123838"/>
                  <a:gd name="connsiteY54" fmla="*/ 190683 h 541338"/>
                  <a:gd name="connsiteX55" fmla="*/ 826880 w 1123838"/>
                  <a:gd name="connsiteY55" fmla="*/ 179970 h 541338"/>
                  <a:gd name="connsiteX56" fmla="*/ 909782 w 1123838"/>
                  <a:gd name="connsiteY56" fmla="*/ 127122 h 541338"/>
                  <a:gd name="connsiteX57" fmla="*/ 928363 w 1123838"/>
                  <a:gd name="connsiteY57" fmla="*/ 108553 h 541338"/>
                  <a:gd name="connsiteX58" fmla="*/ 975532 w 1123838"/>
                  <a:gd name="connsiteY58" fmla="*/ 54991 h 541338"/>
                  <a:gd name="connsiteX59" fmla="*/ 978391 w 1123838"/>
                  <a:gd name="connsiteY59" fmla="*/ 51420 h 541338"/>
                  <a:gd name="connsiteX60" fmla="*/ 979105 w 1123838"/>
                  <a:gd name="connsiteY60" fmla="*/ 51420 h 541338"/>
                  <a:gd name="connsiteX61" fmla="*/ 1034135 w 1123838"/>
                  <a:gd name="connsiteY61" fmla="*/ 26424 h 541338"/>
                  <a:gd name="connsiteX62" fmla="*/ 1034850 w 1123838"/>
                  <a:gd name="connsiteY62" fmla="*/ 26424 h 541338"/>
                  <a:gd name="connsiteX63" fmla="*/ 1039138 w 1123838"/>
                  <a:gd name="connsiteY63" fmla="*/ 26424 h 541338"/>
                  <a:gd name="connsiteX64" fmla="*/ 1040567 w 1123838"/>
                  <a:gd name="connsiteY64" fmla="*/ 26424 h 541338"/>
                  <a:gd name="connsiteX65" fmla="*/ 1079875 w 1123838"/>
                  <a:gd name="connsiteY65" fmla="*/ 37137 h 541338"/>
                  <a:gd name="connsiteX66" fmla="*/ 1083448 w 1123838"/>
                  <a:gd name="connsiteY66" fmla="*/ 39279 h 541338"/>
                  <a:gd name="connsiteX67" fmla="*/ 1086307 w 1123838"/>
                  <a:gd name="connsiteY67" fmla="*/ 40708 h 541338"/>
                  <a:gd name="connsiteX68" fmla="*/ 1087021 w 1123838"/>
                  <a:gd name="connsiteY68" fmla="*/ 41422 h 541338"/>
                  <a:gd name="connsiteX69" fmla="*/ 1089880 w 1123838"/>
                  <a:gd name="connsiteY69" fmla="*/ 43564 h 541338"/>
                  <a:gd name="connsiteX70" fmla="*/ 1090595 w 1123838"/>
                  <a:gd name="connsiteY70" fmla="*/ 44278 h 541338"/>
                  <a:gd name="connsiteX71" fmla="*/ 1092739 w 1123838"/>
                  <a:gd name="connsiteY71" fmla="*/ 45707 h 541338"/>
                  <a:gd name="connsiteX72" fmla="*/ 1095597 w 1123838"/>
                  <a:gd name="connsiteY72" fmla="*/ 47849 h 541338"/>
                  <a:gd name="connsiteX73" fmla="*/ 1095597 w 1123838"/>
                  <a:gd name="connsiteY73" fmla="*/ 48563 h 541338"/>
                  <a:gd name="connsiteX74" fmla="*/ 1103459 w 1123838"/>
                  <a:gd name="connsiteY74" fmla="*/ 165687 h 541338"/>
                  <a:gd name="connsiteX75" fmla="*/ 1072013 w 1123838"/>
                  <a:gd name="connsiteY75" fmla="*/ 203538 h 541338"/>
                  <a:gd name="connsiteX76" fmla="*/ 966241 w 1123838"/>
                  <a:gd name="connsiteY76" fmla="*/ 299950 h 541338"/>
                  <a:gd name="connsiteX77" fmla="*/ 956950 w 1123838"/>
                  <a:gd name="connsiteY77" fmla="*/ 306377 h 541338"/>
                  <a:gd name="connsiteX78" fmla="*/ 948374 w 1123838"/>
                  <a:gd name="connsiteY78" fmla="*/ 312091 h 541338"/>
                  <a:gd name="connsiteX79" fmla="*/ 806154 w 1123838"/>
                  <a:gd name="connsiteY79" fmla="*/ 379222 h 541338"/>
                  <a:gd name="connsiteX80" fmla="*/ 792575 w 1123838"/>
                  <a:gd name="connsiteY80" fmla="*/ 383507 h 541338"/>
                  <a:gd name="connsiteX81" fmla="*/ 788287 w 1123838"/>
                  <a:gd name="connsiteY81" fmla="*/ 384222 h 541338"/>
                  <a:gd name="connsiteX82" fmla="*/ 779711 w 1123838"/>
                  <a:gd name="connsiteY82" fmla="*/ 387078 h 541338"/>
                  <a:gd name="connsiteX83" fmla="*/ 773994 w 1123838"/>
                  <a:gd name="connsiteY83" fmla="*/ 388507 h 541338"/>
                  <a:gd name="connsiteX84" fmla="*/ 766132 w 1123838"/>
                  <a:gd name="connsiteY84" fmla="*/ 389935 h 541338"/>
                  <a:gd name="connsiteX85" fmla="*/ 759700 w 1123838"/>
                  <a:gd name="connsiteY85" fmla="*/ 392077 h 541338"/>
                  <a:gd name="connsiteX86" fmla="*/ 753983 w 1123838"/>
                  <a:gd name="connsiteY86" fmla="*/ 392792 h 541338"/>
                  <a:gd name="connsiteX87" fmla="*/ 723966 w 1123838"/>
                  <a:gd name="connsiteY87" fmla="*/ 399219 h 541338"/>
                  <a:gd name="connsiteX88" fmla="*/ 721822 w 1123838"/>
                  <a:gd name="connsiteY88" fmla="*/ 399219 h 541338"/>
                  <a:gd name="connsiteX89" fmla="*/ 711102 w 1123838"/>
                  <a:gd name="connsiteY89" fmla="*/ 401362 h 541338"/>
                  <a:gd name="connsiteX90" fmla="*/ 709673 w 1123838"/>
                  <a:gd name="connsiteY90" fmla="*/ 401362 h 541338"/>
                  <a:gd name="connsiteX91" fmla="*/ 650355 w 1123838"/>
                  <a:gd name="connsiteY91" fmla="*/ 407789 h 541338"/>
                  <a:gd name="connsiteX92" fmla="*/ 648211 w 1123838"/>
                  <a:gd name="connsiteY92" fmla="*/ 407789 h 541338"/>
                  <a:gd name="connsiteX93" fmla="*/ 637491 w 1123838"/>
                  <a:gd name="connsiteY93" fmla="*/ 408503 h 541338"/>
                  <a:gd name="connsiteX94" fmla="*/ 635347 w 1123838"/>
                  <a:gd name="connsiteY94" fmla="*/ 408503 h 541338"/>
                  <a:gd name="connsiteX95" fmla="*/ 621053 w 1123838"/>
                  <a:gd name="connsiteY95" fmla="*/ 408503 h 541338"/>
                  <a:gd name="connsiteX96" fmla="*/ 619624 w 1123838"/>
                  <a:gd name="connsiteY96" fmla="*/ 408503 h 541338"/>
                  <a:gd name="connsiteX97" fmla="*/ 612477 w 1123838"/>
                  <a:gd name="connsiteY97" fmla="*/ 408503 h 541338"/>
                  <a:gd name="connsiteX98" fmla="*/ 606045 w 1123838"/>
                  <a:gd name="connsiteY98" fmla="*/ 408503 h 541338"/>
                  <a:gd name="connsiteX99" fmla="*/ 598898 w 1123838"/>
                  <a:gd name="connsiteY99" fmla="*/ 408503 h 541338"/>
                  <a:gd name="connsiteX100" fmla="*/ 592466 w 1123838"/>
                  <a:gd name="connsiteY100" fmla="*/ 408503 h 541338"/>
                  <a:gd name="connsiteX101" fmla="*/ 584605 w 1123838"/>
                  <a:gd name="connsiteY101" fmla="*/ 407789 h 541338"/>
                  <a:gd name="connsiteX102" fmla="*/ 578887 w 1123838"/>
                  <a:gd name="connsiteY102" fmla="*/ 407789 h 541338"/>
                  <a:gd name="connsiteX103" fmla="*/ 566738 w 1123838"/>
                  <a:gd name="connsiteY103" fmla="*/ 407075 h 541338"/>
                  <a:gd name="connsiteX104" fmla="*/ 566023 w 1123838"/>
                  <a:gd name="connsiteY104" fmla="*/ 407075 h 541338"/>
                  <a:gd name="connsiteX105" fmla="*/ 485265 w 1123838"/>
                  <a:gd name="connsiteY105" fmla="*/ 401362 h 541338"/>
                  <a:gd name="connsiteX106" fmla="*/ 416656 w 1123838"/>
                  <a:gd name="connsiteY106" fmla="*/ 396362 h 541338"/>
                  <a:gd name="connsiteX107" fmla="*/ 410939 w 1123838"/>
                  <a:gd name="connsiteY107" fmla="*/ 396362 h 541338"/>
                  <a:gd name="connsiteX108" fmla="*/ 407365 w 1123838"/>
                  <a:gd name="connsiteY108" fmla="*/ 396362 h 541338"/>
                  <a:gd name="connsiteX109" fmla="*/ 393072 w 1123838"/>
                  <a:gd name="connsiteY109" fmla="*/ 397791 h 541338"/>
                  <a:gd name="connsiteX110" fmla="*/ 388784 w 1123838"/>
                  <a:gd name="connsiteY110" fmla="*/ 398505 h 541338"/>
                  <a:gd name="connsiteX111" fmla="*/ 388784 w 1123838"/>
                  <a:gd name="connsiteY111" fmla="*/ 399219 h 541338"/>
                  <a:gd name="connsiteX112" fmla="*/ 384496 w 1123838"/>
                  <a:gd name="connsiteY112" fmla="*/ 399933 h 541338"/>
                  <a:gd name="connsiteX113" fmla="*/ 383781 w 1123838"/>
                  <a:gd name="connsiteY113" fmla="*/ 400647 h 541338"/>
                  <a:gd name="connsiteX114" fmla="*/ 379493 w 1123838"/>
                  <a:gd name="connsiteY114" fmla="*/ 402076 h 541338"/>
                  <a:gd name="connsiteX115" fmla="*/ 21441 w 1123838"/>
                  <a:gd name="connsiteY115" fmla="*/ 540624 h 541338"/>
                  <a:gd name="connsiteX116" fmla="*/ 15723 w 1123838"/>
                  <a:gd name="connsiteY116" fmla="*/ 541338 h 541338"/>
                  <a:gd name="connsiteX117" fmla="*/ 7147 w 1123838"/>
                  <a:gd name="connsiteY117" fmla="*/ 538481 h 541338"/>
                  <a:gd name="connsiteX118" fmla="*/ 0 w 1123838"/>
                  <a:gd name="connsiteY118" fmla="*/ 525626 h 541338"/>
                  <a:gd name="connsiteX119" fmla="*/ 0 w 1123838"/>
                  <a:gd name="connsiteY119" fmla="*/ 209251 h 541338"/>
                  <a:gd name="connsiteX120" fmla="*/ 7862 w 1123838"/>
                  <a:gd name="connsiteY120" fmla="*/ 195682 h 541338"/>
                  <a:gd name="connsiteX121" fmla="*/ 310169 w 1123838"/>
                  <a:gd name="connsiteY121" fmla="*/ 24282 h 541338"/>
                  <a:gd name="connsiteX122" fmla="*/ 315887 w 1123838"/>
                  <a:gd name="connsiteY122" fmla="*/ 21425 h 541338"/>
                  <a:gd name="connsiteX123" fmla="*/ 318031 w 1123838"/>
                  <a:gd name="connsiteY123" fmla="*/ 19997 h 541338"/>
                  <a:gd name="connsiteX124" fmla="*/ 320889 w 1123838"/>
                  <a:gd name="connsiteY124" fmla="*/ 18568 h 541338"/>
                  <a:gd name="connsiteX125" fmla="*/ 324463 w 1123838"/>
                  <a:gd name="connsiteY125" fmla="*/ 17140 h 541338"/>
                  <a:gd name="connsiteX126" fmla="*/ 326607 w 1123838"/>
                  <a:gd name="connsiteY126" fmla="*/ 15712 h 541338"/>
                  <a:gd name="connsiteX127" fmla="*/ 330180 w 1123838"/>
                  <a:gd name="connsiteY127" fmla="*/ 14283 h 541338"/>
                  <a:gd name="connsiteX128" fmla="*/ 332324 w 1123838"/>
                  <a:gd name="connsiteY128" fmla="*/ 13569 h 541338"/>
                  <a:gd name="connsiteX129" fmla="*/ 336612 w 1123838"/>
                  <a:gd name="connsiteY129" fmla="*/ 12141 h 541338"/>
                  <a:gd name="connsiteX130" fmla="*/ 338042 w 1123838"/>
                  <a:gd name="connsiteY130" fmla="*/ 11427 h 541338"/>
                  <a:gd name="connsiteX131" fmla="*/ 342330 w 1123838"/>
                  <a:gd name="connsiteY131" fmla="*/ 9998 h 541338"/>
                  <a:gd name="connsiteX132" fmla="*/ 343759 w 1123838"/>
                  <a:gd name="connsiteY132" fmla="*/ 9284 h 541338"/>
                  <a:gd name="connsiteX133" fmla="*/ 348047 w 1123838"/>
                  <a:gd name="connsiteY133" fmla="*/ 7856 h 541338"/>
                  <a:gd name="connsiteX134" fmla="*/ 349476 w 1123838"/>
                  <a:gd name="connsiteY134" fmla="*/ 7856 h 541338"/>
                  <a:gd name="connsiteX135" fmla="*/ 354479 w 1123838"/>
                  <a:gd name="connsiteY135" fmla="*/ 6428 h 541338"/>
                  <a:gd name="connsiteX136" fmla="*/ 354479 w 1123838"/>
                  <a:gd name="connsiteY136" fmla="*/ 5713 h 541338"/>
                  <a:gd name="connsiteX137" fmla="*/ 381637 w 1123838"/>
                  <a:gd name="connsiteY137" fmla="*/ 1428 h 541338"/>
                  <a:gd name="connsiteX138" fmla="*/ 383781 w 1123838"/>
                  <a:gd name="connsiteY138" fmla="*/ 714 h 541338"/>
                  <a:gd name="connsiteX139" fmla="*/ 387354 w 1123838"/>
                  <a:gd name="connsiteY139" fmla="*/ 714 h 541338"/>
                  <a:gd name="connsiteX140" fmla="*/ 390213 w 1123838"/>
                  <a:gd name="connsiteY140"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123838" h="541338">
                    <a:moveTo>
                      <a:pt x="409739" y="31588"/>
                    </a:moveTo>
                    <a:cubicBezTo>
                      <a:pt x="380443" y="30163"/>
                      <a:pt x="351147" y="37285"/>
                      <a:pt x="326138" y="51530"/>
                    </a:cubicBezTo>
                    <a:cubicBezTo>
                      <a:pt x="326138" y="51530"/>
                      <a:pt x="326138" y="51530"/>
                      <a:pt x="31750" y="218189"/>
                    </a:cubicBezTo>
                    <a:cubicBezTo>
                      <a:pt x="31750" y="218189"/>
                      <a:pt x="31750" y="218189"/>
                      <a:pt x="31750" y="501651"/>
                    </a:cubicBezTo>
                    <a:cubicBezTo>
                      <a:pt x="31750" y="501651"/>
                      <a:pt x="31750" y="501651"/>
                      <a:pt x="368296" y="372028"/>
                    </a:cubicBezTo>
                    <a:cubicBezTo>
                      <a:pt x="384730" y="365618"/>
                      <a:pt x="401879" y="362769"/>
                      <a:pt x="419028" y="364193"/>
                    </a:cubicBezTo>
                    <a:cubicBezTo>
                      <a:pt x="419028" y="364193"/>
                      <a:pt x="419028" y="364193"/>
                      <a:pt x="568366" y="374876"/>
                    </a:cubicBezTo>
                    <a:cubicBezTo>
                      <a:pt x="645535" y="380574"/>
                      <a:pt x="722705" y="371315"/>
                      <a:pt x="797017" y="348524"/>
                    </a:cubicBezTo>
                    <a:cubicBezTo>
                      <a:pt x="894908" y="317899"/>
                      <a:pt x="981367" y="260922"/>
                      <a:pt x="1047818" y="182578"/>
                    </a:cubicBezTo>
                    <a:cubicBezTo>
                      <a:pt x="1047818" y="182578"/>
                      <a:pt x="1047818" y="182578"/>
                      <a:pt x="1079972" y="145542"/>
                    </a:cubicBezTo>
                    <a:cubicBezTo>
                      <a:pt x="1098550" y="123464"/>
                      <a:pt x="1096407" y="90702"/>
                      <a:pt x="1074971" y="71472"/>
                    </a:cubicBezTo>
                    <a:cubicBezTo>
                      <a:pt x="1064253" y="62213"/>
                      <a:pt x="1050676" y="57227"/>
                      <a:pt x="1036386" y="57940"/>
                    </a:cubicBezTo>
                    <a:cubicBezTo>
                      <a:pt x="1022095" y="58652"/>
                      <a:pt x="1008519" y="65062"/>
                      <a:pt x="999230" y="75745"/>
                    </a:cubicBezTo>
                    <a:cubicBezTo>
                      <a:pt x="999230" y="75745"/>
                      <a:pt x="999230" y="75745"/>
                      <a:pt x="951356" y="129161"/>
                    </a:cubicBezTo>
                    <a:cubicBezTo>
                      <a:pt x="912771" y="173319"/>
                      <a:pt x="862039" y="204656"/>
                      <a:pt x="805591" y="220325"/>
                    </a:cubicBezTo>
                    <a:cubicBezTo>
                      <a:pt x="740568" y="238843"/>
                      <a:pt x="670544" y="234570"/>
                      <a:pt x="608380" y="209642"/>
                    </a:cubicBezTo>
                    <a:cubicBezTo>
                      <a:pt x="608380" y="209642"/>
                      <a:pt x="608380" y="209642"/>
                      <a:pt x="553360" y="187563"/>
                    </a:cubicBezTo>
                    <a:cubicBezTo>
                      <a:pt x="546930" y="184714"/>
                      <a:pt x="542642" y="178304"/>
                      <a:pt x="544071" y="171182"/>
                    </a:cubicBezTo>
                    <a:cubicBezTo>
                      <a:pt x="544786" y="164060"/>
                      <a:pt x="550502" y="158362"/>
                      <a:pt x="557648" y="157650"/>
                    </a:cubicBezTo>
                    <a:cubicBezTo>
                      <a:pt x="557648" y="157650"/>
                      <a:pt x="557648" y="157650"/>
                      <a:pt x="715560" y="141981"/>
                    </a:cubicBezTo>
                    <a:cubicBezTo>
                      <a:pt x="740568" y="139845"/>
                      <a:pt x="759146" y="119190"/>
                      <a:pt x="759146" y="94975"/>
                    </a:cubicBezTo>
                    <a:cubicBezTo>
                      <a:pt x="759146" y="69335"/>
                      <a:pt x="739139" y="48681"/>
                      <a:pt x="713416" y="47256"/>
                    </a:cubicBezTo>
                    <a:cubicBezTo>
                      <a:pt x="713416" y="47256"/>
                      <a:pt x="713416" y="47256"/>
                      <a:pt x="409739" y="31588"/>
                    </a:cubicBezTo>
                    <a:close/>
                    <a:moveTo>
                      <a:pt x="390213" y="0"/>
                    </a:moveTo>
                    <a:cubicBezTo>
                      <a:pt x="391642" y="0"/>
                      <a:pt x="392357" y="0"/>
                      <a:pt x="393072" y="0"/>
                    </a:cubicBezTo>
                    <a:cubicBezTo>
                      <a:pt x="394501" y="0"/>
                      <a:pt x="395930" y="0"/>
                      <a:pt x="397360" y="0"/>
                    </a:cubicBezTo>
                    <a:cubicBezTo>
                      <a:pt x="398074" y="0"/>
                      <a:pt x="398789" y="0"/>
                      <a:pt x="399504" y="0"/>
                    </a:cubicBezTo>
                    <a:cubicBezTo>
                      <a:pt x="400933" y="0"/>
                      <a:pt x="401648" y="0"/>
                      <a:pt x="403077" y="0"/>
                    </a:cubicBezTo>
                    <a:cubicBezTo>
                      <a:pt x="405936" y="0"/>
                      <a:pt x="408794"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4708" y="195682"/>
                    </a:cubicBezTo>
                    <a:cubicBezTo>
                      <a:pt x="775423" y="195682"/>
                      <a:pt x="775423" y="195682"/>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3966"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1058" y="408503"/>
                      <a:pt x="626056" y="408503"/>
                      <a:pt x="621053" y="408503"/>
                    </a:cubicBezTo>
                    <a:cubicBezTo>
                      <a:pt x="621053" y="408503"/>
                      <a:pt x="620338" y="408503"/>
                      <a:pt x="619624"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8751"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2330" y="9284"/>
                      <a:pt x="343044" y="9284"/>
                      <a:pt x="343759" y="9284"/>
                    </a:cubicBezTo>
                    <a:cubicBezTo>
                      <a:pt x="345188" y="8570"/>
                      <a:pt x="346618" y="8570"/>
                      <a:pt x="348047" y="7856"/>
                    </a:cubicBezTo>
                    <a:cubicBezTo>
                      <a:pt x="348762" y="7856"/>
                      <a:pt x="348762" y="7856"/>
                      <a:pt x="349476" y="7856"/>
                    </a:cubicBezTo>
                    <a:cubicBezTo>
                      <a:pt x="350906" y="7142"/>
                      <a:pt x="352335" y="6428"/>
                      <a:pt x="354479" y="6428"/>
                    </a:cubicBezTo>
                    <a:cubicBezTo>
                      <a:pt x="354479" y="6428"/>
                      <a:pt x="354479" y="5713"/>
                      <a:pt x="354479" y="5713"/>
                    </a:cubicBezTo>
                    <a:cubicBezTo>
                      <a:pt x="363770" y="3571"/>
                      <a:pt x="372346" y="2143"/>
                      <a:pt x="381637" y="1428"/>
                    </a:cubicBezTo>
                    <a:cubicBezTo>
                      <a:pt x="382352" y="714"/>
                      <a:pt x="383066" y="714"/>
                      <a:pt x="383781" y="714"/>
                    </a:cubicBezTo>
                    <a:cubicBezTo>
                      <a:pt x="385210" y="714"/>
                      <a:pt x="385925" y="714"/>
                      <a:pt x="387354" y="714"/>
                    </a:cubicBezTo>
                    <a:cubicBezTo>
                      <a:pt x="388069" y="714"/>
                      <a:pt x="389498" y="714"/>
                      <a:pt x="390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67" name="Group 66">
            <a:extLst>
              <a:ext uri="{FF2B5EF4-FFF2-40B4-BE49-F238E27FC236}">
                <a16:creationId xmlns:a16="http://schemas.microsoft.com/office/drawing/2014/main" id="{299B0C39-7324-4E6D-AC11-992C7179AEB5}"/>
              </a:ext>
            </a:extLst>
          </p:cNvPr>
          <p:cNvGrpSpPr>
            <a:grpSpLocks noChangeAspect="1"/>
          </p:cNvGrpSpPr>
          <p:nvPr/>
        </p:nvGrpSpPr>
        <p:grpSpPr>
          <a:xfrm>
            <a:off x="697628" y="5222180"/>
            <a:ext cx="763192" cy="762455"/>
            <a:chOff x="5273675" y="2606675"/>
            <a:chExt cx="1646238" cy="1644650"/>
          </a:xfrm>
        </p:grpSpPr>
        <p:sp>
          <p:nvSpPr>
            <p:cNvPr id="68" name="AutoShape 3">
              <a:extLst>
                <a:ext uri="{FF2B5EF4-FFF2-40B4-BE49-F238E27FC236}">
                  <a16:creationId xmlns:a16="http://schemas.microsoft.com/office/drawing/2014/main" id="{6E676C98-23A0-473A-8F9A-B31671B63A0F}"/>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6C4B4BDF-A1CE-46D3-9B23-D58AA9F7835B}"/>
                </a:ext>
              </a:extLst>
            </p:cNvPr>
            <p:cNvGrpSpPr/>
            <p:nvPr/>
          </p:nvGrpSpPr>
          <p:grpSpPr>
            <a:xfrm>
              <a:off x="5646738" y="2774950"/>
              <a:ext cx="900113" cy="1306513"/>
              <a:chOff x="5646738" y="2774950"/>
              <a:chExt cx="900113" cy="1306513"/>
            </a:xfrm>
          </p:grpSpPr>
          <p:sp>
            <p:nvSpPr>
              <p:cNvPr id="70" name="Freeform 5">
                <a:extLst>
                  <a:ext uri="{FF2B5EF4-FFF2-40B4-BE49-F238E27FC236}">
                    <a16:creationId xmlns:a16="http://schemas.microsoft.com/office/drawing/2014/main" id="{E5F9123B-235E-48B8-A2BC-8463F4299A50}"/>
                  </a:ext>
                </a:extLst>
              </p:cNvPr>
              <p:cNvSpPr>
                <a:spLocks/>
              </p:cNvSpPr>
              <p:nvPr/>
            </p:nvSpPr>
            <p:spPr bwMode="auto">
              <a:xfrm>
                <a:off x="5646738" y="2889250"/>
                <a:ext cx="900113" cy="1192213"/>
              </a:xfrm>
              <a:custGeom>
                <a:avLst/>
                <a:gdLst>
                  <a:gd name="T0" fmla="*/ 1236 w 1258"/>
                  <a:gd name="T1" fmla="*/ 0 h 1670"/>
                  <a:gd name="T2" fmla="*/ 876 w 1258"/>
                  <a:gd name="T3" fmla="*/ 0 h 1670"/>
                  <a:gd name="T4" fmla="*/ 876 w 1258"/>
                  <a:gd name="T5" fmla="*/ 44 h 1670"/>
                  <a:gd name="T6" fmla="*/ 1214 w 1258"/>
                  <a:gd name="T7" fmla="*/ 44 h 1670"/>
                  <a:gd name="T8" fmla="*/ 1214 w 1258"/>
                  <a:gd name="T9" fmla="*/ 1626 h 1670"/>
                  <a:gd name="T10" fmla="*/ 44 w 1258"/>
                  <a:gd name="T11" fmla="*/ 1626 h 1670"/>
                  <a:gd name="T12" fmla="*/ 44 w 1258"/>
                  <a:gd name="T13" fmla="*/ 44 h 1670"/>
                  <a:gd name="T14" fmla="*/ 382 w 1258"/>
                  <a:gd name="T15" fmla="*/ 44 h 1670"/>
                  <a:gd name="T16" fmla="*/ 382 w 1258"/>
                  <a:gd name="T17" fmla="*/ 0 h 1670"/>
                  <a:gd name="T18" fmla="*/ 22 w 1258"/>
                  <a:gd name="T19" fmla="*/ 0 h 1670"/>
                  <a:gd name="T20" fmla="*/ 0 w 1258"/>
                  <a:gd name="T21" fmla="*/ 22 h 1670"/>
                  <a:gd name="T22" fmla="*/ 0 w 1258"/>
                  <a:gd name="T23" fmla="*/ 1648 h 1670"/>
                  <a:gd name="T24" fmla="*/ 22 w 1258"/>
                  <a:gd name="T25" fmla="*/ 1670 h 1670"/>
                  <a:gd name="T26" fmla="*/ 1236 w 1258"/>
                  <a:gd name="T27" fmla="*/ 1670 h 1670"/>
                  <a:gd name="T28" fmla="*/ 1258 w 1258"/>
                  <a:gd name="T29" fmla="*/ 1648 h 1670"/>
                  <a:gd name="T30" fmla="*/ 1258 w 1258"/>
                  <a:gd name="T31" fmla="*/ 22 h 1670"/>
                  <a:gd name="T32" fmla="*/ 1236 w 1258"/>
                  <a:gd name="T33" fmla="*/ 0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8" h="1670">
                    <a:moveTo>
                      <a:pt x="1236" y="0"/>
                    </a:move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ubicBezTo>
                      <a:pt x="1236" y="1670"/>
                      <a:pt x="1236" y="1670"/>
                      <a:pt x="1236" y="1670"/>
                    </a:cubicBezTo>
                    <a:cubicBezTo>
                      <a:pt x="1249" y="1670"/>
                      <a:pt x="1258" y="1661"/>
                      <a:pt x="1258" y="1648"/>
                    </a:cubicBezTo>
                    <a:cubicBezTo>
                      <a:pt x="1258" y="22"/>
                      <a:pt x="1258" y="22"/>
                      <a:pt x="1258" y="22"/>
                    </a:cubicBezTo>
                    <a:cubicBezTo>
                      <a:pt x="1258" y="10"/>
                      <a:pt x="1249" y="0"/>
                      <a:pt x="123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1">
                <a:extLst>
                  <a:ext uri="{FF2B5EF4-FFF2-40B4-BE49-F238E27FC236}">
                    <a16:creationId xmlns:a16="http://schemas.microsoft.com/office/drawing/2014/main" id="{E154CAD6-05E1-47B6-9374-BD72D08EC1AF}"/>
                  </a:ext>
                </a:extLst>
              </p:cNvPr>
              <p:cNvSpPr>
                <a:spLocks/>
              </p:cNvSpPr>
              <p:nvPr/>
            </p:nvSpPr>
            <p:spPr bwMode="auto">
              <a:xfrm>
                <a:off x="5783263" y="2774950"/>
                <a:ext cx="627063" cy="1089025"/>
              </a:xfrm>
              <a:custGeom>
                <a:avLst/>
                <a:gdLst>
                  <a:gd name="connsiteX0" fmla="*/ 15713 w 627063"/>
                  <a:gd name="connsiteY0" fmla="*/ 1057275 h 1089025"/>
                  <a:gd name="connsiteX1" fmla="*/ 611351 w 627063"/>
                  <a:gd name="connsiteY1" fmla="*/ 1057275 h 1089025"/>
                  <a:gd name="connsiteX2" fmla="*/ 627063 w 627063"/>
                  <a:gd name="connsiteY2" fmla="*/ 1073150 h 1089025"/>
                  <a:gd name="connsiteX3" fmla="*/ 611351 w 627063"/>
                  <a:gd name="connsiteY3" fmla="*/ 1089025 h 1089025"/>
                  <a:gd name="connsiteX4" fmla="*/ 15713 w 627063"/>
                  <a:gd name="connsiteY4" fmla="*/ 1089025 h 1089025"/>
                  <a:gd name="connsiteX5" fmla="*/ 0 w 627063"/>
                  <a:gd name="connsiteY5" fmla="*/ 1073150 h 1089025"/>
                  <a:gd name="connsiteX6" fmla="*/ 15713 w 627063"/>
                  <a:gd name="connsiteY6" fmla="*/ 1057275 h 1089025"/>
                  <a:gd name="connsiteX7" fmla="*/ 15713 w 627063"/>
                  <a:gd name="connsiteY7" fmla="*/ 941388 h 1089025"/>
                  <a:gd name="connsiteX8" fmla="*/ 611351 w 627063"/>
                  <a:gd name="connsiteY8" fmla="*/ 941388 h 1089025"/>
                  <a:gd name="connsiteX9" fmla="*/ 627063 w 627063"/>
                  <a:gd name="connsiteY9" fmla="*/ 957263 h 1089025"/>
                  <a:gd name="connsiteX10" fmla="*/ 611351 w 627063"/>
                  <a:gd name="connsiteY10" fmla="*/ 973138 h 1089025"/>
                  <a:gd name="connsiteX11" fmla="*/ 15713 w 627063"/>
                  <a:gd name="connsiteY11" fmla="*/ 973138 h 1089025"/>
                  <a:gd name="connsiteX12" fmla="*/ 0 w 627063"/>
                  <a:gd name="connsiteY12" fmla="*/ 957263 h 1089025"/>
                  <a:gd name="connsiteX13" fmla="*/ 15713 w 627063"/>
                  <a:gd name="connsiteY13" fmla="*/ 941388 h 1089025"/>
                  <a:gd name="connsiteX14" fmla="*/ 15713 w 627063"/>
                  <a:gd name="connsiteY14" fmla="*/ 825500 h 1089025"/>
                  <a:gd name="connsiteX15" fmla="*/ 611351 w 627063"/>
                  <a:gd name="connsiteY15" fmla="*/ 825500 h 1089025"/>
                  <a:gd name="connsiteX16" fmla="*/ 627063 w 627063"/>
                  <a:gd name="connsiteY16" fmla="*/ 841375 h 1089025"/>
                  <a:gd name="connsiteX17" fmla="*/ 611351 w 627063"/>
                  <a:gd name="connsiteY17" fmla="*/ 857250 h 1089025"/>
                  <a:gd name="connsiteX18" fmla="*/ 15713 w 627063"/>
                  <a:gd name="connsiteY18" fmla="*/ 857250 h 1089025"/>
                  <a:gd name="connsiteX19" fmla="*/ 0 w 627063"/>
                  <a:gd name="connsiteY19" fmla="*/ 841375 h 1089025"/>
                  <a:gd name="connsiteX20" fmla="*/ 15713 w 627063"/>
                  <a:gd name="connsiteY20" fmla="*/ 825500 h 1089025"/>
                  <a:gd name="connsiteX21" fmla="*/ 15713 w 627063"/>
                  <a:gd name="connsiteY21" fmla="*/ 709613 h 1089025"/>
                  <a:gd name="connsiteX22" fmla="*/ 611351 w 627063"/>
                  <a:gd name="connsiteY22" fmla="*/ 709613 h 1089025"/>
                  <a:gd name="connsiteX23" fmla="*/ 627063 w 627063"/>
                  <a:gd name="connsiteY23" fmla="*/ 725488 h 1089025"/>
                  <a:gd name="connsiteX24" fmla="*/ 611351 w 627063"/>
                  <a:gd name="connsiteY24" fmla="*/ 741363 h 1089025"/>
                  <a:gd name="connsiteX25" fmla="*/ 15713 w 627063"/>
                  <a:gd name="connsiteY25" fmla="*/ 741363 h 1089025"/>
                  <a:gd name="connsiteX26" fmla="*/ 0 w 627063"/>
                  <a:gd name="connsiteY26" fmla="*/ 725488 h 1089025"/>
                  <a:gd name="connsiteX27" fmla="*/ 15713 w 627063"/>
                  <a:gd name="connsiteY27" fmla="*/ 709613 h 1089025"/>
                  <a:gd name="connsiteX28" fmla="*/ 15713 w 627063"/>
                  <a:gd name="connsiteY28" fmla="*/ 593725 h 1089025"/>
                  <a:gd name="connsiteX29" fmla="*/ 611351 w 627063"/>
                  <a:gd name="connsiteY29" fmla="*/ 593725 h 1089025"/>
                  <a:gd name="connsiteX30" fmla="*/ 627063 w 627063"/>
                  <a:gd name="connsiteY30" fmla="*/ 609600 h 1089025"/>
                  <a:gd name="connsiteX31" fmla="*/ 611351 w 627063"/>
                  <a:gd name="connsiteY31" fmla="*/ 625475 h 1089025"/>
                  <a:gd name="connsiteX32" fmla="*/ 15713 w 627063"/>
                  <a:gd name="connsiteY32" fmla="*/ 625475 h 1089025"/>
                  <a:gd name="connsiteX33" fmla="*/ 0 w 627063"/>
                  <a:gd name="connsiteY33" fmla="*/ 609600 h 1089025"/>
                  <a:gd name="connsiteX34" fmla="*/ 15713 w 627063"/>
                  <a:gd name="connsiteY34" fmla="*/ 593725 h 1089025"/>
                  <a:gd name="connsiteX35" fmla="*/ 15713 w 627063"/>
                  <a:gd name="connsiteY35" fmla="*/ 477838 h 1089025"/>
                  <a:gd name="connsiteX36" fmla="*/ 611351 w 627063"/>
                  <a:gd name="connsiteY36" fmla="*/ 477838 h 1089025"/>
                  <a:gd name="connsiteX37" fmla="*/ 627063 w 627063"/>
                  <a:gd name="connsiteY37" fmla="*/ 493713 h 1089025"/>
                  <a:gd name="connsiteX38" fmla="*/ 611351 w 627063"/>
                  <a:gd name="connsiteY38" fmla="*/ 509588 h 1089025"/>
                  <a:gd name="connsiteX39" fmla="*/ 15713 w 627063"/>
                  <a:gd name="connsiteY39" fmla="*/ 509588 h 1089025"/>
                  <a:gd name="connsiteX40" fmla="*/ 0 w 627063"/>
                  <a:gd name="connsiteY40" fmla="*/ 493713 h 1089025"/>
                  <a:gd name="connsiteX41" fmla="*/ 15713 w 627063"/>
                  <a:gd name="connsiteY41" fmla="*/ 477838 h 1089025"/>
                  <a:gd name="connsiteX42" fmla="*/ 15713 w 627063"/>
                  <a:gd name="connsiteY42" fmla="*/ 361950 h 1089025"/>
                  <a:gd name="connsiteX43" fmla="*/ 611351 w 627063"/>
                  <a:gd name="connsiteY43" fmla="*/ 361950 h 1089025"/>
                  <a:gd name="connsiteX44" fmla="*/ 627063 w 627063"/>
                  <a:gd name="connsiteY44" fmla="*/ 377825 h 1089025"/>
                  <a:gd name="connsiteX45" fmla="*/ 611351 w 627063"/>
                  <a:gd name="connsiteY45" fmla="*/ 393700 h 1089025"/>
                  <a:gd name="connsiteX46" fmla="*/ 15713 w 627063"/>
                  <a:gd name="connsiteY46" fmla="*/ 393700 h 1089025"/>
                  <a:gd name="connsiteX47" fmla="*/ 0 w 627063"/>
                  <a:gd name="connsiteY47" fmla="*/ 377825 h 1089025"/>
                  <a:gd name="connsiteX48" fmla="*/ 15713 w 627063"/>
                  <a:gd name="connsiteY48" fmla="*/ 361950 h 1089025"/>
                  <a:gd name="connsiteX49" fmla="*/ 313532 w 627063"/>
                  <a:gd name="connsiteY49" fmla="*/ 31750 h 1089025"/>
                  <a:gd name="connsiteX50" fmla="*/ 291134 w 627063"/>
                  <a:gd name="connsiteY50" fmla="*/ 35314 h 1089025"/>
                  <a:gd name="connsiteX51" fmla="*/ 257175 w 627063"/>
                  <a:gd name="connsiteY51" fmla="*/ 66675 h 1089025"/>
                  <a:gd name="connsiteX52" fmla="*/ 369888 w 627063"/>
                  <a:gd name="connsiteY52" fmla="*/ 66675 h 1089025"/>
                  <a:gd name="connsiteX53" fmla="*/ 335930 w 627063"/>
                  <a:gd name="connsiteY53" fmla="*/ 35314 h 1089025"/>
                  <a:gd name="connsiteX54" fmla="*/ 313532 w 627063"/>
                  <a:gd name="connsiteY54" fmla="*/ 31750 h 1089025"/>
                  <a:gd name="connsiteX55" fmla="*/ 313532 w 627063"/>
                  <a:gd name="connsiteY55" fmla="*/ 0 h 1089025"/>
                  <a:gd name="connsiteX56" fmla="*/ 386160 w 627063"/>
                  <a:gd name="connsiteY56" fmla="*/ 34890 h 1089025"/>
                  <a:gd name="connsiteX57" fmla="*/ 402537 w 627063"/>
                  <a:gd name="connsiteY57" fmla="*/ 66220 h 1089025"/>
                  <a:gd name="connsiteX58" fmla="*/ 451668 w 627063"/>
                  <a:gd name="connsiteY58" fmla="*/ 66220 h 1089025"/>
                  <a:gd name="connsiteX59" fmla="*/ 458788 w 627063"/>
                  <a:gd name="connsiteY59" fmla="*/ 73340 h 1089025"/>
                  <a:gd name="connsiteX60" fmla="*/ 458788 w 627063"/>
                  <a:gd name="connsiteY60" fmla="*/ 113927 h 1089025"/>
                  <a:gd name="connsiteX61" fmla="*/ 458788 w 627063"/>
                  <a:gd name="connsiteY61" fmla="*/ 145256 h 1089025"/>
                  <a:gd name="connsiteX62" fmla="*/ 458788 w 627063"/>
                  <a:gd name="connsiteY62" fmla="*/ 178010 h 1089025"/>
                  <a:gd name="connsiteX63" fmla="*/ 443123 w 627063"/>
                  <a:gd name="connsiteY63" fmla="*/ 193675 h 1089025"/>
                  <a:gd name="connsiteX64" fmla="*/ 183940 w 627063"/>
                  <a:gd name="connsiteY64" fmla="*/ 193675 h 1089025"/>
                  <a:gd name="connsiteX65" fmla="*/ 168275 w 627063"/>
                  <a:gd name="connsiteY65" fmla="*/ 178010 h 1089025"/>
                  <a:gd name="connsiteX66" fmla="*/ 168275 w 627063"/>
                  <a:gd name="connsiteY66" fmla="*/ 145256 h 1089025"/>
                  <a:gd name="connsiteX67" fmla="*/ 168275 w 627063"/>
                  <a:gd name="connsiteY67" fmla="*/ 113927 h 1089025"/>
                  <a:gd name="connsiteX68" fmla="*/ 168275 w 627063"/>
                  <a:gd name="connsiteY68" fmla="*/ 73340 h 1089025"/>
                  <a:gd name="connsiteX69" fmla="*/ 175396 w 627063"/>
                  <a:gd name="connsiteY69" fmla="*/ 66220 h 1089025"/>
                  <a:gd name="connsiteX70" fmla="*/ 224527 w 627063"/>
                  <a:gd name="connsiteY70" fmla="*/ 66220 h 1089025"/>
                  <a:gd name="connsiteX71" fmla="*/ 240903 w 627063"/>
                  <a:gd name="connsiteY71" fmla="*/ 34890 h 1089025"/>
                  <a:gd name="connsiteX72" fmla="*/ 313532 w 627063"/>
                  <a:gd name="connsiteY72" fmla="*/ 0 h 108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27063" h="1089025">
                    <a:moveTo>
                      <a:pt x="15713" y="1057275"/>
                    </a:moveTo>
                    <a:cubicBezTo>
                      <a:pt x="15713" y="1057275"/>
                      <a:pt x="15713" y="1057275"/>
                      <a:pt x="611351" y="1057275"/>
                    </a:cubicBezTo>
                    <a:cubicBezTo>
                      <a:pt x="620635" y="1057275"/>
                      <a:pt x="627063" y="1064491"/>
                      <a:pt x="627063" y="1073150"/>
                    </a:cubicBezTo>
                    <a:cubicBezTo>
                      <a:pt x="627063" y="1081809"/>
                      <a:pt x="620635" y="1089025"/>
                      <a:pt x="611351" y="1089025"/>
                    </a:cubicBezTo>
                    <a:cubicBezTo>
                      <a:pt x="611351" y="1089025"/>
                      <a:pt x="611351" y="1089025"/>
                      <a:pt x="15713" y="1089025"/>
                    </a:cubicBezTo>
                    <a:cubicBezTo>
                      <a:pt x="6428" y="1089025"/>
                      <a:pt x="0" y="1081809"/>
                      <a:pt x="0" y="1073150"/>
                    </a:cubicBezTo>
                    <a:cubicBezTo>
                      <a:pt x="0" y="1064491"/>
                      <a:pt x="6428" y="1057275"/>
                      <a:pt x="15713" y="1057275"/>
                    </a:cubicBezTo>
                    <a:close/>
                    <a:moveTo>
                      <a:pt x="15713" y="941388"/>
                    </a:moveTo>
                    <a:cubicBezTo>
                      <a:pt x="15713" y="941388"/>
                      <a:pt x="15713" y="941388"/>
                      <a:pt x="611351" y="941388"/>
                    </a:cubicBezTo>
                    <a:cubicBezTo>
                      <a:pt x="620635" y="941388"/>
                      <a:pt x="627063" y="948604"/>
                      <a:pt x="627063" y="957263"/>
                    </a:cubicBezTo>
                    <a:cubicBezTo>
                      <a:pt x="627063" y="965922"/>
                      <a:pt x="620635" y="973138"/>
                      <a:pt x="611351" y="973138"/>
                    </a:cubicBezTo>
                    <a:cubicBezTo>
                      <a:pt x="611351" y="973138"/>
                      <a:pt x="611351" y="973138"/>
                      <a:pt x="15713" y="973138"/>
                    </a:cubicBezTo>
                    <a:cubicBezTo>
                      <a:pt x="6428" y="973138"/>
                      <a:pt x="0" y="965922"/>
                      <a:pt x="0" y="957263"/>
                    </a:cubicBezTo>
                    <a:cubicBezTo>
                      <a:pt x="0" y="948604"/>
                      <a:pt x="6428" y="941388"/>
                      <a:pt x="15713" y="941388"/>
                    </a:cubicBezTo>
                    <a:close/>
                    <a:moveTo>
                      <a:pt x="15713" y="825500"/>
                    </a:moveTo>
                    <a:cubicBezTo>
                      <a:pt x="15713" y="825500"/>
                      <a:pt x="15713" y="825500"/>
                      <a:pt x="611351" y="825500"/>
                    </a:cubicBezTo>
                    <a:cubicBezTo>
                      <a:pt x="620635" y="825500"/>
                      <a:pt x="627063" y="832716"/>
                      <a:pt x="627063" y="841375"/>
                    </a:cubicBezTo>
                    <a:cubicBezTo>
                      <a:pt x="627063" y="850756"/>
                      <a:pt x="620635" y="857250"/>
                      <a:pt x="611351" y="857250"/>
                    </a:cubicBezTo>
                    <a:cubicBezTo>
                      <a:pt x="611351" y="857250"/>
                      <a:pt x="611351" y="857250"/>
                      <a:pt x="15713" y="857250"/>
                    </a:cubicBezTo>
                    <a:cubicBezTo>
                      <a:pt x="6428" y="857250"/>
                      <a:pt x="0" y="850756"/>
                      <a:pt x="0" y="841375"/>
                    </a:cubicBezTo>
                    <a:cubicBezTo>
                      <a:pt x="0" y="832716"/>
                      <a:pt x="6428" y="825500"/>
                      <a:pt x="15713" y="825500"/>
                    </a:cubicBezTo>
                    <a:close/>
                    <a:moveTo>
                      <a:pt x="15713" y="709613"/>
                    </a:moveTo>
                    <a:cubicBezTo>
                      <a:pt x="15713" y="709613"/>
                      <a:pt x="15713" y="709613"/>
                      <a:pt x="611351" y="709613"/>
                    </a:cubicBezTo>
                    <a:cubicBezTo>
                      <a:pt x="620635" y="709613"/>
                      <a:pt x="627063" y="716829"/>
                      <a:pt x="627063" y="725488"/>
                    </a:cubicBezTo>
                    <a:cubicBezTo>
                      <a:pt x="627063" y="734147"/>
                      <a:pt x="620635" y="741363"/>
                      <a:pt x="611351" y="741363"/>
                    </a:cubicBezTo>
                    <a:cubicBezTo>
                      <a:pt x="611351" y="741363"/>
                      <a:pt x="611351" y="741363"/>
                      <a:pt x="15713" y="741363"/>
                    </a:cubicBezTo>
                    <a:cubicBezTo>
                      <a:pt x="6428" y="741363"/>
                      <a:pt x="0" y="734147"/>
                      <a:pt x="0" y="725488"/>
                    </a:cubicBezTo>
                    <a:cubicBezTo>
                      <a:pt x="0" y="716829"/>
                      <a:pt x="6428" y="709613"/>
                      <a:pt x="15713" y="709613"/>
                    </a:cubicBezTo>
                    <a:close/>
                    <a:moveTo>
                      <a:pt x="15713" y="593725"/>
                    </a:moveTo>
                    <a:cubicBezTo>
                      <a:pt x="15713" y="593725"/>
                      <a:pt x="15713" y="593725"/>
                      <a:pt x="611351" y="593725"/>
                    </a:cubicBezTo>
                    <a:cubicBezTo>
                      <a:pt x="620635" y="593725"/>
                      <a:pt x="627063" y="600941"/>
                      <a:pt x="627063" y="609600"/>
                    </a:cubicBezTo>
                    <a:cubicBezTo>
                      <a:pt x="627063" y="618259"/>
                      <a:pt x="620635" y="625475"/>
                      <a:pt x="611351" y="625475"/>
                    </a:cubicBezTo>
                    <a:cubicBezTo>
                      <a:pt x="611351" y="625475"/>
                      <a:pt x="611351" y="625475"/>
                      <a:pt x="15713" y="625475"/>
                    </a:cubicBezTo>
                    <a:cubicBezTo>
                      <a:pt x="6428" y="625475"/>
                      <a:pt x="0" y="618259"/>
                      <a:pt x="0" y="609600"/>
                    </a:cubicBezTo>
                    <a:cubicBezTo>
                      <a:pt x="0" y="600941"/>
                      <a:pt x="6428" y="593725"/>
                      <a:pt x="15713" y="593725"/>
                    </a:cubicBezTo>
                    <a:close/>
                    <a:moveTo>
                      <a:pt x="15713" y="477838"/>
                    </a:moveTo>
                    <a:cubicBezTo>
                      <a:pt x="15713" y="477838"/>
                      <a:pt x="15713" y="477838"/>
                      <a:pt x="611351" y="477838"/>
                    </a:cubicBezTo>
                    <a:cubicBezTo>
                      <a:pt x="620635" y="477838"/>
                      <a:pt x="627063" y="484332"/>
                      <a:pt x="627063" y="493713"/>
                    </a:cubicBezTo>
                    <a:cubicBezTo>
                      <a:pt x="627063" y="502372"/>
                      <a:pt x="620635" y="509588"/>
                      <a:pt x="611351" y="509588"/>
                    </a:cubicBezTo>
                    <a:cubicBezTo>
                      <a:pt x="611351" y="509588"/>
                      <a:pt x="611351" y="509588"/>
                      <a:pt x="15713" y="509588"/>
                    </a:cubicBezTo>
                    <a:cubicBezTo>
                      <a:pt x="6428" y="509588"/>
                      <a:pt x="0" y="502372"/>
                      <a:pt x="0" y="493713"/>
                    </a:cubicBezTo>
                    <a:cubicBezTo>
                      <a:pt x="0" y="484332"/>
                      <a:pt x="6428" y="477838"/>
                      <a:pt x="15713" y="477838"/>
                    </a:cubicBezTo>
                    <a:close/>
                    <a:moveTo>
                      <a:pt x="15713" y="361950"/>
                    </a:moveTo>
                    <a:cubicBezTo>
                      <a:pt x="15713" y="361950"/>
                      <a:pt x="15713" y="361950"/>
                      <a:pt x="611351" y="361950"/>
                    </a:cubicBezTo>
                    <a:cubicBezTo>
                      <a:pt x="620635" y="361950"/>
                      <a:pt x="627063" y="369166"/>
                      <a:pt x="627063" y="377825"/>
                    </a:cubicBezTo>
                    <a:cubicBezTo>
                      <a:pt x="627063" y="386484"/>
                      <a:pt x="620635" y="393700"/>
                      <a:pt x="611351" y="393700"/>
                    </a:cubicBezTo>
                    <a:cubicBezTo>
                      <a:pt x="611351" y="393700"/>
                      <a:pt x="611351" y="393700"/>
                      <a:pt x="15713" y="393700"/>
                    </a:cubicBezTo>
                    <a:cubicBezTo>
                      <a:pt x="6428" y="393700"/>
                      <a:pt x="0" y="386484"/>
                      <a:pt x="0" y="377825"/>
                    </a:cubicBezTo>
                    <a:cubicBezTo>
                      <a:pt x="0" y="369166"/>
                      <a:pt x="6428" y="361950"/>
                      <a:pt x="15713" y="361950"/>
                    </a:cubicBezTo>
                    <a:close/>
                    <a:moveTo>
                      <a:pt x="313532" y="31750"/>
                    </a:moveTo>
                    <a:cubicBezTo>
                      <a:pt x="305584" y="31750"/>
                      <a:pt x="298359" y="33176"/>
                      <a:pt x="291134" y="35314"/>
                    </a:cubicBezTo>
                    <a:cubicBezTo>
                      <a:pt x="276683" y="41016"/>
                      <a:pt x="264400" y="52420"/>
                      <a:pt x="257175" y="66675"/>
                    </a:cubicBezTo>
                    <a:cubicBezTo>
                      <a:pt x="257175" y="66675"/>
                      <a:pt x="257175" y="66675"/>
                      <a:pt x="369888" y="66675"/>
                    </a:cubicBezTo>
                    <a:cubicBezTo>
                      <a:pt x="362663" y="52420"/>
                      <a:pt x="350380" y="41016"/>
                      <a:pt x="335930" y="35314"/>
                    </a:cubicBezTo>
                    <a:cubicBezTo>
                      <a:pt x="328705" y="33176"/>
                      <a:pt x="321479" y="31750"/>
                      <a:pt x="313532" y="31750"/>
                    </a:cubicBezTo>
                    <a:close/>
                    <a:moveTo>
                      <a:pt x="313532" y="0"/>
                    </a:moveTo>
                    <a:cubicBezTo>
                      <a:pt x="342725" y="0"/>
                      <a:pt x="369071" y="13529"/>
                      <a:pt x="386160" y="34890"/>
                    </a:cubicBezTo>
                    <a:cubicBezTo>
                      <a:pt x="393280" y="44147"/>
                      <a:pt x="398977" y="54827"/>
                      <a:pt x="402537" y="66220"/>
                    </a:cubicBezTo>
                    <a:cubicBezTo>
                      <a:pt x="402537" y="66220"/>
                      <a:pt x="402537" y="66220"/>
                      <a:pt x="451668" y="66220"/>
                    </a:cubicBezTo>
                    <a:cubicBezTo>
                      <a:pt x="455228" y="66220"/>
                      <a:pt x="458788" y="69068"/>
                      <a:pt x="458788" y="73340"/>
                    </a:cubicBezTo>
                    <a:cubicBezTo>
                      <a:pt x="458788" y="73340"/>
                      <a:pt x="458788" y="73340"/>
                      <a:pt x="458788" y="113927"/>
                    </a:cubicBezTo>
                    <a:cubicBezTo>
                      <a:pt x="458788" y="113927"/>
                      <a:pt x="458788" y="113927"/>
                      <a:pt x="458788" y="145256"/>
                    </a:cubicBezTo>
                    <a:cubicBezTo>
                      <a:pt x="458788" y="145256"/>
                      <a:pt x="458788" y="145256"/>
                      <a:pt x="458788" y="178010"/>
                    </a:cubicBezTo>
                    <a:cubicBezTo>
                      <a:pt x="458788" y="186555"/>
                      <a:pt x="451668" y="193675"/>
                      <a:pt x="443123" y="193675"/>
                    </a:cubicBezTo>
                    <a:cubicBezTo>
                      <a:pt x="443123" y="193675"/>
                      <a:pt x="443123" y="193675"/>
                      <a:pt x="183940" y="193675"/>
                    </a:cubicBezTo>
                    <a:cubicBezTo>
                      <a:pt x="175396" y="193675"/>
                      <a:pt x="168275" y="186555"/>
                      <a:pt x="168275" y="178010"/>
                    </a:cubicBezTo>
                    <a:cubicBezTo>
                      <a:pt x="168275" y="178010"/>
                      <a:pt x="168275" y="178010"/>
                      <a:pt x="168275" y="145256"/>
                    </a:cubicBezTo>
                    <a:cubicBezTo>
                      <a:pt x="168275" y="145256"/>
                      <a:pt x="168275" y="145256"/>
                      <a:pt x="168275" y="113927"/>
                    </a:cubicBezTo>
                    <a:cubicBezTo>
                      <a:pt x="168275" y="113927"/>
                      <a:pt x="168275" y="113927"/>
                      <a:pt x="168275" y="73340"/>
                    </a:cubicBezTo>
                    <a:cubicBezTo>
                      <a:pt x="168275" y="69068"/>
                      <a:pt x="171835" y="66220"/>
                      <a:pt x="175396" y="66220"/>
                    </a:cubicBezTo>
                    <a:cubicBezTo>
                      <a:pt x="175396" y="66220"/>
                      <a:pt x="175396" y="66220"/>
                      <a:pt x="224527" y="66220"/>
                    </a:cubicBezTo>
                    <a:cubicBezTo>
                      <a:pt x="228087" y="54827"/>
                      <a:pt x="233783" y="44147"/>
                      <a:pt x="240903" y="34890"/>
                    </a:cubicBezTo>
                    <a:cubicBezTo>
                      <a:pt x="257992" y="13529"/>
                      <a:pt x="284338" y="0"/>
                      <a:pt x="3135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sp>
        <p:nvSpPr>
          <p:cNvPr id="72" name="TextBox 71">
            <a:extLst>
              <a:ext uri="{FF2B5EF4-FFF2-40B4-BE49-F238E27FC236}">
                <a16:creationId xmlns:a16="http://schemas.microsoft.com/office/drawing/2014/main" id="{65F9EC66-616F-4B8F-8401-29C0A4E4D6EB}"/>
              </a:ext>
            </a:extLst>
          </p:cNvPr>
          <p:cNvSpPr txBox="1"/>
          <p:nvPr/>
        </p:nvSpPr>
        <p:spPr>
          <a:xfrm>
            <a:off x="1711201" y="2203282"/>
            <a:ext cx="5050279" cy="570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3850" lvl="1" indent="-215900">
              <a:buClr>
                <a:schemeClr val="tx2"/>
              </a:buClr>
              <a:buSzPct val="100000"/>
              <a:buFont typeface="Trebuchet MS" panose="020B0603020202020204" pitchFamily="34" charset="0"/>
              <a:buChar char="•"/>
            </a:pPr>
            <a:r>
              <a:rPr lang="en-US" sz="1600">
                <a:solidFill>
                  <a:schemeClr val="tx1">
                    <a:lumMod val="100000"/>
                  </a:schemeClr>
                </a:solidFill>
                <a:latin typeface="Trebuchet MS"/>
              </a:rPr>
              <a:t>Develop a solution to enable effective allocation of bus schedule based on demand</a:t>
            </a:r>
            <a:endParaRPr lang="en-US" sz="1600">
              <a:solidFill>
                <a:schemeClr val="tx1">
                  <a:lumMod val="100000"/>
                </a:schemeClr>
              </a:solidFill>
              <a:latin typeface="Trebuchet MS" panose="020B0603020202020204" pitchFamily="34" charset="0"/>
            </a:endParaRPr>
          </a:p>
        </p:txBody>
      </p:sp>
      <p:sp>
        <p:nvSpPr>
          <p:cNvPr id="73" name="TextBox 72">
            <a:extLst>
              <a:ext uri="{FF2B5EF4-FFF2-40B4-BE49-F238E27FC236}">
                <a16:creationId xmlns:a16="http://schemas.microsoft.com/office/drawing/2014/main" id="{369CE325-0D8B-4331-A6A7-E86200883FFF}"/>
              </a:ext>
            </a:extLst>
          </p:cNvPr>
          <p:cNvSpPr txBox="1"/>
          <p:nvPr/>
        </p:nvSpPr>
        <p:spPr>
          <a:xfrm>
            <a:off x="1711201" y="3862224"/>
            <a:ext cx="5050279" cy="570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3850" lvl="1" indent="-215900">
              <a:buClr>
                <a:schemeClr val="tx2"/>
              </a:buClr>
              <a:buSzPct val="100000"/>
              <a:buFont typeface="Trebuchet MS" panose="020B0603020202020204" pitchFamily="34" charset="0"/>
              <a:buChar char="•"/>
            </a:pPr>
            <a:r>
              <a:rPr lang="en-US" sz="1600">
                <a:solidFill>
                  <a:schemeClr val="tx1">
                    <a:lumMod val="100000"/>
                  </a:schemeClr>
                </a:solidFill>
                <a:latin typeface="Trebuchet MS"/>
              </a:rPr>
              <a:t>Demands of guests during peak periods not met, and inefficient use of resources during off-peak periods</a:t>
            </a:r>
            <a:endParaRPr lang="en-US" sz="1600">
              <a:solidFill>
                <a:schemeClr val="tx1">
                  <a:lumMod val="100000"/>
                </a:schemeClr>
              </a:solidFill>
              <a:latin typeface="Trebuchet MS" panose="020B0603020202020204" pitchFamily="34" charset="0"/>
            </a:endParaRPr>
          </a:p>
        </p:txBody>
      </p:sp>
      <p:sp>
        <p:nvSpPr>
          <p:cNvPr id="74" name="TextBox 73">
            <a:extLst>
              <a:ext uri="{FF2B5EF4-FFF2-40B4-BE49-F238E27FC236}">
                <a16:creationId xmlns:a16="http://schemas.microsoft.com/office/drawing/2014/main" id="{E47B854F-35A3-41BB-975A-B1950D409CD0}"/>
              </a:ext>
            </a:extLst>
          </p:cNvPr>
          <p:cNvSpPr txBox="1"/>
          <p:nvPr/>
        </p:nvSpPr>
        <p:spPr>
          <a:xfrm>
            <a:off x="1711201" y="5521165"/>
            <a:ext cx="5050279" cy="570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3850" lvl="1" indent="-215900">
              <a:buClr>
                <a:schemeClr val="tx2"/>
              </a:buClr>
              <a:buSzPct val="100000"/>
              <a:buFont typeface="Trebuchet MS" panose="020B0603020202020204" pitchFamily="34" charset="0"/>
              <a:buChar char="•"/>
            </a:pPr>
            <a:r>
              <a:rPr lang="en-US" sz="1600">
                <a:solidFill>
                  <a:schemeClr val="tx1">
                    <a:lumMod val="100000"/>
                  </a:schemeClr>
                </a:solidFill>
                <a:latin typeface="Trebuchet MS"/>
              </a:rPr>
              <a:t>Manual management of bus operation – radio over counterparts to dispatch buses to meet demand</a:t>
            </a:r>
            <a:endParaRPr lang="en-US" sz="1600">
              <a:solidFill>
                <a:schemeClr val="tx1">
                  <a:lumMod val="100000"/>
                </a:schemeClr>
              </a:solidFill>
              <a:latin typeface="Trebuchet MS" panose="020B0603020202020204" pitchFamily="34" charset="0"/>
            </a:endParaRPr>
          </a:p>
        </p:txBody>
      </p:sp>
      <p:sp>
        <p:nvSpPr>
          <p:cNvPr id="75" name="TextBox 74">
            <a:extLst>
              <a:ext uri="{FF2B5EF4-FFF2-40B4-BE49-F238E27FC236}">
                <a16:creationId xmlns:a16="http://schemas.microsoft.com/office/drawing/2014/main" id="{17A161B2-27A5-4A69-8154-8169987D9A55}"/>
              </a:ext>
            </a:extLst>
          </p:cNvPr>
          <p:cNvSpPr txBox="1"/>
          <p:nvPr/>
        </p:nvSpPr>
        <p:spPr>
          <a:xfrm>
            <a:off x="1711201" y="1940508"/>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solidFill>
                  <a:srgbClr val="171D3C"/>
                </a:solidFill>
              </a:rPr>
              <a:t>Problem faced by Sentosa</a:t>
            </a:r>
          </a:p>
        </p:txBody>
      </p:sp>
      <p:sp>
        <p:nvSpPr>
          <p:cNvPr id="76" name="TextBox 75">
            <a:extLst>
              <a:ext uri="{FF2B5EF4-FFF2-40B4-BE49-F238E27FC236}">
                <a16:creationId xmlns:a16="http://schemas.microsoft.com/office/drawing/2014/main" id="{999AFC43-1C83-4477-9BF7-57F07EF5E9EB}"/>
              </a:ext>
            </a:extLst>
          </p:cNvPr>
          <p:cNvSpPr txBox="1"/>
          <p:nvPr/>
        </p:nvSpPr>
        <p:spPr>
          <a:xfrm>
            <a:off x="1711201" y="3599450"/>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solidFill>
                  <a:srgbClr val="171D3C"/>
                </a:solidFill>
              </a:rPr>
              <a:t>Why is it important?</a:t>
            </a:r>
          </a:p>
        </p:txBody>
      </p:sp>
      <p:sp>
        <p:nvSpPr>
          <p:cNvPr id="77" name="TextBox 76">
            <a:extLst>
              <a:ext uri="{FF2B5EF4-FFF2-40B4-BE49-F238E27FC236}">
                <a16:creationId xmlns:a16="http://schemas.microsoft.com/office/drawing/2014/main" id="{5B9186DF-20FD-44CD-9EFA-CE4BDD209EA7}"/>
              </a:ext>
            </a:extLst>
          </p:cNvPr>
          <p:cNvSpPr txBox="1"/>
          <p:nvPr/>
        </p:nvSpPr>
        <p:spPr>
          <a:xfrm>
            <a:off x="1711201" y="5258391"/>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solidFill>
                  <a:srgbClr val="171D3C"/>
                </a:solidFill>
              </a:rPr>
              <a:t>What are the existing stop gaps that have failed?</a:t>
            </a:r>
          </a:p>
        </p:txBody>
      </p:sp>
      <p:sp>
        <p:nvSpPr>
          <p:cNvPr id="78" name="Oval 77">
            <a:extLst>
              <a:ext uri="{FF2B5EF4-FFF2-40B4-BE49-F238E27FC236}">
                <a16:creationId xmlns:a16="http://schemas.microsoft.com/office/drawing/2014/main" id="{F49AC9FC-AB2A-4031-B936-C444B93BB417}"/>
              </a:ext>
            </a:extLst>
          </p:cNvPr>
          <p:cNvSpPr/>
          <p:nvPr/>
        </p:nvSpPr>
        <p:spPr>
          <a:xfrm>
            <a:off x="8744782" y="569637"/>
            <a:ext cx="2040467" cy="2040467"/>
          </a:xfrm>
          <a:prstGeom prst="ellipse">
            <a:avLst/>
          </a:prstGeom>
          <a:solidFill>
            <a:srgbClr val="FFFFFF"/>
          </a:solidFill>
          <a:ln w="31750" cap="rnd" cmpd="sng" algn="ctr">
            <a:solidFill>
              <a:srgbClr val="171D3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0" name="TextBox 79">
            <a:extLst>
              <a:ext uri="{FF2B5EF4-FFF2-40B4-BE49-F238E27FC236}">
                <a16:creationId xmlns:a16="http://schemas.microsoft.com/office/drawing/2014/main" id="{68A98C54-9A91-4450-9435-92A26178346F}"/>
              </a:ext>
            </a:extLst>
          </p:cNvPr>
          <p:cNvSpPr txBox="1"/>
          <p:nvPr/>
        </p:nvSpPr>
        <p:spPr>
          <a:xfrm>
            <a:off x="7887680" y="2801268"/>
            <a:ext cx="3818466" cy="6578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100">
                <a:solidFill>
                  <a:srgbClr val="FFFFFF"/>
                </a:solidFill>
              </a:rPr>
              <a:t>Guests suffering from</a:t>
            </a:r>
            <a:endParaRPr lang="vi-VN" sz="2100">
              <a:solidFill>
                <a:srgbClr val="FFFFFF"/>
              </a:solidFill>
            </a:endParaRPr>
          </a:p>
          <a:p>
            <a:pPr algn="ctr"/>
            <a:r>
              <a:rPr lang="en-US" sz="2100">
                <a:solidFill>
                  <a:srgbClr val="FFFFFF"/>
                </a:solidFill>
              </a:rPr>
              <a:t>impact of problem</a:t>
            </a:r>
          </a:p>
        </p:txBody>
      </p:sp>
      <p:sp>
        <p:nvSpPr>
          <p:cNvPr id="81" name="TextBox 80">
            <a:extLst>
              <a:ext uri="{FF2B5EF4-FFF2-40B4-BE49-F238E27FC236}">
                <a16:creationId xmlns:a16="http://schemas.microsoft.com/office/drawing/2014/main" id="{297DC42B-7E22-4D87-9284-BD5CEC133A36}"/>
              </a:ext>
            </a:extLst>
          </p:cNvPr>
          <p:cNvSpPr txBox="1"/>
          <p:nvPr/>
        </p:nvSpPr>
        <p:spPr>
          <a:xfrm>
            <a:off x="7887680" y="5725563"/>
            <a:ext cx="1755778" cy="6578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FFFFFF"/>
                </a:solidFill>
              </a:rPr>
              <a:t>Guests could</a:t>
            </a:r>
          </a:p>
          <a:p>
            <a:pPr algn="ctr"/>
            <a:r>
              <a:rPr lang="en-US" sz="1400">
                <a:solidFill>
                  <a:srgbClr val="FFFFFF"/>
                </a:solidFill>
              </a:rPr>
              <a:t> benefit</a:t>
            </a:r>
          </a:p>
        </p:txBody>
      </p:sp>
      <p:sp>
        <p:nvSpPr>
          <p:cNvPr id="82" name="TextBox 81">
            <a:extLst>
              <a:ext uri="{FF2B5EF4-FFF2-40B4-BE49-F238E27FC236}">
                <a16:creationId xmlns:a16="http://schemas.microsoft.com/office/drawing/2014/main" id="{D560FB43-1D41-4D0A-B599-F8CE8149D3AD}"/>
              </a:ext>
            </a:extLst>
          </p:cNvPr>
          <p:cNvSpPr txBox="1"/>
          <p:nvPr/>
        </p:nvSpPr>
        <p:spPr>
          <a:xfrm>
            <a:off x="9950369" y="5725563"/>
            <a:ext cx="1755778" cy="6578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FFFFFF"/>
                </a:solidFill>
              </a:rPr>
              <a:t>Incremental benefit per</a:t>
            </a:r>
          </a:p>
          <a:p>
            <a:pPr algn="ctr"/>
            <a:r>
              <a:rPr lang="en-US" sz="1400">
                <a:solidFill>
                  <a:srgbClr val="FFFFFF"/>
                </a:solidFill>
              </a:rPr>
              <a:t> guest</a:t>
            </a:r>
          </a:p>
        </p:txBody>
      </p:sp>
      <p:sp>
        <p:nvSpPr>
          <p:cNvPr id="88" name="TextBox 87">
            <a:extLst>
              <a:ext uri="{FF2B5EF4-FFF2-40B4-BE49-F238E27FC236}">
                <a16:creationId xmlns:a16="http://schemas.microsoft.com/office/drawing/2014/main" id="{40E593F2-DC09-4683-8B41-50EE6491B07B}"/>
              </a:ext>
            </a:extLst>
          </p:cNvPr>
          <p:cNvSpPr txBox="1"/>
          <p:nvPr/>
        </p:nvSpPr>
        <p:spPr>
          <a:xfrm>
            <a:off x="7831382" y="5358714"/>
            <a:ext cx="1868372" cy="4950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vi-VN" sz="2100">
                <a:solidFill>
                  <a:srgbClr val="FFFFFF"/>
                </a:solidFill>
              </a:rPr>
              <a:t>Y M</a:t>
            </a:r>
            <a:endParaRPr lang="en-US" sz="2100" err="1">
              <a:solidFill>
                <a:srgbClr val="FFFFFF"/>
              </a:solidFill>
            </a:endParaRPr>
          </a:p>
        </p:txBody>
      </p:sp>
      <p:sp>
        <p:nvSpPr>
          <p:cNvPr id="89" name="TextBox 88">
            <a:extLst>
              <a:ext uri="{FF2B5EF4-FFF2-40B4-BE49-F238E27FC236}">
                <a16:creationId xmlns:a16="http://schemas.microsoft.com/office/drawing/2014/main" id="{5F43A3E0-3051-49DB-9776-BC1563C03125}"/>
              </a:ext>
            </a:extLst>
          </p:cNvPr>
          <p:cNvSpPr txBox="1"/>
          <p:nvPr/>
        </p:nvSpPr>
        <p:spPr>
          <a:xfrm>
            <a:off x="9894072" y="5358714"/>
            <a:ext cx="1868372" cy="4950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vi-VN" sz="2100">
                <a:solidFill>
                  <a:srgbClr val="FFFFFF"/>
                </a:solidFill>
              </a:rPr>
              <a:t>~5% </a:t>
            </a:r>
            <a:r>
              <a:rPr lang="vi-VN" sz="2100" err="1">
                <a:solidFill>
                  <a:srgbClr val="FFFFFF"/>
                </a:solidFill>
              </a:rPr>
              <a:t>p.a</a:t>
            </a:r>
            <a:endParaRPr lang="en-US" sz="2100" err="1">
              <a:solidFill>
                <a:srgbClr val="FFFFFF"/>
              </a:solidFill>
            </a:endParaRPr>
          </a:p>
        </p:txBody>
      </p:sp>
      <p:grpSp>
        <p:nvGrpSpPr>
          <p:cNvPr id="96" name="Group 95">
            <a:extLst>
              <a:ext uri="{FF2B5EF4-FFF2-40B4-BE49-F238E27FC236}">
                <a16:creationId xmlns:a16="http://schemas.microsoft.com/office/drawing/2014/main" id="{E76E79B8-B7C7-425D-8855-866318680544}"/>
              </a:ext>
            </a:extLst>
          </p:cNvPr>
          <p:cNvGrpSpPr>
            <a:grpSpLocks noChangeAspect="1"/>
          </p:cNvGrpSpPr>
          <p:nvPr/>
        </p:nvGrpSpPr>
        <p:grpSpPr>
          <a:xfrm>
            <a:off x="8348433" y="4554703"/>
            <a:ext cx="834269" cy="834269"/>
            <a:chOff x="5273675" y="2606675"/>
            <a:chExt cx="1644650" cy="1644650"/>
          </a:xfrm>
        </p:grpSpPr>
        <p:sp>
          <p:nvSpPr>
            <p:cNvPr id="97" name="AutoShape 3">
              <a:extLst>
                <a:ext uri="{FF2B5EF4-FFF2-40B4-BE49-F238E27FC236}">
                  <a16:creationId xmlns:a16="http://schemas.microsoft.com/office/drawing/2014/main" id="{A80E2684-F806-40AB-8050-6EBF1899735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1">
              <a:extLst>
                <a:ext uri="{FF2B5EF4-FFF2-40B4-BE49-F238E27FC236}">
                  <a16:creationId xmlns:a16="http://schemas.microsoft.com/office/drawing/2014/main" id="{FEF2E7CF-BB3A-49F5-B060-BD0A675EC8CD}"/>
                </a:ext>
              </a:extLst>
            </p:cNvPr>
            <p:cNvSpPr>
              <a:spLocks/>
            </p:cNvSpPr>
            <p:nvPr/>
          </p:nvSpPr>
          <p:spPr bwMode="auto">
            <a:xfrm>
              <a:off x="5335588" y="2770188"/>
              <a:ext cx="1517650" cy="1311275"/>
            </a:xfrm>
            <a:custGeom>
              <a:avLst/>
              <a:gdLst>
                <a:gd name="connsiteX0" fmla="*/ 955047 w 1517650"/>
                <a:gd name="connsiteY0" fmla="*/ 1035050 h 1311275"/>
                <a:gd name="connsiteX1" fmla="*/ 1088898 w 1517650"/>
                <a:gd name="connsiteY1" fmla="*/ 1144255 h 1311275"/>
                <a:gd name="connsiteX2" fmla="*/ 1095340 w 1517650"/>
                <a:gd name="connsiteY2" fmla="*/ 1144255 h 1311275"/>
                <a:gd name="connsiteX3" fmla="*/ 1228475 w 1517650"/>
                <a:gd name="connsiteY3" fmla="*/ 1035050 h 1311275"/>
                <a:gd name="connsiteX4" fmla="*/ 1410283 w 1517650"/>
                <a:gd name="connsiteY4" fmla="*/ 1065742 h 1311275"/>
                <a:gd name="connsiteX5" fmla="*/ 1466114 w 1517650"/>
                <a:gd name="connsiteY5" fmla="*/ 1119274 h 1311275"/>
                <a:gd name="connsiteX6" fmla="*/ 1517650 w 1517650"/>
                <a:gd name="connsiteY6" fmla="*/ 1293431 h 1311275"/>
                <a:gd name="connsiteX7" fmla="*/ 1517650 w 1517650"/>
                <a:gd name="connsiteY7" fmla="*/ 1295572 h 1311275"/>
                <a:gd name="connsiteX8" fmla="*/ 1501903 w 1517650"/>
                <a:gd name="connsiteY8" fmla="*/ 1311275 h 1311275"/>
                <a:gd name="connsiteX9" fmla="*/ 879175 w 1517650"/>
                <a:gd name="connsiteY9" fmla="*/ 1311275 h 1311275"/>
                <a:gd name="connsiteX10" fmla="*/ 882038 w 1517650"/>
                <a:gd name="connsiteY10" fmla="*/ 1295572 h 1311275"/>
                <a:gd name="connsiteX11" fmla="*/ 882038 w 1517650"/>
                <a:gd name="connsiteY11" fmla="*/ 1293431 h 1311275"/>
                <a:gd name="connsiteX12" fmla="*/ 824776 w 1517650"/>
                <a:gd name="connsiteY12" fmla="*/ 1102144 h 1311275"/>
                <a:gd name="connsiteX13" fmla="*/ 788987 w 1517650"/>
                <a:gd name="connsiteY13" fmla="*/ 1059318 h 1311275"/>
                <a:gd name="connsiteX14" fmla="*/ 955047 w 1517650"/>
                <a:gd name="connsiteY14" fmla="*/ 1035050 h 1311275"/>
                <a:gd name="connsiteX15" fmla="*/ 288162 w 1517650"/>
                <a:gd name="connsiteY15" fmla="*/ 1035050 h 1311275"/>
                <a:gd name="connsiteX16" fmla="*/ 366593 w 1517650"/>
                <a:gd name="connsiteY16" fmla="*/ 1090456 h 1311275"/>
                <a:gd name="connsiteX17" fmla="*/ 425092 w 1517650"/>
                <a:gd name="connsiteY17" fmla="*/ 1100295 h 1311275"/>
                <a:gd name="connsiteX18" fmla="*/ 422590 w 1517650"/>
                <a:gd name="connsiteY18" fmla="*/ 1100716 h 1311275"/>
                <a:gd name="connsiteX19" fmla="*/ 427595 w 1517650"/>
                <a:gd name="connsiteY19" fmla="*/ 1100716 h 1311275"/>
                <a:gd name="connsiteX20" fmla="*/ 425092 w 1517650"/>
                <a:gd name="connsiteY20" fmla="*/ 1100295 h 1311275"/>
                <a:gd name="connsiteX21" fmla="*/ 483592 w 1517650"/>
                <a:gd name="connsiteY21" fmla="*/ 1090456 h 1311275"/>
                <a:gd name="connsiteX22" fmla="*/ 562023 w 1517650"/>
                <a:gd name="connsiteY22" fmla="*/ 1035050 h 1311275"/>
                <a:gd name="connsiteX23" fmla="*/ 744359 w 1517650"/>
                <a:gd name="connsiteY23" fmla="*/ 1065742 h 1311275"/>
                <a:gd name="connsiteX24" fmla="*/ 799417 w 1517650"/>
                <a:gd name="connsiteY24" fmla="*/ 1119274 h 1311275"/>
                <a:gd name="connsiteX25" fmla="*/ 850900 w 1517650"/>
                <a:gd name="connsiteY25" fmla="*/ 1293431 h 1311275"/>
                <a:gd name="connsiteX26" fmla="*/ 850900 w 1517650"/>
                <a:gd name="connsiteY26" fmla="*/ 1295572 h 1311275"/>
                <a:gd name="connsiteX27" fmla="*/ 835169 w 1517650"/>
                <a:gd name="connsiteY27" fmla="*/ 1311275 h 1311275"/>
                <a:gd name="connsiteX28" fmla="*/ 15731 w 1517650"/>
                <a:gd name="connsiteY28" fmla="*/ 1311275 h 1311275"/>
                <a:gd name="connsiteX29" fmla="*/ 0 w 1517650"/>
                <a:gd name="connsiteY29" fmla="*/ 1295572 h 1311275"/>
                <a:gd name="connsiteX30" fmla="*/ 0 w 1517650"/>
                <a:gd name="connsiteY30" fmla="*/ 1293431 h 1311275"/>
                <a:gd name="connsiteX31" fmla="*/ 50768 w 1517650"/>
                <a:gd name="connsiteY31" fmla="*/ 1119274 h 1311275"/>
                <a:gd name="connsiteX32" fmla="*/ 106541 w 1517650"/>
                <a:gd name="connsiteY32" fmla="*/ 1065742 h 1311275"/>
                <a:gd name="connsiteX33" fmla="*/ 288162 w 1517650"/>
                <a:gd name="connsiteY33" fmla="*/ 1035050 h 1311275"/>
                <a:gd name="connsiteX34" fmla="*/ 1302460 w 1517650"/>
                <a:gd name="connsiteY34" fmla="*/ 871537 h 1311275"/>
                <a:gd name="connsiteX35" fmla="*/ 1355725 w 1517650"/>
                <a:gd name="connsiteY35" fmla="*/ 972693 h 1311275"/>
                <a:gd name="connsiteX36" fmla="*/ 1301020 w 1517650"/>
                <a:gd name="connsiteY36" fmla="*/ 1008062 h 1311275"/>
                <a:gd name="connsiteX37" fmla="*/ 1239837 w 1517650"/>
                <a:gd name="connsiteY37" fmla="*/ 1003110 h 1311275"/>
                <a:gd name="connsiteX38" fmla="*/ 1239837 w 1517650"/>
                <a:gd name="connsiteY38" fmla="*/ 990378 h 1311275"/>
                <a:gd name="connsiteX39" fmla="*/ 1302460 w 1517650"/>
                <a:gd name="connsiteY39" fmla="*/ 871537 h 1311275"/>
                <a:gd name="connsiteX40" fmla="*/ 880352 w 1517650"/>
                <a:gd name="connsiteY40" fmla="*/ 869950 h 1311275"/>
                <a:gd name="connsiteX41" fmla="*/ 942975 w 1517650"/>
                <a:gd name="connsiteY41" fmla="*/ 989553 h 1311275"/>
                <a:gd name="connsiteX42" fmla="*/ 942975 w 1517650"/>
                <a:gd name="connsiteY42" fmla="*/ 1003080 h 1311275"/>
                <a:gd name="connsiteX43" fmla="*/ 882511 w 1517650"/>
                <a:gd name="connsiteY43" fmla="*/ 1008063 h 1311275"/>
                <a:gd name="connsiteX44" fmla="*/ 827087 w 1517650"/>
                <a:gd name="connsiteY44" fmla="*/ 972467 h 1311275"/>
                <a:gd name="connsiteX45" fmla="*/ 880352 w 1517650"/>
                <a:gd name="connsiteY45" fmla="*/ 869950 h 1311275"/>
                <a:gd name="connsiteX46" fmla="*/ 863600 w 1517650"/>
                <a:gd name="connsiteY46" fmla="*/ 768350 h 1311275"/>
                <a:gd name="connsiteX47" fmla="*/ 901462 w 1517650"/>
                <a:gd name="connsiteY47" fmla="*/ 786177 h 1311275"/>
                <a:gd name="connsiteX48" fmla="*/ 917178 w 1517650"/>
                <a:gd name="connsiteY48" fmla="*/ 801153 h 1311275"/>
                <a:gd name="connsiteX49" fmla="*/ 924322 w 1517650"/>
                <a:gd name="connsiteY49" fmla="*/ 809710 h 1311275"/>
                <a:gd name="connsiteX50" fmla="*/ 990044 w 1517650"/>
                <a:gd name="connsiteY50" fmla="*/ 948765 h 1311275"/>
                <a:gd name="connsiteX51" fmla="*/ 1092200 w 1517650"/>
                <a:gd name="connsiteY51" fmla="*/ 1000108 h 1311275"/>
                <a:gd name="connsiteX52" fmla="*/ 1193641 w 1517650"/>
                <a:gd name="connsiteY52" fmla="*/ 948765 h 1311275"/>
                <a:gd name="connsiteX53" fmla="*/ 1260078 w 1517650"/>
                <a:gd name="connsiteY53" fmla="*/ 809710 h 1311275"/>
                <a:gd name="connsiteX54" fmla="*/ 1267222 w 1517650"/>
                <a:gd name="connsiteY54" fmla="*/ 801153 h 1311275"/>
                <a:gd name="connsiteX55" fmla="*/ 1282938 w 1517650"/>
                <a:gd name="connsiteY55" fmla="*/ 786177 h 1311275"/>
                <a:gd name="connsiteX56" fmla="*/ 1320800 w 1517650"/>
                <a:gd name="connsiteY56" fmla="*/ 768350 h 1311275"/>
                <a:gd name="connsiteX57" fmla="*/ 1320800 w 1517650"/>
                <a:gd name="connsiteY57" fmla="*/ 771915 h 1311275"/>
                <a:gd name="connsiteX58" fmla="*/ 1287225 w 1517650"/>
                <a:gd name="connsiteY58" fmla="*/ 826111 h 1311275"/>
                <a:gd name="connsiteX59" fmla="*/ 1215072 w 1517650"/>
                <a:gd name="connsiteY59" fmla="*/ 972297 h 1311275"/>
                <a:gd name="connsiteX60" fmla="*/ 1209357 w 1517650"/>
                <a:gd name="connsiteY60" fmla="*/ 976576 h 1311275"/>
                <a:gd name="connsiteX61" fmla="*/ 1209357 w 1517650"/>
                <a:gd name="connsiteY61" fmla="*/ 1009378 h 1311275"/>
                <a:gd name="connsiteX62" fmla="*/ 1208643 w 1517650"/>
                <a:gd name="connsiteY62" fmla="*/ 1010092 h 1311275"/>
                <a:gd name="connsiteX63" fmla="*/ 1177925 w 1517650"/>
                <a:gd name="connsiteY63" fmla="*/ 1035050 h 1311275"/>
                <a:gd name="connsiteX64" fmla="*/ 1177925 w 1517650"/>
                <a:gd name="connsiteY64" fmla="*/ 998682 h 1311275"/>
                <a:gd name="connsiteX65" fmla="*/ 1092200 w 1517650"/>
                <a:gd name="connsiteY65" fmla="*/ 1031485 h 1311275"/>
                <a:gd name="connsiteX66" fmla="*/ 1005760 w 1517650"/>
                <a:gd name="connsiteY66" fmla="*/ 998682 h 1311275"/>
                <a:gd name="connsiteX67" fmla="*/ 1005760 w 1517650"/>
                <a:gd name="connsiteY67" fmla="*/ 1035050 h 1311275"/>
                <a:gd name="connsiteX68" fmla="*/ 975757 w 1517650"/>
                <a:gd name="connsiteY68" fmla="*/ 1010092 h 1311275"/>
                <a:gd name="connsiteX69" fmla="*/ 974328 w 1517650"/>
                <a:gd name="connsiteY69" fmla="*/ 1009378 h 1311275"/>
                <a:gd name="connsiteX70" fmla="*/ 974328 w 1517650"/>
                <a:gd name="connsiteY70" fmla="*/ 975863 h 1311275"/>
                <a:gd name="connsiteX71" fmla="*/ 969327 w 1517650"/>
                <a:gd name="connsiteY71" fmla="*/ 972297 h 1311275"/>
                <a:gd name="connsiteX72" fmla="*/ 897175 w 1517650"/>
                <a:gd name="connsiteY72" fmla="*/ 826111 h 1311275"/>
                <a:gd name="connsiteX73" fmla="*/ 863600 w 1517650"/>
                <a:gd name="connsiteY73" fmla="*/ 773342 h 1311275"/>
                <a:gd name="connsiteX74" fmla="*/ 863600 w 1517650"/>
                <a:gd name="connsiteY74" fmla="*/ 768350 h 1311275"/>
                <a:gd name="connsiteX75" fmla="*/ 196850 w 1517650"/>
                <a:gd name="connsiteY75" fmla="*/ 768350 h 1311275"/>
                <a:gd name="connsiteX76" fmla="*/ 234653 w 1517650"/>
                <a:gd name="connsiteY76" fmla="*/ 786267 h 1311275"/>
                <a:gd name="connsiteX77" fmla="*/ 250344 w 1517650"/>
                <a:gd name="connsiteY77" fmla="*/ 801317 h 1311275"/>
                <a:gd name="connsiteX78" fmla="*/ 257477 w 1517650"/>
                <a:gd name="connsiteY78" fmla="*/ 809917 h 1311275"/>
                <a:gd name="connsiteX79" fmla="*/ 323097 w 1517650"/>
                <a:gd name="connsiteY79" fmla="*/ 949667 h 1311275"/>
                <a:gd name="connsiteX80" fmla="*/ 425093 w 1517650"/>
                <a:gd name="connsiteY80" fmla="*/ 1001267 h 1311275"/>
                <a:gd name="connsiteX81" fmla="*/ 527089 w 1517650"/>
                <a:gd name="connsiteY81" fmla="*/ 949667 h 1311275"/>
                <a:gd name="connsiteX82" fmla="*/ 593423 w 1517650"/>
                <a:gd name="connsiteY82" fmla="*/ 809917 h 1311275"/>
                <a:gd name="connsiteX83" fmla="*/ 600555 w 1517650"/>
                <a:gd name="connsiteY83" fmla="*/ 801317 h 1311275"/>
                <a:gd name="connsiteX84" fmla="*/ 616247 w 1517650"/>
                <a:gd name="connsiteY84" fmla="*/ 786267 h 1311275"/>
                <a:gd name="connsiteX85" fmla="*/ 654050 w 1517650"/>
                <a:gd name="connsiteY85" fmla="*/ 768350 h 1311275"/>
                <a:gd name="connsiteX86" fmla="*/ 654050 w 1517650"/>
                <a:gd name="connsiteY86" fmla="*/ 771933 h 1311275"/>
                <a:gd name="connsiteX87" fmla="*/ 620527 w 1517650"/>
                <a:gd name="connsiteY87" fmla="*/ 826400 h 1311275"/>
                <a:gd name="connsiteX88" fmla="*/ 548487 w 1517650"/>
                <a:gd name="connsiteY88" fmla="*/ 973317 h 1311275"/>
                <a:gd name="connsiteX89" fmla="*/ 543494 w 1517650"/>
                <a:gd name="connsiteY89" fmla="*/ 976900 h 1311275"/>
                <a:gd name="connsiteX90" fmla="*/ 543494 w 1517650"/>
                <a:gd name="connsiteY90" fmla="*/ 1008433 h 1311275"/>
                <a:gd name="connsiteX91" fmla="*/ 536362 w 1517650"/>
                <a:gd name="connsiteY91" fmla="*/ 1017033 h 1311275"/>
                <a:gd name="connsiteX92" fmla="*/ 512111 w 1517650"/>
                <a:gd name="connsiteY92" fmla="*/ 1041400 h 1311275"/>
                <a:gd name="connsiteX93" fmla="*/ 512111 w 1517650"/>
                <a:gd name="connsiteY93" fmla="*/ 999833 h 1311275"/>
                <a:gd name="connsiteX94" fmla="*/ 425093 w 1517650"/>
                <a:gd name="connsiteY94" fmla="*/ 1032800 h 1311275"/>
                <a:gd name="connsiteX95" fmla="*/ 339502 w 1517650"/>
                <a:gd name="connsiteY95" fmla="*/ 999833 h 1311275"/>
                <a:gd name="connsiteX96" fmla="*/ 339502 w 1517650"/>
                <a:gd name="connsiteY96" fmla="*/ 1041400 h 1311275"/>
                <a:gd name="connsiteX97" fmla="*/ 314538 w 1517650"/>
                <a:gd name="connsiteY97" fmla="*/ 1017033 h 1311275"/>
                <a:gd name="connsiteX98" fmla="*/ 308118 w 1517650"/>
                <a:gd name="connsiteY98" fmla="*/ 1008433 h 1311275"/>
                <a:gd name="connsiteX99" fmla="*/ 308118 w 1517650"/>
                <a:gd name="connsiteY99" fmla="*/ 977617 h 1311275"/>
                <a:gd name="connsiteX100" fmla="*/ 302412 w 1517650"/>
                <a:gd name="connsiteY100" fmla="*/ 973317 h 1311275"/>
                <a:gd name="connsiteX101" fmla="*/ 230373 w 1517650"/>
                <a:gd name="connsiteY101" fmla="*/ 826400 h 1311275"/>
                <a:gd name="connsiteX102" fmla="*/ 196850 w 1517650"/>
                <a:gd name="connsiteY102" fmla="*/ 773367 h 1311275"/>
                <a:gd name="connsiteX103" fmla="*/ 196850 w 1517650"/>
                <a:gd name="connsiteY103" fmla="*/ 768350 h 1311275"/>
                <a:gd name="connsiteX104" fmla="*/ 1091126 w 1517650"/>
                <a:gd name="connsiteY104" fmla="*/ 431800 h 1311275"/>
                <a:gd name="connsiteX105" fmla="*/ 1313734 w 1517650"/>
                <a:gd name="connsiteY105" fmla="*/ 656987 h 1311275"/>
                <a:gd name="connsiteX106" fmla="*/ 1305861 w 1517650"/>
                <a:gd name="connsiteY106" fmla="*/ 733479 h 1311275"/>
                <a:gd name="connsiteX107" fmla="*/ 1305861 w 1517650"/>
                <a:gd name="connsiteY107" fmla="*/ 732764 h 1311275"/>
                <a:gd name="connsiteX108" fmla="*/ 1281524 w 1517650"/>
                <a:gd name="connsiteY108" fmla="*/ 767793 h 1311275"/>
                <a:gd name="connsiteX109" fmla="*/ 1279377 w 1517650"/>
                <a:gd name="connsiteY109" fmla="*/ 768508 h 1311275"/>
                <a:gd name="connsiteX110" fmla="*/ 1265061 w 1517650"/>
                <a:gd name="connsiteY110" fmla="*/ 768508 h 1311275"/>
                <a:gd name="connsiteX111" fmla="*/ 1263630 w 1517650"/>
                <a:gd name="connsiteY111" fmla="*/ 768508 h 1311275"/>
                <a:gd name="connsiteX112" fmla="*/ 971591 w 1517650"/>
                <a:gd name="connsiteY112" fmla="*/ 612664 h 1311275"/>
                <a:gd name="connsiteX113" fmla="*/ 968728 w 1517650"/>
                <a:gd name="connsiteY113" fmla="*/ 612664 h 1311275"/>
                <a:gd name="connsiteX114" fmla="*/ 882118 w 1517650"/>
                <a:gd name="connsiteY114" fmla="*/ 749921 h 1311275"/>
                <a:gd name="connsiteX115" fmla="*/ 882118 w 1517650"/>
                <a:gd name="connsiteY115" fmla="*/ 749206 h 1311275"/>
                <a:gd name="connsiteX116" fmla="*/ 869950 w 1517650"/>
                <a:gd name="connsiteY116" fmla="*/ 656987 h 1311275"/>
                <a:gd name="connsiteX117" fmla="*/ 1091126 w 1517650"/>
                <a:gd name="connsiteY117" fmla="*/ 431800 h 1311275"/>
                <a:gd name="connsiteX118" fmla="*/ 425450 w 1517650"/>
                <a:gd name="connsiteY118" fmla="*/ 431800 h 1311275"/>
                <a:gd name="connsiteX119" fmla="*/ 646983 w 1517650"/>
                <a:gd name="connsiteY119" fmla="*/ 659000 h 1311275"/>
                <a:gd name="connsiteX120" fmla="*/ 639097 w 1517650"/>
                <a:gd name="connsiteY120" fmla="*/ 735689 h 1311275"/>
                <a:gd name="connsiteX121" fmla="*/ 614004 w 1517650"/>
                <a:gd name="connsiteY121" fmla="*/ 771525 h 1311275"/>
                <a:gd name="connsiteX122" fmla="*/ 597514 w 1517650"/>
                <a:gd name="connsiteY122" fmla="*/ 771525 h 1311275"/>
                <a:gd name="connsiteX123" fmla="*/ 595363 w 1517650"/>
                <a:gd name="connsiteY123" fmla="*/ 603813 h 1311275"/>
                <a:gd name="connsiteX124" fmla="*/ 303571 w 1517650"/>
                <a:gd name="connsiteY124" fmla="*/ 613847 h 1311275"/>
                <a:gd name="connsiteX125" fmla="*/ 249084 w 1517650"/>
                <a:gd name="connsiteY125" fmla="*/ 768658 h 1311275"/>
                <a:gd name="connsiteX126" fmla="*/ 234028 w 1517650"/>
                <a:gd name="connsiteY126" fmla="*/ 766508 h 1311275"/>
                <a:gd name="connsiteX127" fmla="*/ 211803 w 1517650"/>
                <a:gd name="connsiteY127" fmla="*/ 738556 h 1311275"/>
                <a:gd name="connsiteX128" fmla="*/ 211803 w 1517650"/>
                <a:gd name="connsiteY128" fmla="*/ 737839 h 1311275"/>
                <a:gd name="connsiteX129" fmla="*/ 203200 w 1517650"/>
                <a:gd name="connsiteY129" fmla="*/ 659000 h 1311275"/>
                <a:gd name="connsiteX130" fmla="*/ 425450 w 1517650"/>
                <a:gd name="connsiteY130" fmla="*/ 431800 h 1311275"/>
                <a:gd name="connsiteX131" fmla="*/ 1351838 w 1517650"/>
                <a:gd name="connsiteY131" fmla="*/ 417512 h 1311275"/>
                <a:gd name="connsiteX132" fmla="*/ 1470682 w 1517650"/>
                <a:gd name="connsiteY132" fmla="*/ 472908 h 1311275"/>
                <a:gd name="connsiteX133" fmla="*/ 1468547 w 1517650"/>
                <a:gd name="connsiteY133" fmla="*/ 494924 h 1311275"/>
                <a:gd name="connsiteX134" fmla="*/ 1458584 w 1517650"/>
                <a:gd name="connsiteY134" fmla="*/ 498475 h 1311275"/>
                <a:gd name="connsiteX135" fmla="*/ 1446486 w 1517650"/>
                <a:gd name="connsiteY135" fmla="*/ 492793 h 1311275"/>
                <a:gd name="connsiteX136" fmla="*/ 1351838 w 1517650"/>
                <a:gd name="connsiteY136" fmla="*/ 448761 h 1311275"/>
                <a:gd name="connsiteX137" fmla="*/ 1272135 w 1517650"/>
                <a:gd name="connsiteY137" fmla="*/ 477169 h 1311275"/>
                <a:gd name="connsiteX138" fmla="*/ 1272135 w 1517650"/>
                <a:gd name="connsiteY138" fmla="*/ 476459 h 1311275"/>
                <a:gd name="connsiteX139" fmla="*/ 1249362 w 1517650"/>
                <a:gd name="connsiteY139" fmla="*/ 455863 h 1311275"/>
                <a:gd name="connsiteX140" fmla="*/ 1351838 w 1517650"/>
                <a:gd name="connsiteY140" fmla="*/ 417512 h 1311275"/>
                <a:gd name="connsiteX141" fmla="*/ 759619 w 1517650"/>
                <a:gd name="connsiteY141" fmla="*/ 417512 h 1311275"/>
                <a:gd name="connsiteX142" fmla="*/ 878541 w 1517650"/>
                <a:gd name="connsiteY142" fmla="*/ 473604 h 1311275"/>
                <a:gd name="connsiteX143" fmla="*/ 877117 w 1517650"/>
                <a:gd name="connsiteY143" fmla="*/ 495897 h 1311275"/>
                <a:gd name="connsiteX144" fmla="*/ 867147 w 1517650"/>
                <a:gd name="connsiteY144" fmla="*/ 499492 h 1311275"/>
                <a:gd name="connsiteX145" fmla="*/ 855041 w 1517650"/>
                <a:gd name="connsiteY145" fmla="*/ 493739 h 1311275"/>
                <a:gd name="connsiteX146" fmla="*/ 759619 w 1517650"/>
                <a:gd name="connsiteY146" fmla="*/ 449154 h 1311275"/>
                <a:gd name="connsiteX147" fmla="*/ 664196 w 1517650"/>
                <a:gd name="connsiteY147" fmla="*/ 493739 h 1311275"/>
                <a:gd name="connsiteX148" fmla="*/ 642121 w 1517650"/>
                <a:gd name="connsiteY148" fmla="*/ 495897 h 1311275"/>
                <a:gd name="connsiteX149" fmla="*/ 640697 w 1517650"/>
                <a:gd name="connsiteY149" fmla="*/ 473604 h 1311275"/>
                <a:gd name="connsiteX150" fmla="*/ 759619 w 1517650"/>
                <a:gd name="connsiteY150" fmla="*/ 417512 h 1311275"/>
                <a:gd name="connsiteX151" fmla="*/ 165812 w 1517650"/>
                <a:gd name="connsiteY151" fmla="*/ 417512 h 1311275"/>
                <a:gd name="connsiteX152" fmla="*/ 268288 w 1517650"/>
                <a:gd name="connsiteY152" fmla="*/ 456345 h 1311275"/>
                <a:gd name="connsiteX153" fmla="*/ 244804 w 1517650"/>
                <a:gd name="connsiteY153" fmla="*/ 477200 h 1311275"/>
                <a:gd name="connsiteX154" fmla="*/ 165812 w 1517650"/>
                <a:gd name="connsiteY154" fmla="*/ 449154 h 1311275"/>
                <a:gd name="connsiteX155" fmla="*/ 71164 w 1517650"/>
                <a:gd name="connsiteY155" fmla="*/ 493739 h 1311275"/>
                <a:gd name="connsiteX156" fmla="*/ 49103 w 1517650"/>
                <a:gd name="connsiteY156" fmla="*/ 495897 h 1311275"/>
                <a:gd name="connsiteX157" fmla="*/ 46968 w 1517650"/>
                <a:gd name="connsiteY157" fmla="*/ 473604 h 1311275"/>
                <a:gd name="connsiteX158" fmla="*/ 165812 w 1517650"/>
                <a:gd name="connsiteY158" fmla="*/ 417512 h 1311275"/>
                <a:gd name="connsiteX159" fmla="*/ 1260912 w 1517650"/>
                <a:gd name="connsiteY159" fmla="*/ 277812 h 1311275"/>
                <a:gd name="connsiteX160" fmla="*/ 1380889 w 1517650"/>
                <a:gd name="connsiteY160" fmla="*/ 333904 h 1311275"/>
                <a:gd name="connsiteX161" fmla="*/ 1378747 w 1517650"/>
                <a:gd name="connsiteY161" fmla="*/ 356197 h 1311275"/>
                <a:gd name="connsiteX162" fmla="*/ 1368749 w 1517650"/>
                <a:gd name="connsiteY162" fmla="*/ 359792 h 1311275"/>
                <a:gd name="connsiteX163" fmla="*/ 1356608 w 1517650"/>
                <a:gd name="connsiteY163" fmla="*/ 354759 h 1311275"/>
                <a:gd name="connsiteX164" fmla="*/ 1260912 w 1517650"/>
                <a:gd name="connsiteY164" fmla="*/ 309454 h 1311275"/>
                <a:gd name="connsiteX165" fmla="*/ 1165930 w 1517650"/>
                <a:gd name="connsiteY165" fmla="*/ 354759 h 1311275"/>
                <a:gd name="connsiteX166" fmla="*/ 1143791 w 1517650"/>
                <a:gd name="connsiteY166" fmla="*/ 356197 h 1311275"/>
                <a:gd name="connsiteX167" fmla="*/ 1142363 w 1517650"/>
                <a:gd name="connsiteY167" fmla="*/ 333904 h 1311275"/>
                <a:gd name="connsiteX168" fmla="*/ 1260912 w 1517650"/>
                <a:gd name="connsiteY168" fmla="*/ 277812 h 1311275"/>
                <a:gd name="connsiteX169" fmla="*/ 926306 w 1517650"/>
                <a:gd name="connsiteY169" fmla="*/ 277812 h 1311275"/>
                <a:gd name="connsiteX170" fmla="*/ 1045940 w 1517650"/>
                <a:gd name="connsiteY170" fmla="*/ 333904 h 1311275"/>
                <a:gd name="connsiteX171" fmla="*/ 1043804 w 1517650"/>
                <a:gd name="connsiteY171" fmla="*/ 356197 h 1311275"/>
                <a:gd name="connsiteX172" fmla="*/ 1033834 w 1517650"/>
                <a:gd name="connsiteY172" fmla="*/ 359792 h 1311275"/>
                <a:gd name="connsiteX173" fmla="*/ 1021728 w 1517650"/>
                <a:gd name="connsiteY173" fmla="*/ 354759 h 1311275"/>
                <a:gd name="connsiteX174" fmla="*/ 926306 w 1517650"/>
                <a:gd name="connsiteY174" fmla="*/ 309454 h 1311275"/>
                <a:gd name="connsiteX175" fmla="*/ 830883 w 1517650"/>
                <a:gd name="connsiteY175" fmla="*/ 354759 h 1311275"/>
                <a:gd name="connsiteX176" fmla="*/ 808808 w 1517650"/>
                <a:gd name="connsiteY176" fmla="*/ 356197 h 1311275"/>
                <a:gd name="connsiteX177" fmla="*/ 807384 w 1517650"/>
                <a:gd name="connsiteY177" fmla="*/ 333904 h 1311275"/>
                <a:gd name="connsiteX178" fmla="*/ 926306 w 1517650"/>
                <a:gd name="connsiteY178" fmla="*/ 277812 h 1311275"/>
                <a:gd name="connsiteX179" fmla="*/ 592137 w 1517650"/>
                <a:gd name="connsiteY179" fmla="*/ 277812 h 1311275"/>
                <a:gd name="connsiteX180" fmla="*/ 711817 w 1517650"/>
                <a:gd name="connsiteY180" fmla="*/ 333904 h 1311275"/>
                <a:gd name="connsiteX181" fmla="*/ 710383 w 1517650"/>
                <a:gd name="connsiteY181" fmla="*/ 356197 h 1311275"/>
                <a:gd name="connsiteX182" fmla="*/ 700350 w 1517650"/>
                <a:gd name="connsiteY182" fmla="*/ 359792 h 1311275"/>
                <a:gd name="connsiteX183" fmla="*/ 688167 w 1517650"/>
                <a:gd name="connsiteY183" fmla="*/ 354759 h 1311275"/>
                <a:gd name="connsiteX184" fmla="*/ 592137 w 1517650"/>
                <a:gd name="connsiteY184" fmla="*/ 309454 h 1311275"/>
                <a:gd name="connsiteX185" fmla="*/ 496107 w 1517650"/>
                <a:gd name="connsiteY185" fmla="*/ 354759 h 1311275"/>
                <a:gd name="connsiteX186" fmla="*/ 473891 w 1517650"/>
                <a:gd name="connsiteY186" fmla="*/ 356197 h 1311275"/>
                <a:gd name="connsiteX187" fmla="*/ 471741 w 1517650"/>
                <a:gd name="connsiteY187" fmla="*/ 333904 h 1311275"/>
                <a:gd name="connsiteX188" fmla="*/ 592137 w 1517650"/>
                <a:gd name="connsiteY188" fmla="*/ 277812 h 1311275"/>
                <a:gd name="connsiteX189" fmla="*/ 257174 w 1517650"/>
                <a:gd name="connsiteY189" fmla="*/ 277812 h 1311275"/>
                <a:gd name="connsiteX190" fmla="*/ 376854 w 1517650"/>
                <a:gd name="connsiteY190" fmla="*/ 333904 h 1311275"/>
                <a:gd name="connsiteX191" fmla="*/ 375420 w 1517650"/>
                <a:gd name="connsiteY191" fmla="*/ 356197 h 1311275"/>
                <a:gd name="connsiteX192" fmla="*/ 365387 w 1517650"/>
                <a:gd name="connsiteY192" fmla="*/ 359792 h 1311275"/>
                <a:gd name="connsiteX193" fmla="*/ 353204 w 1517650"/>
                <a:gd name="connsiteY193" fmla="*/ 354759 h 1311275"/>
                <a:gd name="connsiteX194" fmla="*/ 257174 w 1517650"/>
                <a:gd name="connsiteY194" fmla="*/ 309454 h 1311275"/>
                <a:gd name="connsiteX195" fmla="*/ 161144 w 1517650"/>
                <a:gd name="connsiteY195" fmla="*/ 354759 h 1311275"/>
                <a:gd name="connsiteX196" fmla="*/ 138928 w 1517650"/>
                <a:gd name="connsiteY196" fmla="*/ 356197 h 1311275"/>
                <a:gd name="connsiteX197" fmla="*/ 136778 w 1517650"/>
                <a:gd name="connsiteY197" fmla="*/ 333904 h 1311275"/>
                <a:gd name="connsiteX198" fmla="*/ 257174 w 1517650"/>
                <a:gd name="connsiteY198" fmla="*/ 277812 h 1311275"/>
                <a:gd name="connsiteX199" fmla="*/ 1093351 w 1517650"/>
                <a:gd name="connsiteY199" fmla="*/ 139700 h 1311275"/>
                <a:gd name="connsiteX200" fmla="*/ 1212614 w 1517650"/>
                <a:gd name="connsiteY200" fmla="*/ 196030 h 1311275"/>
                <a:gd name="connsiteX201" fmla="*/ 1210471 w 1517650"/>
                <a:gd name="connsiteY201" fmla="*/ 218134 h 1311275"/>
                <a:gd name="connsiteX202" fmla="*/ 1200473 w 1517650"/>
                <a:gd name="connsiteY202" fmla="*/ 221699 h 1311275"/>
                <a:gd name="connsiteX203" fmla="*/ 1188333 w 1517650"/>
                <a:gd name="connsiteY203" fmla="*/ 215994 h 1311275"/>
                <a:gd name="connsiteX204" fmla="*/ 1093351 w 1517650"/>
                <a:gd name="connsiteY204" fmla="*/ 171786 h 1311275"/>
                <a:gd name="connsiteX205" fmla="*/ 997655 w 1517650"/>
                <a:gd name="connsiteY205" fmla="*/ 215994 h 1311275"/>
                <a:gd name="connsiteX206" fmla="*/ 975516 w 1517650"/>
                <a:gd name="connsiteY206" fmla="*/ 218134 h 1311275"/>
                <a:gd name="connsiteX207" fmla="*/ 974088 w 1517650"/>
                <a:gd name="connsiteY207" fmla="*/ 196030 h 1311275"/>
                <a:gd name="connsiteX208" fmla="*/ 1093351 w 1517650"/>
                <a:gd name="connsiteY208" fmla="*/ 139700 h 1311275"/>
                <a:gd name="connsiteX209" fmla="*/ 759619 w 1517650"/>
                <a:gd name="connsiteY209" fmla="*/ 139700 h 1311275"/>
                <a:gd name="connsiteX210" fmla="*/ 878541 w 1517650"/>
                <a:gd name="connsiteY210" fmla="*/ 196030 h 1311275"/>
                <a:gd name="connsiteX211" fmla="*/ 877117 w 1517650"/>
                <a:gd name="connsiteY211" fmla="*/ 218134 h 1311275"/>
                <a:gd name="connsiteX212" fmla="*/ 867147 w 1517650"/>
                <a:gd name="connsiteY212" fmla="*/ 221699 h 1311275"/>
                <a:gd name="connsiteX213" fmla="*/ 855041 w 1517650"/>
                <a:gd name="connsiteY213" fmla="*/ 215994 h 1311275"/>
                <a:gd name="connsiteX214" fmla="*/ 759619 w 1517650"/>
                <a:gd name="connsiteY214" fmla="*/ 171786 h 1311275"/>
                <a:gd name="connsiteX215" fmla="*/ 664196 w 1517650"/>
                <a:gd name="connsiteY215" fmla="*/ 215994 h 1311275"/>
                <a:gd name="connsiteX216" fmla="*/ 642121 w 1517650"/>
                <a:gd name="connsiteY216" fmla="*/ 218134 h 1311275"/>
                <a:gd name="connsiteX217" fmla="*/ 640697 w 1517650"/>
                <a:gd name="connsiteY217" fmla="*/ 196030 h 1311275"/>
                <a:gd name="connsiteX218" fmla="*/ 759619 w 1517650"/>
                <a:gd name="connsiteY218" fmla="*/ 139700 h 1311275"/>
                <a:gd name="connsiteX219" fmla="*/ 424656 w 1517650"/>
                <a:gd name="connsiteY219" fmla="*/ 139700 h 1311275"/>
                <a:gd name="connsiteX220" fmla="*/ 543578 w 1517650"/>
                <a:gd name="connsiteY220" fmla="*/ 196030 h 1311275"/>
                <a:gd name="connsiteX221" fmla="*/ 542154 w 1517650"/>
                <a:gd name="connsiteY221" fmla="*/ 218134 h 1311275"/>
                <a:gd name="connsiteX222" fmla="*/ 532184 w 1517650"/>
                <a:gd name="connsiteY222" fmla="*/ 221699 h 1311275"/>
                <a:gd name="connsiteX223" fmla="*/ 520078 w 1517650"/>
                <a:gd name="connsiteY223" fmla="*/ 215994 h 1311275"/>
                <a:gd name="connsiteX224" fmla="*/ 424656 w 1517650"/>
                <a:gd name="connsiteY224" fmla="*/ 171786 h 1311275"/>
                <a:gd name="connsiteX225" fmla="*/ 329233 w 1517650"/>
                <a:gd name="connsiteY225" fmla="*/ 215994 h 1311275"/>
                <a:gd name="connsiteX226" fmla="*/ 307158 w 1517650"/>
                <a:gd name="connsiteY226" fmla="*/ 218134 h 1311275"/>
                <a:gd name="connsiteX227" fmla="*/ 305022 w 1517650"/>
                <a:gd name="connsiteY227" fmla="*/ 196030 h 1311275"/>
                <a:gd name="connsiteX228" fmla="*/ 424656 w 1517650"/>
                <a:gd name="connsiteY228" fmla="*/ 139700 h 1311275"/>
                <a:gd name="connsiteX229" fmla="*/ 926306 w 1517650"/>
                <a:gd name="connsiteY229" fmla="*/ 0 h 1311275"/>
                <a:gd name="connsiteX230" fmla="*/ 1045940 w 1517650"/>
                <a:gd name="connsiteY230" fmla="*/ 56092 h 1311275"/>
                <a:gd name="connsiteX231" fmla="*/ 1043804 w 1517650"/>
                <a:gd name="connsiteY231" fmla="*/ 78385 h 1311275"/>
                <a:gd name="connsiteX232" fmla="*/ 1033834 w 1517650"/>
                <a:gd name="connsiteY232" fmla="*/ 81980 h 1311275"/>
                <a:gd name="connsiteX233" fmla="*/ 1021728 w 1517650"/>
                <a:gd name="connsiteY233" fmla="*/ 76947 h 1311275"/>
                <a:gd name="connsiteX234" fmla="*/ 926306 w 1517650"/>
                <a:gd name="connsiteY234" fmla="*/ 31642 h 1311275"/>
                <a:gd name="connsiteX235" fmla="*/ 830883 w 1517650"/>
                <a:gd name="connsiteY235" fmla="*/ 76947 h 1311275"/>
                <a:gd name="connsiteX236" fmla="*/ 808808 w 1517650"/>
                <a:gd name="connsiteY236" fmla="*/ 78385 h 1311275"/>
                <a:gd name="connsiteX237" fmla="*/ 807384 w 1517650"/>
                <a:gd name="connsiteY237" fmla="*/ 56092 h 1311275"/>
                <a:gd name="connsiteX238" fmla="*/ 926306 w 1517650"/>
                <a:gd name="connsiteY238" fmla="*/ 0 h 1311275"/>
                <a:gd name="connsiteX239" fmla="*/ 592137 w 1517650"/>
                <a:gd name="connsiteY239" fmla="*/ 0 h 1311275"/>
                <a:gd name="connsiteX240" fmla="*/ 711817 w 1517650"/>
                <a:gd name="connsiteY240" fmla="*/ 56092 h 1311275"/>
                <a:gd name="connsiteX241" fmla="*/ 710383 w 1517650"/>
                <a:gd name="connsiteY241" fmla="*/ 78385 h 1311275"/>
                <a:gd name="connsiteX242" fmla="*/ 700350 w 1517650"/>
                <a:gd name="connsiteY242" fmla="*/ 81980 h 1311275"/>
                <a:gd name="connsiteX243" fmla="*/ 688167 w 1517650"/>
                <a:gd name="connsiteY243" fmla="*/ 76947 h 1311275"/>
                <a:gd name="connsiteX244" fmla="*/ 592137 w 1517650"/>
                <a:gd name="connsiteY244" fmla="*/ 31642 h 1311275"/>
                <a:gd name="connsiteX245" fmla="*/ 496107 w 1517650"/>
                <a:gd name="connsiteY245" fmla="*/ 76947 h 1311275"/>
                <a:gd name="connsiteX246" fmla="*/ 473891 w 1517650"/>
                <a:gd name="connsiteY246" fmla="*/ 78385 h 1311275"/>
                <a:gd name="connsiteX247" fmla="*/ 471741 w 1517650"/>
                <a:gd name="connsiteY247" fmla="*/ 56092 h 1311275"/>
                <a:gd name="connsiteX248" fmla="*/ 592137 w 1517650"/>
                <a:gd name="connsiteY248" fmla="*/ 0 h 131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517650" h="1311275">
                  <a:moveTo>
                    <a:pt x="955047" y="1035050"/>
                  </a:moveTo>
                  <a:cubicBezTo>
                    <a:pt x="955047" y="1035050"/>
                    <a:pt x="1045951" y="1110709"/>
                    <a:pt x="1088898" y="1144255"/>
                  </a:cubicBezTo>
                  <a:cubicBezTo>
                    <a:pt x="1091045" y="1145683"/>
                    <a:pt x="1093193" y="1145683"/>
                    <a:pt x="1095340" y="1144255"/>
                  </a:cubicBezTo>
                  <a:cubicBezTo>
                    <a:pt x="1153318" y="1097861"/>
                    <a:pt x="1228475" y="1035050"/>
                    <a:pt x="1228475" y="1035050"/>
                  </a:cubicBezTo>
                  <a:cubicBezTo>
                    <a:pt x="1228475" y="1035050"/>
                    <a:pt x="1346579" y="1036478"/>
                    <a:pt x="1410283" y="1065742"/>
                  </a:cubicBezTo>
                  <a:cubicBezTo>
                    <a:pt x="1431757" y="1075734"/>
                    <a:pt x="1450367" y="1095720"/>
                    <a:pt x="1466114" y="1119274"/>
                  </a:cubicBezTo>
                  <a:cubicBezTo>
                    <a:pt x="1500472" y="1170664"/>
                    <a:pt x="1517650" y="1231334"/>
                    <a:pt x="1517650" y="1293431"/>
                  </a:cubicBezTo>
                  <a:cubicBezTo>
                    <a:pt x="1517650" y="1293431"/>
                    <a:pt x="1517650" y="1293431"/>
                    <a:pt x="1517650" y="1295572"/>
                  </a:cubicBezTo>
                  <a:cubicBezTo>
                    <a:pt x="1517650" y="1304138"/>
                    <a:pt x="1510492" y="1311275"/>
                    <a:pt x="1501903" y="1311275"/>
                  </a:cubicBezTo>
                  <a:cubicBezTo>
                    <a:pt x="1501903" y="1311275"/>
                    <a:pt x="1501903" y="1311275"/>
                    <a:pt x="879175" y="1311275"/>
                  </a:cubicBezTo>
                  <a:cubicBezTo>
                    <a:pt x="881322" y="1306279"/>
                    <a:pt x="882038" y="1300569"/>
                    <a:pt x="882038" y="1295572"/>
                  </a:cubicBezTo>
                  <a:cubicBezTo>
                    <a:pt x="882038" y="1295572"/>
                    <a:pt x="882038" y="1295572"/>
                    <a:pt x="882038" y="1293431"/>
                  </a:cubicBezTo>
                  <a:cubicBezTo>
                    <a:pt x="882038" y="1224196"/>
                    <a:pt x="862712" y="1157817"/>
                    <a:pt x="824776" y="1102144"/>
                  </a:cubicBezTo>
                  <a:cubicBezTo>
                    <a:pt x="813323" y="1085013"/>
                    <a:pt x="801871" y="1070738"/>
                    <a:pt x="788987" y="1059318"/>
                  </a:cubicBezTo>
                  <a:cubicBezTo>
                    <a:pt x="854838" y="1036478"/>
                    <a:pt x="955047" y="1035050"/>
                    <a:pt x="955047" y="1035050"/>
                  </a:cubicBezTo>
                  <a:close/>
                  <a:moveTo>
                    <a:pt x="288162" y="1035050"/>
                  </a:moveTo>
                  <a:cubicBezTo>
                    <a:pt x="288162" y="1035050"/>
                    <a:pt x="314305" y="1071987"/>
                    <a:pt x="366593" y="1090456"/>
                  </a:cubicBezTo>
                  <a:lnTo>
                    <a:pt x="425092" y="1100295"/>
                  </a:lnTo>
                  <a:lnTo>
                    <a:pt x="422590" y="1100716"/>
                  </a:lnTo>
                  <a:cubicBezTo>
                    <a:pt x="427595" y="1100716"/>
                    <a:pt x="427595" y="1100716"/>
                    <a:pt x="427595" y="1100716"/>
                  </a:cubicBezTo>
                  <a:lnTo>
                    <a:pt x="425092" y="1100295"/>
                  </a:lnTo>
                  <a:lnTo>
                    <a:pt x="483592" y="1090456"/>
                  </a:lnTo>
                  <a:cubicBezTo>
                    <a:pt x="535879" y="1071987"/>
                    <a:pt x="562023" y="1035050"/>
                    <a:pt x="562023" y="1035050"/>
                  </a:cubicBezTo>
                  <a:cubicBezTo>
                    <a:pt x="562023" y="1035050"/>
                    <a:pt x="680005" y="1036478"/>
                    <a:pt x="744359" y="1065742"/>
                  </a:cubicBezTo>
                  <a:cubicBezTo>
                    <a:pt x="765095" y="1075734"/>
                    <a:pt x="783686" y="1095720"/>
                    <a:pt x="799417" y="1119274"/>
                  </a:cubicBezTo>
                  <a:cubicBezTo>
                    <a:pt x="833739" y="1170664"/>
                    <a:pt x="850900" y="1231334"/>
                    <a:pt x="850900" y="1293431"/>
                  </a:cubicBezTo>
                  <a:cubicBezTo>
                    <a:pt x="850900" y="1293431"/>
                    <a:pt x="850900" y="1293431"/>
                    <a:pt x="850900" y="1295572"/>
                  </a:cubicBezTo>
                  <a:cubicBezTo>
                    <a:pt x="850900" y="1304138"/>
                    <a:pt x="843749" y="1311275"/>
                    <a:pt x="835169" y="1311275"/>
                  </a:cubicBezTo>
                  <a:cubicBezTo>
                    <a:pt x="835169" y="1311275"/>
                    <a:pt x="835169" y="1311275"/>
                    <a:pt x="15731" y="1311275"/>
                  </a:cubicBezTo>
                  <a:cubicBezTo>
                    <a:pt x="7150" y="1311275"/>
                    <a:pt x="0" y="1304138"/>
                    <a:pt x="0" y="1295572"/>
                  </a:cubicBezTo>
                  <a:cubicBezTo>
                    <a:pt x="0" y="1295572"/>
                    <a:pt x="0" y="1295572"/>
                    <a:pt x="0" y="1293431"/>
                  </a:cubicBezTo>
                  <a:cubicBezTo>
                    <a:pt x="0" y="1231334"/>
                    <a:pt x="17161" y="1170664"/>
                    <a:pt x="50768" y="1119274"/>
                  </a:cubicBezTo>
                  <a:cubicBezTo>
                    <a:pt x="66499" y="1095720"/>
                    <a:pt x="85090" y="1075734"/>
                    <a:pt x="106541" y="1065742"/>
                  </a:cubicBezTo>
                  <a:cubicBezTo>
                    <a:pt x="170180" y="1036478"/>
                    <a:pt x="288162" y="1035050"/>
                    <a:pt x="288162" y="1035050"/>
                  </a:cubicBezTo>
                  <a:close/>
                  <a:moveTo>
                    <a:pt x="1302460" y="871537"/>
                  </a:moveTo>
                  <a:cubicBezTo>
                    <a:pt x="1305339" y="913273"/>
                    <a:pt x="1312537" y="968449"/>
                    <a:pt x="1355725" y="972693"/>
                  </a:cubicBezTo>
                  <a:cubicBezTo>
                    <a:pt x="1337010" y="991792"/>
                    <a:pt x="1318296" y="1002403"/>
                    <a:pt x="1301020" y="1008062"/>
                  </a:cubicBezTo>
                  <a:cubicBezTo>
                    <a:pt x="1275827" y="1005233"/>
                    <a:pt x="1252794" y="1003818"/>
                    <a:pt x="1239837" y="1003110"/>
                  </a:cubicBezTo>
                  <a:cubicBezTo>
                    <a:pt x="1239837" y="1003110"/>
                    <a:pt x="1239837" y="1003110"/>
                    <a:pt x="1239837" y="990378"/>
                  </a:cubicBezTo>
                  <a:cubicBezTo>
                    <a:pt x="1255673" y="971986"/>
                    <a:pt x="1276547" y="932372"/>
                    <a:pt x="1302460" y="871537"/>
                  </a:cubicBezTo>
                  <a:close/>
                  <a:moveTo>
                    <a:pt x="880352" y="869950"/>
                  </a:moveTo>
                  <a:cubicBezTo>
                    <a:pt x="906265" y="931887"/>
                    <a:pt x="927139" y="971755"/>
                    <a:pt x="942975" y="989553"/>
                  </a:cubicBezTo>
                  <a:cubicBezTo>
                    <a:pt x="942975" y="989553"/>
                    <a:pt x="942975" y="989553"/>
                    <a:pt x="942975" y="1003080"/>
                  </a:cubicBezTo>
                  <a:cubicBezTo>
                    <a:pt x="930018" y="1003792"/>
                    <a:pt x="907704" y="1005215"/>
                    <a:pt x="882511" y="1008063"/>
                  </a:cubicBezTo>
                  <a:cubicBezTo>
                    <a:pt x="865236" y="1002368"/>
                    <a:pt x="846521" y="991689"/>
                    <a:pt x="827087" y="972467"/>
                  </a:cubicBezTo>
                  <a:cubicBezTo>
                    <a:pt x="870995" y="968195"/>
                    <a:pt x="878193" y="911954"/>
                    <a:pt x="880352" y="869950"/>
                  </a:cubicBezTo>
                  <a:close/>
                  <a:moveTo>
                    <a:pt x="863600" y="768350"/>
                  </a:moveTo>
                  <a:cubicBezTo>
                    <a:pt x="863600" y="768350"/>
                    <a:pt x="863600" y="768350"/>
                    <a:pt x="901462" y="786177"/>
                  </a:cubicBezTo>
                  <a:cubicBezTo>
                    <a:pt x="905034" y="791882"/>
                    <a:pt x="910034" y="797587"/>
                    <a:pt x="917178" y="801153"/>
                  </a:cubicBezTo>
                  <a:cubicBezTo>
                    <a:pt x="920035" y="802579"/>
                    <a:pt x="922893" y="806144"/>
                    <a:pt x="924322" y="809710"/>
                  </a:cubicBezTo>
                  <a:cubicBezTo>
                    <a:pt x="947896" y="868897"/>
                    <a:pt x="979329" y="938781"/>
                    <a:pt x="990044" y="948765"/>
                  </a:cubicBezTo>
                  <a:cubicBezTo>
                    <a:pt x="1010047" y="965879"/>
                    <a:pt x="1064339" y="1000108"/>
                    <a:pt x="1092200" y="1000108"/>
                  </a:cubicBezTo>
                  <a:cubicBezTo>
                    <a:pt x="1120775" y="1000108"/>
                    <a:pt x="1175067" y="965879"/>
                    <a:pt x="1193641" y="948765"/>
                  </a:cubicBezTo>
                  <a:cubicBezTo>
                    <a:pt x="1205071" y="938781"/>
                    <a:pt x="1236504" y="868897"/>
                    <a:pt x="1260078" y="809710"/>
                  </a:cubicBezTo>
                  <a:cubicBezTo>
                    <a:pt x="1261507" y="806144"/>
                    <a:pt x="1263650" y="802579"/>
                    <a:pt x="1267222" y="801153"/>
                  </a:cubicBezTo>
                  <a:cubicBezTo>
                    <a:pt x="1274366" y="797587"/>
                    <a:pt x="1279366" y="791882"/>
                    <a:pt x="1282938" y="786177"/>
                  </a:cubicBezTo>
                  <a:cubicBezTo>
                    <a:pt x="1282938" y="786177"/>
                    <a:pt x="1282938" y="786177"/>
                    <a:pt x="1320800" y="768350"/>
                  </a:cubicBezTo>
                  <a:cubicBezTo>
                    <a:pt x="1320800" y="769776"/>
                    <a:pt x="1320800" y="770489"/>
                    <a:pt x="1320800" y="771915"/>
                  </a:cubicBezTo>
                  <a:cubicBezTo>
                    <a:pt x="1318657" y="783325"/>
                    <a:pt x="1312228" y="810423"/>
                    <a:pt x="1287225" y="826111"/>
                  </a:cubicBezTo>
                  <a:cubicBezTo>
                    <a:pt x="1272937" y="861766"/>
                    <a:pt x="1235075" y="953757"/>
                    <a:pt x="1215072" y="972297"/>
                  </a:cubicBezTo>
                  <a:cubicBezTo>
                    <a:pt x="1213644" y="973010"/>
                    <a:pt x="1211500" y="974436"/>
                    <a:pt x="1209357" y="976576"/>
                  </a:cubicBezTo>
                  <a:cubicBezTo>
                    <a:pt x="1209357" y="976576"/>
                    <a:pt x="1209357" y="976576"/>
                    <a:pt x="1209357" y="1009378"/>
                  </a:cubicBezTo>
                  <a:cubicBezTo>
                    <a:pt x="1209357" y="1009378"/>
                    <a:pt x="1209357" y="1009378"/>
                    <a:pt x="1208643" y="1010092"/>
                  </a:cubicBezTo>
                  <a:cubicBezTo>
                    <a:pt x="1208643" y="1010092"/>
                    <a:pt x="1196499" y="1020788"/>
                    <a:pt x="1177925" y="1035050"/>
                  </a:cubicBezTo>
                  <a:cubicBezTo>
                    <a:pt x="1177925" y="1035050"/>
                    <a:pt x="1177925" y="1035050"/>
                    <a:pt x="1177925" y="998682"/>
                  </a:cubicBezTo>
                  <a:cubicBezTo>
                    <a:pt x="1152922" y="1015083"/>
                    <a:pt x="1118632" y="1031485"/>
                    <a:pt x="1092200" y="1031485"/>
                  </a:cubicBezTo>
                  <a:cubicBezTo>
                    <a:pt x="1066482" y="1031485"/>
                    <a:pt x="1032192" y="1015083"/>
                    <a:pt x="1005760" y="998682"/>
                  </a:cubicBezTo>
                  <a:cubicBezTo>
                    <a:pt x="1005760" y="998682"/>
                    <a:pt x="1005760" y="998682"/>
                    <a:pt x="1005760" y="1035050"/>
                  </a:cubicBezTo>
                  <a:cubicBezTo>
                    <a:pt x="988615" y="1020788"/>
                    <a:pt x="975757" y="1010805"/>
                    <a:pt x="975757" y="1010092"/>
                  </a:cubicBezTo>
                  <a:cubicBezTo>
                    <a:pt x="975757" y="1010092"/>
                    <a:pt x="975757" y="1010092"/>
                    <a:pt x="974328" y="1009378"/>
                  </a:cubicBezTo>
                  <a:cubicBezTo>
                    <a:pt x="974328" y="1009378"/>
                    <a:pt x="974328" y="1009378"/>
                    <a:pt x="974328" y="975863"/>
                  </a:cubicBezTo>
                  <a:cubicBezTo>
                    <a:pt x="972899" y="974436"/>
                    <a:pt x="970756" y="973010"/>
                    <a:pt x="969327" y="972297"/>
                  </a:cubicBezTo>
                  <a:cubicBezTo>
                    <a:pt x="949325" y="953757"/>
                    <a:pt x="911463" y="861766"/>
                    <a:pt x="897175" y="826111"/>
                  </a:cubicBezTo>
                  <a:cubicBezTo>
                    <a:pt x="873601" y="811136"/>
                    <a:pt x="866457" y="786891"/>
                    <a:pt x="863600" y="773342"/>
                  </a:cubicBezTo>
                  <a:cubicBezTo>
                    <a:pt x="863600" y="771202"/>
                    <a:pt x="863600" y="769776"/>
                    <a:pt x="863600" y="768350"/>
                  </a:cubicBezTo>
                  <a:close/>
                  <a:moveTo>
                    <a:pt x="196850" y="768350"/>
                  </a:moveTo>
                  <a:cubicBezTo>
                    <a:pt x="196850" y="768350"/>
                    <a:pt x="196850" y="768350"/>
                    <a:pt x="234653" y="786267"/>
                  </a:cubicBezTo>
                  <a:cubicBezTo>
                    <a:pt x="238219" y="792000"/>
                    <a:pt x="242498" y="797733"/>
                    <a:pt x="250344" y="801317"/>
                  </a:cubicBezTo>
                  <a:cubicBezTo>
                    <a:pt x="253197" y="802750"/>
                    <a:pt x="256050" y="806333"/>
                    <a:pt x="257477" y="809917"/>
                  </a:cubicBezTo>
                  <a:cubicBezTo>
                    <a:pt x="281014" y="869400"/>
                    <a:pt x="312398" y="939633"/>
                    <a:pt x="323097" y="949667"/>
                  </a:cubicBezTo>
                  <a:cubicBezTo>
                    <a:pt x="343068" y="966867"/>
                    <a:pt x="397276" y="1001267"/>
                    <a:pt x="425093" y="1001267"/>
                  </a:cubicBezTo>
                  <a:cubicBezTo>
                    <a:pt x="453624" y="1001267"/>
                    <a:pt x="507831" y="966867"/>
                    <a:pt x="527089" y="949667"/>
                  </a:cubicBezTo>
                  <a:cubicBezTo>
                    <a:pt x="538502" y="939633"/>
                    <a:pt x="569885" y="869400"/>
                    <a:pt x="593423" y="809917"/>
                  </a:cubicBezTo>
                  <a:cubicBezTo>
                    <a:pt x="594849" y="806333"/>
                    <a:pt x="596989" y="802750"/>
                    <a:pt x="600555" y="801317"/>
                  </a:cubicBezTo>
                  <a:cubicBezTo>
                    <a:pt x="607688" y="797733"/>
                    <a:pt x="612681" y="792000"/>
                    <a:pt x="616247" y="786267"/>
                  </a:cubicBezTo>
                  <a:cubicBezTo>
                    <a:pt x="616247" y="786267"/>
                    <a:pt x="616247" y="786267"/>
                    <a:pt x="654050" y="768350"/>
                  </a:cubicBezTo>
                  <a:cubicBezTo>
                    <a:pt x="654050" y="769783"/>
                    <a:pt x="654050" y="770500"/>
                    <a:pt x="654050" y="771933"/>
                  </a:cubicBezTo>
                  <a:cubicBezTo>
                    <a:pt x="651910" y="783400"/>
                    <a:pt x="645491" y="810633"/>
                    <a:pt x="620527" y="826400"/>
                  </a:cubicBezTo>
                  <a:cubicBezTo>
                    <a:pt x="606261" y="862233"/>
                    <a:pt x="568459" y="954683"/>
                    <a:pt x="548487" y="973317"/>
                  </a:cubicBezTo>
                  <a:cubicBezTo>
                    <a:pt x="547061" y="974033"/>
                    <a:pt x="544921" y="975467"/>
                    <a:pt x="543494" y="976900"/>
                  </a:cubicBezTo>
                  <a:cubicBezTo>
                    <a:pt x="543494" y="976900"/>
                    <a:pt x="543494" y="976900"/>
                    <a:pt x="543494" y="1008433"/>
                  </a:cubicBezTo>
                  <a:cubicBezTo>
                    <a:pt x="543494" y="1008433"/>
                    <a:pt x="543494" y="1008433"/>
                    <a:pt x="536362" y="1017033"/>
                  </a:cubicBezTo>
                  <a:cubicBezTo>
                    <a:pt x="536362" y="1017750"/>
                    <a:pt x="528516" y="1029217"/>
                    <a:pt x="512111" y="1041400"/>
                  </a:cubicBezTo>
                  <a:cubicBezTo>
                    <a:pt x="512111" y="1041400"/>
                    <a:pt x="512111" y="1041400"/>
                    <a:pt x="512111" y="999833"/>
                  </a:cubicBezTo>
                  <a:cubicBezTo>
                    <a:pt x="485720" y="1016317"/>
                    <a:pt x="451484" y="1032800"/>
                    <a:pt x="425093" y="1032800"/>
                  </a:cubicBezTo>
                  <a:cubicBezTo>
                    <a:pt x="399416" y="1032800"/>
                    <a:pt x="365179" y="1016317"/>
                    <a:pt x="339502" y="999833"/>
                  </a:cubicBezTo>
                  <a:cubicBezTo>
                    <a:pt x="339502" y="999833"/>
                    <a:pt x="339502" y="999833"/>
                    <a:pt x="339502" y="1041400"/>
                  </a:cubicBezTo>
                  <a:cubicBezTo>
                    <a:pt x="323097" y="1029217"/>
                    <a:pt x="315251" y="1018467"/>
                    <a:pt x="314538" y="1017033"/>
                  </a:cubicBezTo>
                  <a:cubicBezTo>
                    <a:pt x="314538" y="1017033"/>
                    <a:pt x="314538" y="1017033"/>
                    <a:pt x="308118" y="1008433"/>
                  </a:cubicBezTo>
                  <a:cubicBezTo>
                    <a:pt x="308118" y="1008433"/>
                    <a:pt x="308118" y="1008433"/>
                    <a:pt x="308118" y="977617"/>
                  </a:cubicBezTo>
                  <a:cubicBezTo>
                    <a:pt x="305979" y="975467"/>
                    <a:pt x="303839" y="974033"/>
                    <a:pt x="302412" y="973317"/>
                  </a:cubicBezTo>
                  <a:cubicBezTo>
                    <a:pt x="282441" y="954683"/>
                    <a:pt x="244638" y="862233"/>
                    <a:pt x="230373" y="826400"/>
                  </a:cubicBezTo>
                  <a:cubicBezTo>
                    <a:pt x="206835" y="811350"/>
                    <a:pt x="199703" y="786983"/>
                    <a:pt x="196850" y="773367"/>
                  </a:cubicBezTo>
                  <a:cubicBezTo>
                    <a:pt x="196850" y="771217"/>
                    <a:pt x="196850" y="769783"/>
                    <a:pt x="196850" y="768350"/>
                  </a:cubicBezTo>
                  <a:close/>
                  <a:moveTo>
                    <a:pt x="1091126" y="431800"/>
                  </a:moveTo>
                  <a:cubicBezTo>
                    <a:pt x="1217104" y="431800"/>
                    <a:pt x="1313734" y="532598"/>
                    <a:pt x="1313734" y="656987"/>
                  </a:cubicBezTo>
                  <a:cubicBezTo>
                    <a:pt x="1313734" y="684152"/>
                    <a:pt x="1314450" y="709888"/>
                    <a:pt x="1305861" y="733479"/>
                  </a:cubicBezTo>
                  <a:cubicBezTo>
                    <a:pt x="1305861" y="732764"/>
                    <a:pt x="1305861" y="732764"/>
                    <a:pt x="1305861" y="732764"/>
                  </a:cubicBezTo>
                  <a:cubicBezTo>
                    <a:pt x="1305145" y="733479"/>
                    <a:pt x="1301566" y="744202"/>
                    <a:pt x="1281524" y="767793"/>
                  </a:cubicBezTo>
                  <a:cubicBezTo>
                    <a:pt x="1280809" y="768508"/>
                    <a:pt x="1280093" y="768508"/>
                    <a:pt x="1279377" y="768508"/>
                  </a:cubicBezTo>
                  <a:cubicBezTo>
                    <a:pt x="1265061" y="768508"/>
                    <a:pt x="1265061" y="768508"/>
                    <a:pt x="1265061" y="768508"/>
                  </a:cubicBezTo>
                  <a:cubicBezTo>
                    <a:pt x="1264346" y="768508"/>
                    <a:pt x="1264346" y="768508"/>
                    <a:pt x="1263630" y="768508"/>
                  </a:cubicBezTo>
                  <a:cubicBezTo>
                    <a:pt x="971591" y="612664"/>
                    <a:pt x="971591" y="612664"/>
                    <a:pt x="971591" y="612664"/>
                  </a:cubicBezTo>
                  <a:cubicBezTo>
                    <a:pt x="970875" y="612664"/>
                    <a:pt x="969443" y="612664"/>
                    <a:pt x="968728" y="612664"/>
                  </a:cubicBezTo>
                  <a:cubicBezTo>
                    <a:pt x="903591" y="634111"/>
                    <a:pt x="904307" y="769938"/>
                    <a:pt x="882118" y="749921"/>
                  </a:cubicBezTo>
                  <a:cubicBezTo>
                    <a:pt x="882118" y="749206"/>
                    <a:pt x="882118" y="749206"/>
                    <a:pt x="882118" y="749206"/>
                  </a:cubicBezTo>
                  <a:cubicBezTo>
                    <a:pt x="872813" y="724900"/>
                    <a:pt x="869950" y="684867"/>
                    <a:pt x="869950" y="656987"/>
                  </a:cubicBezTo>
                  <a:cubicBezTo>
                    <a:pt x="869950" y="532598"/>
                    <a:pt x="966580" y="431800"/>
                    <a:pt x="1091126" y="431800"/>
                  </a:cubicBezTo>
                  <a:close/>
                  <a:moveTo>
                    <a:pt x="425450" y="431800"/>
                  </a:moveTo>
                  <a:cubicBezTo>
                    <a:pt x="550913" y="431800"/>
                    <a:pt x="646983" y="533574"/>
                    <a:pt x="646983" y="659000"/>
                  </a:cubicBezTo>
                  <a:cubicBezTo>
                    <a:pt x="646983" y="686235"/>
                    <a:pt x="647700" y="712037"/>
                    <a:pt x="639097" y="735689"/>
                  </a:cubicBezTo>
                  <a:cubicBezTo>
                    <a:pt x="638380" y="735689"/>
                    <a:pt x="634795" y="747156"/>
                    <a:pt x="614004" y="771525"/>
                  </a:cubicBezTo>
                  <a:cubicBezTo>
                    <a:pt x="614004" y="771525"/>
                    <a:pt x="614004" y="771525"/>
                    <a:pt x="597514" y="771525"/>
                  </a:cubicBezTo>
                  <a:cubicBezTo>
                    <a:pt x="597514" y="771525"/>
                    <a:pt x="597514" y="762924"/>
                    <a:pt x="595363" y="603813"/>
                  </a:cubicBezTo>
                  <a:cubicBezTo>
                    <a:pt x="570271" y="731389"/>
                    <a:pt x="303571" y="613847"/>
                    <a:pt x="303571" y="613847"/>
                  </a:cubicBezTo>
                  <a:cubicBezTo>
                    <a:pt x="236896" y="634631"/>
                    <a:pt x="249084" y="768658"/>
                    <a:pt x="249084" y="768658"/>
                  </a:cubicBezTo>
                  <a:cubicBezTo>
                    <a:pt x="249084" y="768658"/>
                    <a:pt x="249084" y="768658"/>
                    <a:pt x="234028" y="766508"/>
                  </a:cubicBezTo>
                  <a:cubicBezTo>
                    <a:pt x="234028" y="766508"/>
                    <a:pt x="234028" y="758624"/>
                    <a:pt x="211803" y="738556"/>
                  </a:cubicBezTo>
                  <a:cubicBezTo>
                    <a:pt x="211803" y="738556"/>
                    <a:pt x="211803" y="738556"/>
                    <a:pt x="211803" y="737839"/>
                  </a:cubicBezTo>
                  <a:cubicBezTo>
                    <a:pt x="203200" y="713471"/>
                    <a:pt x="203200" y="686952"/>
                    <a:pt x="203200" y="659000"/>
                  </a:cubicBezTo>
                  <a:cubicBezTo>
                    <a:pt x="203200" y="533574"/>
                    <a:pt x="299269" y="431800"/>
                    <a:pt x="425450" y="431800"/>
                  </a:cubicBezTo>
                  <a:close/>
                  <a:moveTo>
                    <a:pt x="1351838" y="417512"/>
                  </a:moveTo>
                  <a:cubicBezTo>
                    <a:pt x="1397383" y="417512"/>
                    <a:pt x="1440793" y="437398"/>
                    <a:pt x="1470682" y="472908"/>
                  </a:cubicBezTo>
                  <a:cubicBezTo>
                    <a:pt x="1476375" y="479299"/>
                    <a:pt x="1475664" y="489242"/>
                    <a:pt x="1468547" y="494924"/>
                  </a:cubicBezTo>
                  <a:cubicBezTo>
                    <a:pt x="1465701" y="497054"/>
                    <a:pt x="1462142" y="498475"/>
                    <a:pt x="1458584" y="498475"/>
                  </a:cubicBezTo>
                  <a:cubicBezTo>
                    <a:pt x="1454314" y="498475"/>
                    <a:pt x="1450045" y="496344"/>
                    <a:pt x="1446486" y="492793"/>
                  </a:cubicBezTo>
                  <a:cubicBezTo>
                    <a:pt x="1423002" y="465095"/>
                    <a:pt x="1388132" y="448761"/>
                    <a:pt x="1351838" y="448761"/>
                  </a:cubicBezTo>
                  <a:cubicBezTo>
                    <a:pt x="1322661" y="448761"/>
                    <a:pt x="1294907" y="458704"/>
                    <a:pt x="1272135" y="477169"/>
                  </a:cubicBezTo>
                  <a:cubicBezTo>
                    <a:pt x="1272135" y="477169"/>
                    <a:pt x="1272135" y="477169"/>
                    <a:pt x="1272135" y="476459"/>
                  </a:cubicBezTo>
                  <a:cubicBezTo>
                    <a:pt x="1265018" y="469357"/>
                    <a:pt x="1257190" y="462255"/>
                    <a:pt x="1249362" y="455863"/>
                  </a:cubicBezTo>
                  <a:cubicBezTo>
                    <a:pt x="1277116" y="431006"/>
                    <a:pt x="1313410" y="417512"/>
                    <a:pt x="1351838" y="417512"/>
                  </a:cubicBezTo>
                  <a:close/>
                  <a:moveTo>
                    <a:pt x="759619" y="417512"/>
                  </a:moveTo>
                  <a:cubicBezTo>
                    <a:pt x="805906" y="417512"/>
                    <a:pt x="849344" y="437647"/>
                    <a:pt x="878541" y="473604"/>
                  </a:cubicBezTo>
                  <a:cubicBezTo>
                    <a:pt x="884238" y="480076"/>
                    <a:pt x="883526" y="490144"/>
                    <a:pt x="877117" y="495897"/>
                  </a:cubicBezTo>
                  <a:cubicBezTo>
                    <a:pt x="874268" y="498054"/>
                    <a:pt x="870708" y="499492"/>
                    <a:pt x="867147" y="499492"/>
                  </a:cubicBezTo>
                  <a:cubicBezTo>
                    <a:pt x="862162" y="499492"/>
                    <a:pt x="857890" y="497335"/>
                    <a:pt x="855041" y="493739"/>
                  </a:cubicBezTo>
                  <a:cubicBezTo>
                    <a:pt x="830830" y="465693"/>
                    <a:pt x="796648" y="449154"/>
                    <a:pt x="759619" y="449154"/>
                  </a:cubicBezTo>
                  <a:cubicBezTo>
                    <a:pt x="722589" y="449154"/>
                    <a:pt x="688408" y="465693"/>
                    <a:pt x="664196" y="493739"/>
                  </a:cubicBezTo>
                  <a:cubicBezTo>
                    <a:pt x="658499" y="500212"/>
                    <a:pt x="649242" y="501650"/>
                    <a:pt x="642121" y="495897"/>
                  </a:cubicBezTo>
                  <a:cubicBezTo>
                    <a:pt x="635712" y="490144"/>
                    <a:pt x="635000" y="480076"/>
                    <a:pt x="640697" y="473604"/>
                  </a:cubicBezTo>
                  <a:cubicBezTo>
                    <a:pt x="669893" y="437647"/>
                    <a:pt x="713332" y="417512"/>
                    <a:pt x="759619" y="417512"/>
                  </a:cubicBezTo>
                  <a:close/>
                  <a:moveTo>
                    <a:pt x="165812" y="417512"/>
                  </a:moveTo>
                  <a:cubicBezTo>
                    <a:pt x="204240" y="417512"/>
                    <a:pt x="240534" y="431175"/>
                    <a:pt x="268288" y="456345"/>
                  </a:cubicBezTo>
                  <a:cubicBezTo>
                    <a:pt x="260460" y="462817"/>
                    <a:pt x="252632" y="470008"/>
                    <a:pt x="244804" y="477200"/>
                  </a:cubicBezTo>
                  <a:cubicBezTo>
                    <a:pt x="222743" y="459221"/>
                    <a:pt x="194989" y="449154"/>
                    <a:pt x="165812" y="449154"/>
                  </a:cubicBezTo>
                  <a:cubicBezTo>
                    <a:pt x="129518" y="449154"/>
                    <a:pt x="94648" y="465693"/>
                    <a:pt x="71164" y="493739"/>
                  </a:cubicBezTo>
                  <a:cubicBezTo>
                    <a:pt x="65470" y="500212"/>
                    <a:pt x="55508" y="501650"/>
                    <a:pt x="49103" y="495897"/>
                  </a:cubicBezTo>
                  <a:cubicBezTo>
                    <a:pt x="41986" y="490144"/>
                    <a:pt x="41275" y="480076"/>
                    <a:pt x="46968" y="473604"/>
                  </a:cubicBezTo>
                  <a:cubicBezTo>
                    <a:pt x="76857" y="437647"/>
                    <a:pt x="120267" y="417512"/>
                    <a:pt x="165812" y="417512"/>
                  </a:cubicBezTo>
                  <a:close/>
                  <a:moveTo>
                    <a:pt x="1260912" y="277812"/>
                  </a:moveTo>
                  <a:cubicBezTo>
                    <a:pt x="1307332" y="277812"/>
                    <a:pt x="1350895" y="298667"/>
                    <a:pt x="1380889" y="333904"/>
                  </a:cubicBezTo>
                  <a:cubicBezTo>
                    <a:pt x="1385888" y="341095"/>
                    <a:pt x="1385174" y="351163"/>
                    <a:pt x="1378747" y="356197"/>
                  </a:cubicBezTo>
                  <a:cubicBezTo>
                    <a:pt x="1375890" y="359073"/>
                    <a:pt x="1372319" y="359792"/>
                    <a:pt x="1368749" y="359792"/>
                  </a:cubicBezTo>
                  <a:cubicBezTo>
                    <a:pt x="1364464" y="359792"/>
                    <a:pt x="1359465" y="358354"/>
                    <a:pt x="1356608" y="354759"/>
                  </a:cubicBezTo>
                  <a:cubicBezTo>
                    <a:pt x="1333041" y="325993"/>
                    <a:pt x="1298048" y="309454"/>
                    <a:pt x="1260912" y="309454"/>
                  </a:cubicBezTo>
                  <a:cubicBezTo>
                    <a:pt x="1223776" y="309454"/>
                    <a:pt x="1189497" y="325993"/>
                    <a:pt x="1165930" y="354759"/>
                  </a:cubicBezTo>
                  <a:cubicBezTo>
                    <a:pt x="1160931" y="361231"/>
                    <a:pt x="1150933" y="361950"/>
                    <a:pt x="1143791" y="356197"/>
                  </a:cubicBezTo>
                  <a:cubicBezTo>
                    <a:pt x="1137364" y="351163"/>
                    <a:pt x="1136650" y="341095"/>
                    <a:pt x="1142363" y="333904"/>
                  </a:cubicBezTo>
                  <a:cubicBezTo>
                    <a:pt x="1171643" y="298667"/>
                    <a:pt x="1214492" y="277812"/>
                    <a:pt x="1260912" y="277812"/>
                  </a:cubicBezTo>
                  <a:close/>
                  <a:moveTo>
                    <a:pt x="926306" y="277812"/>
                  </a:moveTo>
                  <a:cubicBezTo>
                    <a:pt x="972593" y="277812"/>
                    <a:pt x="1016031" y="298667"/>
                    <a:pt x="1045940" y="333904"/>
                  </a:cubicBezTo>
                  <a:cubicBezTo>
                    <a:pt x="1050925" y="341095"/>
                    <a:pt x="1050213" y="351163"/>
                    <a:pt x="1043804" y="356197"/>
                  </a:cubicBezTo>
                  <a:cubicBezTo>
                    <a:pt x="1040955" y="359073"/>
                    <a:pt x="1037395" y="359792"/>
                    <a:pt x="1033834" y="359792"/>
                  </a:cubicBezTo>
                  <a:cubicBezTo>
                    <a:pt x="1028849" y="359792"/>
                    <a:pt x="1024577" y="358354"/>
                    <a:pt x="1021728" y="354759"/>
                  </a:cubicBezTo>
                  <a:cubicBezTo>
                    <a:pt x="998229" y="325993"/>
                    <a:pt x="963335" y="309454"/>
                    <a:pt x="926306" y="309454"/>
                  </a:cubicBezTo>
                  <a:cubicBezTo>
                    <a:pt x="889276" y="309454"/>
                    <a:pt x="855095" y="325993"/>
                    <a:pt x="830883" y="354759"/>
                  </a:cubicBezTo>
                  <a:cubicBezTo>
                    <a:pt x="825186" y="361231"/>
                    <a:pt x="815929" y="361950"/>
                    <a:pt x="808808" y="356197"/>
                  </a:cubicBezTo>
                  <a:cubicBezTo>
                    <a:pt x="802399" y="351163"/>
                    <a:pt x="801687" y="341095"/>
                    <a:pt x="807384" y="333904"/>
                  </a:cubicBezTo>
                  <a:cubicBezTo>
                    <a:pt x="836580" y="298667"/>
                    <a:pt x="880019" y="277812"/>
                    <a:pt x="926306" y="277812"/>
                  </a:cubicBezTo>
                  <a:close/>
                  <a:moveTo>
                    <a:pt x="592137" y="277812"/>
                  </a:moveTo>
                  <a:cubicBezTo>
                    <a:pt x="638719" y="277812"/>
                    <a:pt x="682434" y="298667"/>
                    <a:pt x="711817" y="333904"/>
                  </a:cubicBezTo>
                  <a:cubicBezTo>
                    <a:pt x="717550" y="341095"/>
                    <a:pt x="716833" y="351163"/>
                    <a:pt x="710383" y="356197"/>
                  </a:cubicBezTo>
                  <a:cubicBezTo>
                    <a:pt x="707517" y="359073"/>
                    <a:pt x="703934" y="359792"/>
                    <a:pt x="700350" y="359792"/>
                  </a:cubicBezTo>
                  <a:cubicBezTo>
                    <a:pt x="695334" y="359792"/>
                    <a:pt x="691034" y="358354"/>
                    <a:pt x="688167" y="354759"/>
                  </a:cubicBezTo>
                  <a:cubicBezTo>
                    <a:pt x="663802" y="325993"/>
                    <a:pt x="629403" y="309454"/>
                    <a:pt x="592137" y="309454"/>
                  </a:cubicBezTo>
                  <a:cubicBezTo>
                    <a:pt x="554872" y="309454"/>
                    <a:pt x="519756" y="325993"/>
                    <a:pt x="496107" y="354759"/>
                  </a:cubicBezTo>
                  <a:cubicBezTo>
                    <a:pt x="490374" y="361231"/>
                    <a:pt x="480341" y="361950"/>
                    <a:pt x="473891" y="356197"/>
                  </a:cubicBezTo>
                  <a:cubicBezTo>
                    <a:pt x="467441" y="351163"/>
                    <a:pt x="466725" y="341095"/>
                    <a:pt x="471741" y="333904"/>
                  </a:cubicBezTo>
                  <a:cubicBezTo>
                    <a:pt x="501840" y="298667"/>
                    <a:pt x="545555" y="277812"/>
                    <a:pt x="592137" y="277812"/>
                  </a:cubicBezTo>
                  <a:close/>
                  <a:moveTo>
                    <a:pt x="257174" y="277812"/>
                  </a:moveTo>
                  <a:cubicBezTo>
                    <a:pt x="303756" y="277812"/>
                    <a:pt x="347471" y="298667"/>
                    <a:pt x="376854" y="333904"/>
                  </a:cubicBezTo>
                  <a:cubicBezTo>
                    <a:pt x="382587" y="341095"/>
                    <a:pt x="381870" y="351163"/>
                    <a:pt x="375420" y="356197"/>
                  </a:cubicBezTo>
                  <a:cubicBezTo>
                    <a:pt x="372554" y="359073"/>
                    <a:pt x="368254" y="359792"/>
                    <a:pt x="365387" y="359792"/>
                  </a:cubicBezTo>
                  <a:cubicBezTo>
                    <a:pt x="360371" y="359792"/>
                    <a:pt x="356071" y="358354"/>
                    <a:pt x="353204" y="354759"/>
                  </a:cubicBezTo>
                  <a:cubicBezTo>
                    <a:pt x="328839" y="325993"/>
                    <a:pt x="294440" y="309454"/>
                    <a:pt x="257174" y="309454"/>
                  </a:cubicBezTo>
                  <a:cubicBezTo>
                    <a:pt x="219909" y="309454"/>
                    <a:pt x="184793" y="325993"/>
                    <a:pt x="161144" y="354759"/>
                  </a:cubicBezTo>
                  <a:cubicBezTo>
                    <a:pt x="155411" y="361231"/>
                    <a:pt x="145378" y="361950"/>
                    <a:pt x="138928" y="356197"/>
                  </a:cubicBezTo>
                  <a:cubicBezTo>
                    <a:pt x="132478" y="351163"/>
                    <a:pt x="131762" y="341095"/>
                    <a:pt x="136778" y="333904"/>
                  </a:cubicBezTo>
                  <a:cubicBezTo>
                    <a:pt x="166877" y="298667"/>
                    <a:pt x="210592" y="277812"/>
                    <a:pt x="257174" y="277812"/>
                  </a:cubicBezTo>
                  <a:close/>
                  <a:moveTo>
                    <a:pt x="1093351" y="139700"/>
                  </a:moveTo>
                  <a:cubicBezTo>
                    <a:pt x="1139771" y="139700"/>
                    <a:pt x="1182619" y="159665"/>
                    <a:pt x="1212614" y="196030"/>
                  </a:cubicBezTo>
                  <a:cubicBezTo>
                    <a:pt x="1217613" y="202447"/>
                    <a:pt x="1216899" y="212429"/>
                    <a:pt x="1210471" y="218134"/>
                  </a:cubicBezTo>
                  <a:cubicBezTo>
                    <a:pt x="1207615" y="220273"/>
                    <a:pt x="1204044" y="221699"/>
                    <a:pt x="1200473" y="221699"/>
                  </a:cubicBezTo>
                  <a:cubicBezTo>
                    <a:pt x="1195474" y="221699"/>
                    <a:pt x="1191189" y="219560"/>
                    <a:pt x="1188333" y="215994"/>
                  </a:cubicBezTo>
                  <a:cubicBezTo>
                    <a:pt x="1165480" y="188186"/>
                    <a:pt x="1130487" y="171786"/>
                    <a:pt x="1093351" y="171786"/>
                  </a:cubicBezTo>
                  <a:cubicBezTo>
                    <a:pt x="1056215" y="171786"/>
                    <a:pt x="1021936" y="188186"/>
                    <a:pt x="997655" y="215994"/>
                  </a:cubicBezTo>
                  <a:cubicBezTo>
                    <a:pt x="991942" y="222412"/>
                    <a:pt x="982658" y="223838"/>
                    <a:pt x="975516" y="218134"/>
                  </a:cubicBezTo>
                  <a:cubicBezTo>
                    <a:pt x="969089" y="212429"/>
                    <a:pt x="968375" y="202447"/>
                    <a:pt x="974088" y="196030"/>
                  </a:cubicBezTo>
                  <a:cubicBezTo>
                    <a:pt x="1003368" y="159665"/>
                    <a:pt x="1046931" y="139700"/>
                    <a:pt x="1093351" y="139700"/>
                  </a:cubicBezTo>
                  <a:close/>
                  <a:moveTo>
                    <a:pt x="759619" y="139700"/>
                  </a:moveTo>
                  <a:cubicBezTo>
                    <a:pt x="805906" y="139700"/>
                    <a:pt x="849344" y="159665"/>
                    <a:pt x="878541" y="196030"/>
                  </a:cubicBezTo>
                  <a:cubicBezTo>
                    <a:pt x="884238" y="202447"/>
                    <a:pt x="883526" y="212429"/>
                    <a:pt x="877117" y="218134"/>
                  </a:cubicBezTo>
                  <a:cubicBezTo>
                    <a:pt x="874268" y="220273"/>
                    <a:pt x="870708" y="221699"/>
                    <a:pt x="867147" y="221699"/>
                  </a:cubicBezTo>
                  <a:cubicBezTo>
                    <a:pt x="862162" y="221699"/>
                    <a:pt x="857890" y="219560"/>
                    <a:pt x="855041" y="215994"/>
                  </a:cubicBezTo>
                  <a:cubicBezTo>
                    <a:pt x="830830" y="188186"/>
                    <a:pt x="796648" y="171786"/>
                    <a:pt x="759619" y="171786"/>
                  </a:cubicBezTo>
                  <a:cubicBezTo>
                    <a:pt x="722589" y="171786"/>
                    <a:pt x="688408" y="188186"/>
                    <a:pt x="664196" y="215994"/>
                  </a:cubicBezTo>
                  <a:cubicBezTo>
                    <a:pt x="658499" y="222412"/>
                    <a:pt x="649242" y="223838"/>
                    <a:pt x="642121" y="218134"/>
                  </a:cubicBezTo>
                  <a:cubicBezTo>
                    <a:pt x="635712" y="212429"/>
                    <a:pt x="635000" y="202447"/>
                    <a:pt x="640697" y="196030"/>
                  </a:cubicBezTo>
                  <a:cubicBezTo>
                    <a:pt x="669893" y="159665"/>
                    <a:pt x="713332" y="139700"/>
                    <a:pt x="759619" y="139700"/>
                  </a:cubicBezTo>
                  <a:close/>
                  <a:moveTo>
                    <a:pt x="424656" y="139700"/>
                  </a:moveTo>
                  <a:cubicBezTo>
                    <a:pt x="470943" y="139700"/>
                    <a:pt x="514381" y="159665"/>
                    <a:pt x="543578" y="196030"/>
                  </a:cubicBezTo>
                  <a:cubicBezTo>
                    <a:pt x="549275" y="202447"/>
                    <a:pt x="548563" y="212429"/>
                    <a:pt x="542154" y="218134"/>
                  </a:cubicBezTo>
                  <a:cubicBezTo>
                    <a:pt x="539305" y="220273"/>
                    <a:pt x="535745" y="221699"/>
                    <a:pt x="532184" y="221699"/>
                  </a:cubicBezTo>
                  <a:cubicBezTo>
                    <a:pt x="527199" y="221699"/>
                    <a:pt x="522927" y="219560"/>
                    <a:pt x="520078" y="215994"/>
                  </a:cubicBezTo>
                  <a:cubicBezTo>
                    <a:pt x="495867" y="188186"/>
                    <a:pt x="461685" y="171786"/>
                    <a:pt x="424656" y="171786"/>
                  </a:cubicBezTo>
                  <a:cubicBezTo>
                    <a:pt x="387626" y="171786"/>
                    <a:pt x="352733" y="188186"/>
                    <a:pt x="329233" y="215994"/>
                  </a:cubicBezTo>
                  <a:cubicBezTo>
                    <a:pt x="323536" y="222412"/>
                    <a:pt x="313567" y="223838"/>
                    <a:pt x="307158" y="218134"/>
                  </a:cubicBezTo>
                  <a:cubicBezTo>
                    <a:pt x="300749" y="212429"/>
                    <a:pt x="300037" y="202447"/>
                    <a:pt x="305022" y="196030"/>
                  </a:cubicBezTo>
                  <a:cubicBezTo>
                    <a:pt x="334930" y="159665"/>
                    <a:pt x="378369" y="139700"/>
                    <a:pt x="424656" y="139700"/>
                  </a:cubicBezTo>
                  <a:close/>
                  <a:moveTo>
                    <a:pt x="926306" y="0"/>
                  </a:moveTo>
                  <a:cubicBezTo>
                    <a:pt x="972593" y="0"/>
                    <a:pt x="1016031" y="20855"/>
                    <a:pt x="1045940" y="56092"/>
                  </a:cubicBezTo>
                  <a:cubicBezTo>
                    <a:pt x="1050925" y="63283"/>
                    <a:pt x="1050213" y="72632"/>
                    <a:pt x="1043804" y="78385"/>
                  </a:cubicBezTo>
                  <a:cubicBezTo>
                    <a:pt x="1040955" y="81261"/>
                    <a:pt x="1037395" y="81980"/>
                    <a:pt x="1033834" y="81980"/>
                  </a:cubicBezTo>
                  <a:cubicBezTo>
                    <a:pt x="1028849" y="81980"/>
                    <a:pt x="1024577" y="80542"/>
                    <a:pt x="1021728" y="76947"/>
                  </a:cubicBezTo>
                  <a:cubicBezTo>
                    <a:pt x="998229" y="48181"/>
                    <a:pt x="963335" y="31642"/>
                    <a:pt x="926306" y="31642"/>
                  </a:cubicBezTo>
                  <a:cubicBezTo>
                    <a:pt x="889276" y="31642"/>
                    <a:pt x="855095" y="48181"/>
                    <a:pt x="830883" y="76947"/>
                  </a:cubicBezTo>
                  <a:cubicBezTo>
                    <a:pt x="825186" y="83419"/>
                    <a:pt x="815929" y="84138"/>
                    <a:pt x="808808" y="78385"/>
                  </a:cubicBezTo>
                  <a:cubicBezTo>
                    <a:pt x="802399" y="72632"/>
                    <a:pt x="801687" y="63283"/>
                    <a:pt x="807384" y="56092"/>
                  </a:cubicBezTo>
                  <a:cubicBezTo>
                    <a:pt x="836580" y="20855"/>
                    <a:pt x="880019" y="0"/>
                    <a:pt x="926306" y="0"/>
                  </a:cubicBezTo>
                  <a:close/>
                  <a:moveTo>
                    <a:pt x="592137" y="0"/>
                  </a:moveTo>
                  <a:cubicBezTo>
                    <a:pt x="638719" y="0"/>
                    <a:pt x="682434" y="20855"/>
                    <a:pt x="711817" y="56092"/>
                  </a:cubicBezTo>
                  <a:cubicBezTo>
                    <a:pt x="717550" y="63283"/>
                    <a:pt x="716833" y="72632"/>
                    <a:pt x="710383" y="78385"/>
                  </a:cubicBezTo>
                  <a:cubicBezTo>
                    <a:pt x="707517" y="81261"/>
                    <a:pt x="703934" y="81980"/>
                    <a:pt x="700350" y="81980"/>
                  </a:cubicBezTo>
                  <a:cubicBezTo>
                    <a:pt x="695334" y="81980"/>
                    <a:pt x="691034" y="80542"/>
                    <a:pt x="688167" y="76947"/>
                  </a:cubicBezTo>
                  <a:cubicBezTo>
                    <a:pt x="663802" y="48181"/>
                    <a:pt x="629403" y="31642"/>
                    <a:pt x="592137" y="31642"/>
                  </a:cubicBezTo>
                  <a:cubicBezTo>
                    <a:pt x="554872" y="31642"/>
                    <a:pt x="519756" y="48181"/>
                    <a:pt x="496107" y="76947"/>
                  </a:cubicBezTo>
                  <a:cubicBezTo>
                    <a:pt x="490374" y="83419"/>
                    <a:pt x="480341" y="84138"/>
                    <a:pt x="473891" y="78385"/>
                  </a:cubicBezTo>
                  <a:cubicBezTo>
                    <a:pt x="467441" y="72632"/>
                    <a:pt x="466725" y="63283"/>
                    <a:pt x="471741" y="56092"/>
                  </a:cubicBezTo>
                  <a:cubicBezTo>
                    <a:pt x="501840" y="20855"/>
                    <a:pt x="545555" y="0"/>
                    <a:pt x="59213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99" name="bcgBugs_GrowthChart">
            <a:extLst>
              <a:ext uri="{FF2B5EF4-FFF2-40B4-BE49-F238E27FC236}">
                <a16:creationId xmlns:a16="http://schemas.microsoft.com/office/drawing/2014/main" id="{A911DC6D-60C8-40D9-B8DC-7E80966F4A37}"/>
              </a:ext>
            </a:extLst>
          </p:cNvPr>
          <p:cNvGrpSpPr>
            <a:grpSpLocks noChangeAspect="1"/>
          </p:cNvGrpSpPr>
          <p:nvPr/>
        </p:nvGrpSpPr>
        <p:grpSpPr bwMode="auto">
          <a:xfrm>
            <a:off x="10467975" y="4711700"/>
            <a:ext cx="667684" cy="668338"/>
            <a:chOff x="2818" y="1137"/>
            <a:chExt cx="2044" cy="2046"/>
          </a:xfrm>
        </p:grpSpPr>
        <p:sp>
          <p:nvSpPr>
            <p:cNvPr id="100" name="AutoShape 3">
              <a:extLst>
                <a:ext uri="{FF2B5EF4-FFF2-40B4-BE49-F238E27FC236}">
                  <a16:creationId xmlns:a16="http://schemas.microsoft.com/office/drawing/2014/main" id="{119B3CD8-EA91-4077-886D-D26ACBFB3456}"/>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4">
              <a:extLst>
                <a:ext uri="{FF2B5EF4-FFF2-40B4-BE49-F238E27FC236}">
                  <a16:creationId xmlns:a16="http://schemas.microsoft.com/office/drawing/2014/main" id="{FFCA9A5C-8294-4BF6-9C63-57C6F31B26B3}"/>
                </a:ext>
              </a:extLst>
            </p:cNvPr>
            <p:cNvSpPr>
              <a:spLocks noEditPoints="1"/>
            </p:cNvSpPr>
            <p:nvPr/>
          </p:nvSpPr>
          <p:spPr bwMode="auto">
            <a:xfrm>
              <a:off x="3064" y="1383"/>
              <a:ext cx="1555" cy="1556"/>
            </a:xfrm>
            <a:custGeom>
              <a:avLst/>
              <a:gdLst>
                <a:gd name="T0" fmla="*/ 162 w 760"/>
                <a:gd name="T1" fmla="*/ 464 h 760"/>
                <a:gd name="T2" fmla="*/ 162 w 760"/>
                <a:gd name="T3" fmla="*/ 738 h 760"/>
                <a:gd name="T4" fmla="*/ 140 w 760"/>
                <a:gd name="T5" fmla="*/ 760 h 760"/>
                <a:gd name="T6" fmla="*/ 22 w 760"/>
                <a:gd name="T7" fmla="*/ 760 h 760"/>
                <a:gd name="T8" fmla="*/ 0 w 760"/>
                <a:gd name="T9" fmla="*/ 738 h 760"/>
                <a:gd name="T10" fmla="*/ 0 w 760"/>
                <a:gd name="T11" fmla="*/ 464 h 760"/>
                <a:gd name="T12" fmla="*/ 22 w 760"/>
                <a:gd name="T13" fmla="*/ 442 h 760"/>
                <a:gd name="T14" fmla="*/ 140 w 760"/>
                <a:gd name="T15" fmla="*/ 442 h 760"/>
                <a:gd name="T16" fmla="*/ 162 w 760"/>
                <a:gd name="T17" fmla="*/ 464 h 760"/>
                <a:gd name="T18" fmla="*/ 340 w 760"/>
                <a:gd name="T19" fmla="*/ 318 h 760"/>
                <a:gd name="T20" fmla="*/ 221 w 760"/>
                <a:gd name="T21" fmla="*/ 318 h 760"/>
                <a:gd name="T22" fmla="*/ 199 w 760"/>
                <a:gd name="T23" fmla="*/ 340 h 760"/>
                <a:gd name="T24" fmla="*/ 199 w 760"/>
                <a:gd name="T25" fmla="*/ 738 h 760"/>
                <a:gd name="T26" fmla="*/ 221 w 760"/>
                <a:gd name="T27" fmla="*/ 760 h 760"/>
                <a:gd name="T28" fmla="*/ 340 w 760"/>
                <a:gd name="T29" fmla="*/ 760 h 760"/>
                <a:gd name="T30" fmla="*/ 362 w 760"/>
                <a:gd name="T31" fmla="*/ 738 h 760"/>
                <a:gd name="T32" fmla="*/ 362 w 760"/>
                <a:gd name="T33" fmla="*/ 340 h 760"/>
                <a:gd name="T34" fmla="*/ 340 w 760"/>
                <a:gd name="T35" fmla="*/ 318 h 760"/>
                <a:gd name="T36" fmla="*/ 539 w 760"/>
                <a:gd name="T37" fmla="*/ 179 h 760"/>
                <a:gd name="T38" fmla="*/ 420 w 760"/>
                <a:gd name="T39" fmla="*/ 179 h 760"/>
                <a:gd name="T40" fmla="*/ 398 w 760"/>
                <a:gd name="T41" fmla="*/ 201 h 760"/>
                <a:gd name="T42" fmla="*/ 398 w 760"/>
                <a:gd name="T43" fmla="*/ 738 h 760"/>
                <a:gd name="T44" fmla="*/ 420 w 760"/>
                <a:gd name="T45" fmla="*/ 760 h 760"/>
                <a:gd name="T46" fmla="*/ 539 w 760"/>
                <a:gd name="T47" fmla="*/ 760 h 760"/>
                <a:gd name="T48" fmla="*/ 561 w 760"/>
                <a:gd name="T49" fmla="*/ 738 h 760"/>
                <a:gd name="T50" fmla="*/ 561 w 760"/>
                <a:gd name="T51" fmla="*/ 201 h 760"/>
                <a:gd name="T52" fmla="*/ 539 w 760"/>
                <a:gd name="T53" fmla="*/ 179 h 760"/>
                <a:gd name="T54" fmla="*/ 738 w 760"/>
                <a:gd name="T55" fmla="*/ 0 h 760"/>
                <a:gd name="T56" fmla="*/ 620 w 760"/>
                <a:gd name="T57" fmla="*/ 0 h 760"/>
                <a:gd name="T58" fmla="*/ 598 w 760"/>
                <a:gd name="T59" fmla="*/ 22 h 760"/>
                <a:gd name="T60" fmla="*/ 598 w 760"/>
                <a:gd name="T61" fmla="*/ 738 h 760"/>
                <a:gd name="T62" fmla="*/ 620 w 760"/>
                <a:gd name="T63" fmla="*/ 760 h 760"/>
                <a:gd name="T64" fmla="*/ 738 w 760"/>
                <a:gd name="T65" fmla="*/ 760 h 760"/>
                <a:gd name="T66" fmla="*/ 760 w 760"/>
                <a:gd name="T67" fmla="*/ 738 h 760"/>
                <a:gd name="T68" fmla="*/ 760 w 760"/>
                <a:gd name="T69" fmla="*/ 22 h 760"/>
                <a:gd name="T70" fmla="*/ 738 w 760"/>
                <a:gd name="T7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0" h="760">
                  <a:moveTo>
                    <a:pt x="162" y="464"/>
                  </a:moveTo>
                  <a:cubicBezTo>
                    <a:pt x="162" y="738"/>
                    <a:pt x="162" y="738"/>
                    <a:pt x="162" y="738"/>
                  </a:cubicBezTo>
                  <a:cubicBezTo>
                    <a:pt x="162" y="751"/>
                    <a:pt x="152" y="760"/>
                    <a:pt x="140" y="760"/>
                  </a:cubicBezTo>
                  <a:cubicBezTo>
                    <a:pt x="22" y="760"/>
                    <a:pt x="22" y="760"/>
                    <a:pt x="22" y="760"/>
                  </a:cubicBezTo>
                  <a:cubicBezTo>
                    <a:pt x="9" y="760"/>
                    <a:pt x="0" y="751"/>
                    <a:pt x="0" y="738"/>
                  </a:cubicBezTo>
                  <a:cubicBezTo>
                    <a:pt x="0" y="464"/>
                    <a:pt x="0" y="464"/>
                    <a:pt x="0" y="464"/>
                  </a:cubicBezTo>
                  <a:cubicBezTo>
                    <a:pt x="0" y="452"/>
                    <a:pt x="9" y="442"/>
                    <a:pt x="22" y="442"/>
                  </a:cubicBezTo>
                  <a:cubicBezTo>
                    <a:pt x="140" y="442"/>
                    <a:pt x="140" y="442"/>
                    <a:pt x="140" y="442"/>
                  </a:cubicBezTo>
                  <a:cubicBezTo>
                    <a:pt x="152" y="442"/>
                    <a:pt x="162" y="452"/>
                    <a:pt x="162" y="464"/>
                  </a:cubicBezTo>
                  <a:close/>
                  <a:moveTo>
                    <a:pt x="340" y="318"/>
                  </a:moveTo>
                  <a:cubicBezTo>
                    <a:pt x="221" y="318"/>
                    <a:pt x="221" y="318"/>
                    <a:pt x="221" y="318"/>
                  </a:cubicBezTo>
                  <a:cubicBezTo>
                    <a:pt x="209" y="318"/>
                    <a:pt x="199" y="328"/>
                    <a:pt x="199" y="340"/>
                  </a:cubicBezTo>
                  <a:cubicBezTo>
                    <a:pt x="199" y="738"/>
                    <a:pt x="199" y="738"/>
                    <a:pt x="199" y="738"/>
                  </a:cubicBezTo>
                  <a:cubicBezTo>
                    <a:pt x="199" y="751"/>
                    <a:pt x="209" y="760"/>
                    <a:pt x="221" y="760"/>
                  </a:cubicBezTo>
                  <a:cubicBezTo>
                    <a:pt x="340" y="760"/>
                    <a:pt x="340" y="760"/>
                    <a:pt x="340" y="760"/>
                  </a:cubicBezTo>
                  <a:cubicBezTo>
                    <a:pt x="352" y="760"/>
                    <a:pt x="362" y="751"/>
                    <a:pt x="362" y="738"/>
                  </a:cubicBezTo>
                  <a:cubicBezTo>
                    <a:pt x="362" y="340"/>
                    <a:pt x="362" y="340"/>
                    <a:pt x="362" y="340"/>
                  </a:cubicBezTo>
                  <a:cubicBezTo>
                    <a:pt x="362" y="328"/>
                    <a:pt x="352" y="318"/>
                    <a:pt x="340" y="318"/>
                  </a:cubicBezTo>
                  <a:close/>
                  <a:moveTo>
                    <a:pt x="539" y="179"/>
                  </a:moveTo>
                  <a:cubicBezTo>
                    <a:pt x="420" y="179"/>
                    <a:pt x="420" y="179"/>
                    <a:pt x="420" y="179"/>
                  </a:cubicBezTo>
                  <a:cubicBezTo>
                    <a:pt x="408" y="179"/>
                    <a:pt x="398" y="189"/>
                    <a:pt x="398" y="201"/>
                  </a:cubicBezTo>
                  <a:cubicBezTo>
                    <a:pt x="398" y="738"/>
                    <a:pt x="398" y="738"/>
                    <a:pt x="398" y="738"/>
                  </a:cubicBezTo>
                  <a:cubicBezTo>
                    <a:pt x="398" y="751"/>
                    <a:pt x="408" y="760"/>
                    <a:pt x="420" y="760"/>
                  </a:cubicBezTo>
                  <a:cubicBezTo>
                    <a:pt x="539" y="760"/>
                    <a:pt x="539" y="760"/>
                    <a:pt x="539" y="760"/>
                  </a:cubicBezTo>
                  <a:cubicBezTo>
                    <a:pt x="551" y="760"/>
                    <a:pt x="561" y="751"/>
                    <a:pt x="561" y="738"/>
                  </a:cubicBezTo>
                  <a:cubicBezTo>
                    <a:pt x="561" y="201"/>
                    <a:pt x="561" y="201"/>
                    <a:pt x="561" y="201"/>
                  </a:cubicBezTo>
                  <a:cubicBezTo>
                    <a:pt x="561" y="189"/>
                    <a:pt x="551" y="179"/>
                    <a:pt x="539" y="179"/>
                  </a:cubicBezTo>
                  <a:close/>
                  <a:moveTo>
                    <a:pt x="738" y="0"/>
                  </a:moveTo>
                  <a:cubicBezTo>
                    <a:pt x="620" y="0"/>
                    <a:pt x="620" y="0"/>
                    <a:pt x="620" y="0"/>
                  </a:cubicBezTo>
                  <a:cubicBezTo>
                    <a:pt x="608" y="0"/>
                    <a:pt x="598" y="9"/>
                    <a:pt x="598" y="22"/>
                  </a:cubicBezTo>
                  <a:cubicBezTo>
                    <a:pt x="598" y="738"/>
                    <a:pt x="598" y="738"/>
                    <a:pt x="598" y="738"/>
                  </a:cubicBezTo>
                  <a:cubicBezTo>
                    <a:pt x="598" y="751"/>
                    <a:pt x="608" y="760"/>
                    <a:pt x="620" y="760"/>
                  </a:cubicBezTo>
                  <a:cubicBezTo>
                    <a:pt x="738" y="760"/>
                    <a:pt x="738" y="760"/>
                    <a:pt x="738" y="760"/>
                  </a:cubicBezTo>
                  <a:cubicBezTo>
                    <a:pt x="751" y="760"/>
                    <a:pt x="760" y="751"/>
                    <a:pt x="760" y="738"/>
                  </a:cubicBezTo>
                  <a:cubicBezTo>
                    <a:pt x="760" y="22"/>
                    <a:pt x="760" y="22"/>
                    <a:pt x="760" y="22"/>
                  </a:cubicBezTo>
                  <a:cubicBezTo>
                    <a:pt x="760" y="9"/>
                    <a:pt x="751" y="0"/>
                    <a:pt x="73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2"/>
    </p:custDataLst>
    <p:extLst>
      <p:ext uri="{BB962C8B-B14F-4D97-AF65-F5344CB8AC3E}">
        <p14:creationId xmlns:p14="http://schemas.microsoft.com/office/powerpoint/2010/main" val="1509380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2C2EF1-B20F-4AB1-A58B-B9EF49B5A57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2"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122C2EF1-B20F-4AB1-A58B-B9EF49B5A5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200" cy="886397"/>
          </a:xfrm>
        </p:spPr>
        <p:txBody>
          <a:bodyPr vert="horz"/>
          <a:lstStyle/>
          <a:p>
            <a:r>
              <a:rPr lang="en-US" sz="3200"/>
              <a:t>We leveraged the power of data to analyze the root causes and drive valuable insights</a:t>
            </a:r>
          </a:p>
        </p:txBody>
      </p:sp>
      <p:sp>
        <p:nvSpPr>
          <p:cNvPr id="6" name="ee4pHeader1">
            <a:extLst>
              <a:ext uri="{FF2B5EF4-FFF2-40B4-BE49-F238E27FC236}">
                <a16:creationId xmlns:a16="http://schemas.microsoft.com/office/drawing/2014/main" id="{3EE2CDB2-78DB-45BE-A553-4B034DA5B250}"/>
              </a:ext>
            </a:extLst>
          </p:cNvPr>
          <p:cNvSpPr txBox="1"/>
          <p:nvPr/>
        </p:nvSpPr>
        <p:spPr>
          <a:xfrm>
            <a:off x="629399" y="1820629"/>
            <a:ext cx="5085929" cy="283417"/>
          </a:xfrm>
          <a:prstGeom prst="rect">
            <a:avLst/>
          </a:prstGeom>
          <a:noFill/>
          <a:ln cap="rnd">
            <a:noFill/>
          </a:ln>
        </p:spPr>
        <p:txBody>
          <a:bodyPr wrap="square" lIns="0" tIns="0" rIns="0" bIns="0" rtlCol="0" anchor="b">
            <a:noAutofit/>
          </a:bodyPr>
          <a:lstStyle/>
          <a:p>
            <a:pPr marL="0" lvl="3"/>
            <a:r>
              <a:rPr lang="en-US">
                <a:solidFill>
                  <a:srgbClr val="171D3C"/>
                </a:solidFill>
              </a:rPr>
              <a:t>By analyzing data from &lt;supermarket, bank..&gt;</a:t>
            </a:r>
          </a:p>
        </p:txBody>
      </p:sp>
      <p:sp>
        <p:nvSpPr>
          <p:cNvPr id="7" name="ee4pHeader2">
            <a:extLst>
              <a:ext uri="{FF2B5EF4-FFF2-40B4-BE49-F238E27FC236}">
                <a16:creationId xmlns:a16="http://schemas.microsoft.com/office/drawing/2014/main" id="{DAD7256E-4533-4E0E-B2DE-493AB4F0A3C4}"/>
              </a:ext>
            </a:extLst>
          </p:cNvPr>
          <p:cNvSpPr txBox="1"/>
          <p:nvPr/>
        </p:nvSpPr>
        <p:spPr>
          <a:xfrm>
            <a:off x="6238445" y="1820629"/>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e identified &lt;describe scale of problem&gt;..</a:t>
            </a:r>
          </a:p>
        </p:txBody>
      </p:sp>
      <p:grpSp>
        <p:nvGrpSpPr>
          <p:cNvPr id="8" name="Group 7">
            <a:extLst>
              <a:ext uri="{FF2B5EF4-FFF2-40B4-BE49-F238E27FC236}">
                <a16:creationId xmlns:a16="http://schemas.microsoft.com/office/drawing/2014/main" id="{86CB271E-CA55-43B0-BDA0-4FF1D2F640F9}"/>
              </a:ext>
            </a:extLst>
          </p:cNvPr>
          <p:cNvGrpSpPr/>
          <p:nvPr/>
        </p:nvGrpSpPr>
        <p:grpSpPr>
          <a:xfrm>
            <a:off x="5823801" y="2081213"/>
            <a:ext cx="306171" cy="4079081"/>
            <a:chOff x="5942914" y="2081213"/>
            <a:chExt cx="306171" cy="4079081"/>
          </a:xfrm>
        </p:grpSpPr>
        <p:cxnSp>
          <p:nvCxnSpPr>
            <p:cNvPr id="9" name="Straight Connector 8">
              <a:extLst>
                <a:ext uri="{FF2B5EF4-FFF2-40B4-BE49-F238E27FC236}">
                  <a16:creationId xmlns:a16="http://schemas.microsoft.com/office/drawing/2014/main" id="{379DC876-DA66-493A-85C2-01203E423042}"/>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9D782B1-E8CE-41F5-8458-32E30A5C1AF3}"/>
                </a:ext>
              </a:extLst>
            </p:cNvPr>
            <p:cNvGrpSpPr/>
            <p:nvPr/>
          </p:nvGrpSpPr>
          <p:grpSpPr>
            <a:xfrm>
              <a:off x="5942914" y="3967299"/>
              <a:ext cx="306171" cy="306910"/>
              <a:chOff x="5937564" y="3833745"/>
              <a:chExt cx="306171" cy="306910"/>
            </a:xfrm>
          </p:grpSpPr>
          <p:sp>
            <p:nvSpPr>
              <p:cNvPr id="11" name="Freeform 94">
                <a:extLst>
                  <a:ext uri="{FF2B5EF4-FFF2-40B4-BE49-F238E27FC236}">
                    <a16:creationId xmlns:a16="http://schemas.microsoft.com/office/drawing/2014/main" id="{22EBBF2B-0D20-4337-AB58-95F5353F8F3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12" name="Freeform 95">
                <a:extLst>
                  <a:ext uri="{FF2B5EF4-FFF2-40B4-BE49-F238E27FC236}">
                    <a16:creationId xmlns:a16="http://schemas.microsoft.com/office/drawing/2014/main" id="{30EFF30D-8ECA-4E16-BC75-BD042173F9C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13" name="Rectangle 12">
            <a:extLst>
              <a:ext uri="{FF2B5EF4-FFF2-40B4-BE49-F238E27FC236}">
                <a16:creationId xmlns:a16="http://schemas.microsoft.com/office/drawing/2014/main" id="{52214D19-BF29-430F-B5C1-3AD79F856ADA}"/>
              </a:ext>
            </a:extLst>
          </p:cNvPr>
          <p:cNvSpPr/>
          <p:nvPr/>
        </p:nvSpPr>
        <p:spPr>
          <a:xfrm>
            <a:off x="629400" y="2244302"/>
            <a:ext cx="4730000" cy="3755423"/>
          </a:xfrm>
          <a:prstGeom prst="rect">
            <a:avLst/>
          </a:prstGeom>
          <a:noFill/>
          <a:ln w="1079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rgbClr val="171D3C"/>
                </a:solidFill>
              </a:rPr>
              <a:t>Chart/Visual showing output or</a:t>
            </a:r>
            <a:endParaRPr lang="vi-VN" sz="1400">
              <a:solidFill>
                <a:srgbClr val="171D3C"/>
              </a:solidFill>
            </a:endParaRPr>
          </a:p>
          <a:p>
            <a:pPr algn="ctr"/>
            <a:r>
              <a:rPr lang="en-US" sz="1400">
                <a:solidFill>
                  <a:srgbClr val="171D3C"/>
                </a:solidFill>
              </a:rPr>
              <a:t>key insights that build the output/recommendations</a:t>
            </a:r>
          </a:p>
          <a:p>
            <a:pPr algn="ctr"/>
            <a:endParaRPr lang="en-US" sz="1400">
              <a:solidFill>
                <a:srgbClr val="171D3C"/>
              </a:solidFill>
            </a:endParaRPr>
          </a:p>
          <a:p>
            <a:pPr algn="ctr"/>
            <a:r>
              <a:rPr lang="en-US" sz="1400">
                <a:solidFill>
                  <a:srgbClr val="171D3C"/>
                </a:solidFill>
              </a:rPr>
              <a:t>Limit to one insight/output theme</a:t>
            </a:r>
            <a:r>
              <a:rPr lang="vi-VN" sz="1400">
                <a:solidFill>
                  <a:srgbClr val="171D3C"/>
                </a:solidFill>
              </a:rPr>
              <a:t> </a:t>
            </a:r>
            <a:r>
              <a:rPr lang="en-US" sz="1400">
                <a:solidFill>
                  <a:srgbClr val="171D3C"/>
                </a:solidFill>
              </a:rPr>
              <a:t>per slide</a:t>
            </a:r>
          </a:p>
        </p:txBody>
      </p:sp>
      <p:sp>
        <p:nvSpPr>
          <p:cNvPr id="14" name="ee4pHeader2">
            <a:extLst>
              <a:ext uri="{FF2B5EF4-FFF2-40B4-BE49-F238E27FC236}">
                <a16:creationId xmlns:a16="http://schemas.microsoft.com/office/drawing/2014/main" id="{42C95DA4-46E2-453B-8866-241A930C16B2}"/>
              </a:ext>
            </a:extLst>
          </p:cNvPr>
          <p:cNvSpPr txBox="1"/>
          <p:nvPr/>
        </p:nvSpPr>
        <p:spPr>
          <a:xfrm>
            <a:off x="6238445" y="1820629"/>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e identified &lt;describe scale of problem&gt;..</a:t>
            </a:r>
          </a:p>
        </p:txBody>
      </p:sp>
      <p:sp>
        <p:nvSpPr>
          <p:cNvPr id="15" name="ee4pHeader2">
            <a:extLst>
              <a:ext uri="{FF2B5EF4-FFF2-40B4-BE49-F238E27FC236}">
                <a16:creationId xmlns:a16="http://schemas.microsoft.com/office/drawing/2014/main" id="{62D0A2D6-96AB-49DF-B708-D0BDE9F35432}"/>
              </a:ext>
            </a:extLst>
          </p:cNvPr>
          <p:cNvSpPr txBox="1"/>
          <p:nvPr/>
        </p:nvSpPr>
        <p:spPr>
          <a:xfrm>
            <a:off x="6238445" y="4058775"/>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ith following potential root causes</a:t>
            </a:r>
          </a:p>
        </p:txBody>
      </p:sp>
      <p:sp>
        <p:nvSpPr>
          <p:cNvPr id="16" name="TextBox 15">
            <a:extLst>
              <a:ext uri="{FF2B5EF4-FFF2-40B4-BE49-F238E27FC236}">
                <a16:creationId xmlns:a16="http://schemas.microsoft.com/office/drawing/2014/main" id="{F34C97FE-F02F-47E1-A6E9-899093133970}"/>
              </a:ext>
            </a:extLst>
          </p:cNvPr>
          <p:cNvSpPr txBox="1"/>
          <p:nvPr/>
        </p:nvSpPr>
        <p:spPr>
          <a:xfrm>
            <a:off x="6238445" y="4437248"/>
            <a:ext cx="4995640" cy="1169551"/>
          </a:xfrm>
          <a:prstGeom prst="rect">
            <a:avLst/>
          </a:prstGeom>
          <a:noFill/>
        </p:spPr>
        <p:txBody>
          <a:bodyPr wrap="square" rtlCol="0">
            <a:spAutoFit/>
          </a:bodyPr>
          <a:lstStyle/>
          <a:p>
            <a:pPr marL="324000" lvl="1" indent="-2160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vi-VN" sz="1400">
              <a:solidFill>
                <a:srgbClr val="171D3C"/>
              </a:solidFill>
              <a:latin typeface="Trebuchet MS" panose="020B0603020202020204" pitchFamily="34" charset="0"/>
            </a:endParaRPr>
          </a:p>
          <a:p>
            <a:pPr marL="324000" lvl="1" indent="-2160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vi-VN" sz="1400">
              <a:solidFill>
                <a:srgbClr val="171D3C"/>
              </a:solidFill>
              <a:latin typeface="Trebuchet MS" panose="020B0603020202020204" pitchFamily="34" charset="0"/>
            </a:endParaRPr>
          </a:p>
          <a:p>
            <a:pPr marL="324000" lvl="1" indent="-2160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vi-VN" sz="1400">
              <a:solidFill>
                <a:srgbClr val="171D3C"/>
              </a:solidFill>
              <a:latin typeface="Trebuchet MS" panose="020B0603020202020204" pitchFamily="34" charset="0"/>
            </a:endParaRPr>
          </a:p>
          <a:p>
            <a:pPr marL="324000" lvl="1" indent="-2160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vi-VN" sz="1400">
              <a:solidFill>
                <a:srgbClr val="171D3C"/>
              </a:solidFill>
              <a:latin typeface="Trebuchet MS" panose="020B0603020202020204" pitchFamily="34" charset="0"/>
            </a:endParaRPr>
          </a:p>
          <a:p>
            <a:pPr marL="324000" lvl="1" indent="-2160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en-US" sz="1400">
              <a:solidFill>
                <a:srgbClr val="171D3C"/>
              </a:solidFill>
              <a:latin typeface="Trebuchet MS" panose="020B0603020202020204" pitchFamily="34" charset="0"/>
            </a:endParaRPr>
          </a:p>
        </p:txBody>
      </p:sp>
      <p:sp>
        <p:nvSpPr>
          <p:cNvPr id="17" name="Oval 16">
            <a:extLst>
              <a:ext uri="{FF2B5EF4-FFF2-40B4-BE49-F238E27FC236}">
                <a16:creationId xmlns:a16="http://schemas.microsoft.com/office/drawing/2014/main" id="{D6A19D99-FD2D-4A02-BD8C-EB79DE5CB3E8}"/>
              </a:ext>
            </a:extLst>
          </p:cNvPr>
          <p:cNvSpPr>
            <a:spLocks noChangeAspect="1"/>
          </p:cNvSpPr>
          <p:nvPr/>
        </p:nvSpPr>
        <p:spPr>
          <a:xfrm>
            <a:off x="6238446" y="2244303"/>
            <a:ext cx="1604688" cy="1604688"/>
          </a:xfrm>
          <a:prstGeom prst="ellipse">
            <a:avLst/>
          </a:prstGeom>
          <a:solidFill>
            <a:srgbClr val="FFFFFF"/>
          </a:solidFill>
          <a:ln w="3810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vi-VN" sz="4500" b="1" kern="0">
                <a:solidFill>
                  <a:srgbClr val="171D3C"/>
                </a:solidFill>
              </a:rPr>
              <a:t>Z M</a:t>
            </a:r>
            <a:br>
              <a:rPr lang="en-US" sz="1200" kern="0">
                <a:solidFill>
                  <a:srgbClr val="171D3C"/>
                </a:solidFill>
              </a:rPr>
            </a:br>
            <a:r>
              <a:rPr lang="en-SG" sz="1400" kern="0">
                <a:solidFill>
                  <a:srgbClr val="171D3C"/>
                </a:solidFill>
              </a:rPr>
              <a:t>citizens</a:t>
            </a:r>
            <a:endParaRPr lang="en-US" sz="1400" kern="0">
              <a:solidFill>
                <a:srgbClr val="171D3C"/>
              </a:solidFill>
            </a:endParaRPr>
          </a:p>
        </p:txBody>
      </p:sp>
      <p:sp>
        <p:nvSpPr>
          <p:cNvPr id="18" name="TextBox 17">
            <a:extLst>
              <a:ext uri="{FF2B5EF4-FFF2-40B4-BE49-F238E27FC236}">
                <a16:creationId xmlns:a16="http://schemas.microsoft.com/office/drawing/2014/main" id="{019024A8-1BEF-4B4D-B472-4BE8F204F39E}"/>
              </a:ext>
            </a:extLst>
          </p:cNvPr>
          <p:cNvSpPr txBox="1"/>
          <p:nvPr/>
        </p:nvSpPr>
        <p:spPr>
          <a:xfrm>
            <a:off x="8847667" y="2785036"/>
            <a:ext cx="2386417" cy="523220"/>
          </a:xfrm>
          <a:prstGeom prst="rect">
            <a:avLst/>
          </a:prstGeom>
          <a:noFill/>
        </p:spPr>
        <p:txBody>
          <a:bodyPr wrap="square" rtlCol="0" anchor="ctr">
            <a:spAutoFit/>
          </a:bodyPr>
          <a:lstStyle/>
          <a:p>
            <a:r>
              <a:rPr lang="en-SG" sz="1400"/>
              <a:t>Are impacted by the problem</a:t>
            </a:r>
            <a:endParaRPr lang="en-US" sz="1400"/>
          </a:p>
        </p:txBody>
      </p:sp>
      <p:cxnSp>
        <p:nvCxnSpPr>
          <p:cNvPr id="19" name="Straight Connector 18">
            <a:extLst>
              <a:ext uri="{FF2B5EF4-FFF2-40B4-BE49-F238E27FC236}">
                <a16:creationId xmlns:a16="http://schemas.microsoft.com/office/drawing/2014/main" id="{10596A96-FB53-4328-8EDF-9CCC725CDFDA}"/>
              </a:ext>
            </a:extLst>
          </p:cNvPr>
          <p:cNvCxnSpPr/>
          <p:nvPr/>
        </p:nvCxnSpPr>
        <p:spPr>
          <a:xfrm>
            <a:off x="8431430" y="2284613"/>
            <a:ext cx="0" cy="1524067"/>
          </a:xfrm>
          <a:prstGeom prst="line">
            <a:avLst/>
          </a:prstGeom>
          <a:ln w="9525" cap="rnd">
            <a:solidFill>
              <a:schemeClr val="tx1">
                <a:lumMod val="60000"/>
                <a:lumOff val="40000"/>
              </a:schemeClr>
            </a:solidFill>
            <a:prstDash val="dash"/>
            <a:round/>
            <a:headEnd type="diamond"/>
            <a:tailEnd type="diamon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5588E7A5-52DE-4CD0-97CD-566540589768}"/>
              </a:ext>
            </a:extLst>
          </p:cNvPr>
          <p:cNvGrpSpPr>
            <a:grpSpLocks noChangeAspect="1"/>
          </p:cNvGrpSpPr>
          <p:nvPr/>
        </p:nvGrpSpPr>
        <p:grpSpPr>
          <a:xfrm>
            <a:off x="8277975" y="2893192"/>
            <a:ext cx="306910" cy="306910"/>
            <a:chOff x="982662" y="1847850"/>
            <a:chExt cx="269875" cy="269875"/>
          </a:xfrm>
        </p:grpSpPr>
        <p:sp>
          <p:nvSpPr>
            <p:cNvPr id="24" name="Oval 50">
              <a:extLst>
                <a:ext uri="{FF2B5EF4-FFF2-40B4-BE49-F238E27FC236}">
                  <a16:creationId xmlns:a16="http://schemas.microsoft.com/office/drawing/2014/main" id="{505FAE24-11E5-496E-9AA9-05D2E91251B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5" name="Freeform 51">
              <a:extLst>
                <a:ext uri="{FF2B5EF4-FFF2-40B4-BE49-F238E27FC236}">
                  <a16:creationId xmlns:a16="http://schemas.microsoft.com/office/drawing/2014/main" id="{57C8CC55-C161-4A1F-B214-EF582F99F47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custDataLst>
      <p:tags r:id="rId2"/>
    </p:custDataLst>
    <p:extLst>
      <p:ext uri="{BB962C8B-B14F-4D97-AF65-F5344CB8AC3E}">
        <p14:creationId xmlns:p14="http://schemas.microsoft.com/office/powerpoint/2010/main" val="1552488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2C2EF1-B20F-4AB1-A58B-B9EF49B5A57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0"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122C2EF1-B20F-4AB1-A58B-B9EF49B5A5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200" cy="886397"/>
          </a:xfrm>
        </p:spPr>
        <p:txBody>
          <a:bodyPr vert="horz"/>
          <a:lstStyle/>
          <a:p>
            <a:r>
              <a:rPr lang="en-US" sz="3200"/>
              <a:t>We leveraged the power of data to analyze the root causes and drive valuable insights</a:t>
            </a:r>
          </a:p>
        </p:txBody>
      </p:sp>
      <p:sp>
        <p:nvSpPr>
          <p:cNvPr id="6" name="ee4pHeader1">
            <a:extLst>
              <a:ext uri="{FF2B5EF4-FFF2-40B4-BE49-F238E27FC236}">
                <a16:creationId xmlns:a16="http://schemas.microsoft.com/office/drawing/2014/main" id="{3EE2CDB2-78DB-45BE-A553-4B034DA5B250}"/>
              </a:ext>
            </a:extLst>
          </p:cNvPr>
          <p:cNvSpPr txBox="1"/>
          <p:nvPr/>
        </p:nvSpPr>
        <p:spPr>
          <a:xfrm>
            <a:off x="629399" y="1820629"/>
            <a:ext cx="5085929" cy="283417"/>
          </a:xfrm>
          <a:prstGeom prst="rect">
            <a:avLst/>
          </a:prstGeom>
          <a:noFill/>
          <a:ln cap="rnd">
            <a:noFill/>
          </a:ln>
        </p:spPr>
        <p:txBody>
          <a:bodyPr wrap="square" lIns="0" tIns="0" rIns="0" bIns="0" rtlCol="0" anchor="b">
            <a:noAutofit/>
          </a:bodyPr>
          <a:lstStyle/>
          <a:p>
            <a:pPr marL="0" lvl="3"/>
            <a:r>
              <a:rPr lang="en-US">
                <a:solidFill>
                  <a:srgbClr val="171D3C"/>
                </a:solidFill>
              </a:rPr>
              <a:t>By analyzing data from &lt;supermarket, bank..&gt;</a:t>
            </a:r>
          </a:p>
        </p:txBody>
      </p:sp>
      <p:sp>
        <p:nvSpPr>
          <p:cNvPr id="7" name="ee4pHeader2">
            <a:extLst>
              <a:ext uri="{FF2B5EF4-FFF2-40B4-BE49-F238E27FC236}">
                <a16:creationId xmlns:a16="http://schemas.microsoft.com/office/drawing/2014/main" id="{DAD7256E-4533-4E0E-B2DE-493AB4F0A3C4}"/>
              </a:ext>
            </a:extLst>
          </p:cNvPr>
          <p:cNvSpPr txBox="1"/>
          <p:nvPr/>
        </p:nvSpPr>
        <p:spPr>
          <a:xfrm>
            <a:off x="6238445" y="1820629"/>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e identified &lt;describe scale of problem&gt;..</a:t>
            </a:r>
          </a:p>
        </p:txBody>
      </p:sp>
      <p:grpSp>
        <p:nvGrpSpPr>
          <p:cNvPr id="8" name="Group 7">
            <a:extLst>
              <a:ext uri="{FF2B5EF4-FFF2-40B4-BE49-F238E27FC236}">
                <a16:creationId xmlns:a16="http://schemas.microsoft.com/office/drawing/2014/main" id="{86CB271E-CA55-43B0-BDA0-4FF1D2F640F9}"/>
              </a:ext>
            </a:extLst>
          </p:cNvPr>
          <p:cNvGrpSpPr/>
          <p:nvPr/>
        </p:nvGrpSpPr>
        <p:grpSpPr>
          <a:xfrm>
            <a:off x="5823801" y="2081213"/>
            <a:ext cx="306171" cy="4079081"/>
            <a:chOff x="5942914" y="2081213"/>
            <a:chExt cx="306171" cy="4079081"/>
          </a:xfrm>
        </p:grpSpPr>
        <p:cxnSp>
          <p:nvCxnSpPr>
            <p:cNvPr id="9" name="Straight Connector 8">
              <a:extLst>
                <a:ext uri="{FF2B5EF4-FFF2-40B4-BE49-F238E27FC236}">
                  <a16:creationId xmlns:a16="http://schemas.microsoft.com/office/drawing/2014/main" id="{379DC876-DA66-493A-85C2-01203E423042}"/>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9D782B1-E8CE-41F5-8458-32E30A5C1AF3}"/>
                </a:ext>
              </a:extLst>
            </p:cNvPr>
            <p:cNvGrpSpPr/>
            <p:nvPr/>
          </p:nvGrpSpPr>
          <p:grpSpPr>
            <a:xfrm>
              <a:off x="5942914" y="3967299"/>
              <a:ext cx="306171" cy="306910"/>
              <a:chOff x="5937564" y="3833745"/>
              <a:chExt cx="306171" cy="306910"/>
            </a:xfrm>
          </p:grpSpPr>
          <p:sp>
            <p:nvSpPr>
              <p:cNvPr id="11" name="Freeform 94">
                <a:extLst>
                  <a:ext uri="{FF2B5EF4-FFF2-40B4-BE49-F238E27FC236}">
                    <a16:creationId xmlns:a16="http://schemas.microsoft.com/office/drawing/2014/main" id="{22EBBF2B-0D20-4337-AB58-95F5353F8F3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12" name="Freeform 95">
                <a:extLst>
                  <a:ext uri="{FF2B5EF4-FFF2-40B4-BE49-F238E27FC236}">
                    <a16:creationId xmlns:a16="http://schemas.microsoft.com/office/drawing/2014/main" id="{30EFF30D-8ECA-4E16-BC75-BD042173F9C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13" name="Rectangle 12">
            <a:extLst>
              <a:ext uri="{FF2B5EF4-FFF2-40B4-BE49-F238E27FC236}">
                <a16:creationId xmlns:a16="http://schemas.microsoft.com/office/drawing/2014/main" id="{52214D19-BF29-430F-B5C1-3AD79F856ADA}"/>
              </a:ext>
            </a:extLst>
          </p:cNvPr>
          <p:cNvSpPr/>
          <p:nvPr/>
        </p:nvSpPr>
        <p:spPr>
          <a:xfrm>
            <a:off x="629400" y="2244302"/>
            <a:ext cx="4730000" cy="3755423"/>
          </a:xfrm>
          <a:prstGeom prst="rect">
            <a:avLst/>
          </a:prstGeom>
          <a:noFill/>
          <a:ln w="1079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rgbClr val="171D3C"/>
                </a:solidFill>
              </a:rPr>
              <a:t>Chart/Visual showing output or</a:t>
            </a:r>
            <a:endParaRPr lang="vi-VN" sz="1400">
              <a:solidFill>
                <a:srgbClr val="171D3C"/>
              </a:solidFill>
            </a:endParaRPr>
          </a:p>
          <a:p>
            <a:pPr algn="ctr"/>
            <a:r>
              <a:rPr lang="en-US" sz="1400">
                <a:solidFill>
                  <a:srgbClr val="171D3C"/>
                </a:solidFill>
              </a:rPr>
              <a:t>key insights that build the output/recommendations</a:t>
            </a:r>
          </a:p>
          <a:p>
            <a:pPr algn="ctr"/>
            <a:endParaRPr lang="en-US" sz="1400">
              <a:solidFill>
                <a:srgbClr val="171D3C"/>
              </a:solidFill>
            </a:endParaRPr>
          </a:p>
          <a:p>
            <a:pPr algn="ctr"/>
            <a:r>
              <a:rPr lang="en-US" sz="1400">
                <a:solidFill>
                  <a:srgbClr val="171D3C"/>
                </a:solidFill>
              </a:rPr>
              <a:t>Limit to one insight/output theme</a:t>
            </a:r>
            <a:r>
              <a:rPr lang="vi-VN" sz="1400">
                <a:solidFill>
                  <a:srgbClr val="171D3C"/>
                </a:solidFill>
              </a:rPr>
              <a:t> </a:t>
            </a:r>
            <a:r>
              <a:rPr lang="en-US" sz="1400">
                <a:solidFill>
                  <a:srgbClr val="171D3C"/>
                </a:solidFill>
              </a:rPr>
              <a:t>per slide</a:t>
            </a:r>
          </a:p>
        </p:txBody>
      </p:sp>
      <p:sp>
        <p:nvSpPr>
          <p:cNvPr id="14" name="ee4pHeader2">
            <a:extLst>
              <a:ext uri="{FF2B5EF4-FFF2-40B4-BE49-F238E27FC236}">
                <a16:creationId xmlns:a16="http://schemas.microsoft.com/office/drawing/2014/main" id="{42C95DA4-46E2-453B-8866-241A930C16B2}"/>
              </a:ext>
            </a:extLst>
          </p:cNvPr>
          <p:cNvSpPr txBox="1"/>
          <p:nvPr/>
        </p:nvSpPr>
        <p:spPr>
          <a:xfrm>
            <a:off x="6238445" y="1820629"/>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e identified &lt;describe scale of problem&gt;..</a:t>
            </a:r>
          </a:p>
        </p:txBody>
      </p:sp>
      <p:sp>
        <p:nvSpPr>
          <p:cNvPr id="15" name="ee4pHeader2">
            <a:extLst>
              <a:ext uri="{FF2B5EF4-FFF2-40B4-BE49-F238E27FC236}">
                <a16:creationId xmlns:a16="http://schemas.microsoft.com/office/drawing/2014/main" id="{62D0A2D6-96AB-49DF-B708-D0BDE9F35432}"/>
              </a:ext>
            </a:extLst>
          </p:cNvPr>
          <p:cNvSpPr txBox="1"/>
          <p:nvPr/>
        </p:nvSpPr>
        <p:spPr>
          <a:xfrm>
            <a:off x="6238445" y="4058775"/>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ith following potential root causes</a:t>
            </a:r>
          </a:p>
        </p:txBody>
      </p:sp>
      <p:sp>
        <p:nvSpPr>
          <p:cNvPr id="16" name="TextBox 15">
            <a:extLst>
              <a:ext uri="{FF2B5EF4-FFF2-40B4-BE49-F238E27FC236}">
                <a16:creationId xmlns:a16="http://schemas.microsoft.com/office/drawing/2014/main" id="{F34C97FE-F02F-47E1-A6E9-899093133970}"/>
              </a:ext>
            </a:extLst>
          </p:cNvPr>
          <p:cNvSpPr txBox="1"/>
          <p:nvPr/>
        </p:nvSpPr>
        <p:spPr>
          <a:xfrm>
            <a:off x="6238445" y="4437248"/>
            <a:ext cx="4995640" cy="2246769"/>
          </a:xfrm>
          <a:prstGeom prst="rect">
            <a:avLst/>
          </a:prstGeom>
          <a:noFill/>
        </p:spPr>
        <p:txBody>
          <a:bodyPr wrap="square" lIns="91440" tIns="45720" rIns="91440" bIns="45720" rtlCol="0" anchor="t">
            <a:spAutoFit/>
          </a:bodyPr>
          <a:lstStyle/>
          <a:p>
            <a:pPr lvl="1">
              <a:buClr>
                <a:srgbClr val="DF2A6F"/>
              </a:buClr>
              <a:buSzPct val="100000"/>
            </a:pPr>
            <a:r>
              <a:rPr lang="vi-VN" sz="1400">
                <a:solidFill>
                  <a:srgbClr val="FF0000"/>
                </a:solidFill>
                <a:ea typeface="+mn-lt"/>
                <a:cs typeface="+mn-lt"/>
              </a:rPr>
              <a:t>The number of passengers boarding this bus route is 35% more in the morning compare to afternoon.</a:t>
            </a:r>
          </a:p>
          <a:p>
            <a:pPr lvl="1">
              <a:buClr>
                <a:srgbClr val="DF2A6F"/>
              </a:buClr>
              <a:buSzPct val="100000"/>
            </a:pPr>
            <a:endParaRPr lang="vi-VN" sz="1400">
              <a:solidFill>
                <a:srgbClr val="FF0000"/>
              </a:solidFill>
              <a:ea typeface="+mn-lt"/>
              <a:cs typeface="+mn-lt"/>
            </a:endParaRPr>
          </a:p>
          <a:p>
            <a:pPr lvl="1"/>
            <a:r>
              <a:rPr lang="vi-VN" sz="1400">
                <a:solidFill>
                  <a:srgbClr val="FF0000"/>
                </a:solidFill>
                <a:ea typeface="+mn-lt"/>
                <a:cs typeface="+mn-lt"/>
              </a:rPr>
              <a:t>The bus occupancy rate at this stop(xx stop) is the highest among the entire bus route.</a:t>
            </a:r>
            <a:endParaRPr lang="vi-VN">
              <a:solidFill>
                <a:srgbClr val="FF0000"/>
              </a:solidFill>
            </a:endParaRPr>
          </a:p>
          <a:p>
            <a:pPr lvl="1">
              <a:buClr>
                <a:srgbClr val="DF2A6F"/>
              </a:buClr>
              <a:buSzPct val="100000"/>
            </a:pPr>
            <a:endParaRPr lang="vi-VN" sz="1400">
              <a:solidFill>
                <a:srgbClr val="FF0000"/>
              </a:solidFill>
            </a:endParaRPr>
          </a:p>
          <a:p>
            <a:pPr lvl="1">
              <a:buClr>
                <a:srgbClr val="DF2A6F"/>
              </a:buClr>
              <a:buSzPct val="100000"/>
            </a:pPr>
            <a:r>
              <a:rPr lang="vi-VN" sz="1400">
                <a:solidFill>
                  <a:srgbClr val="FF0000"/>
                </a:solidFill>
                <a:ea typeface="+mn-lt"/>
                <a:cs typeface="+mn-lt"/>
              </a:rPr>
              <a:t>This bus route (Bus A Route) has 26% more passengers compared to Bus route B and C throughout the whole week.</a:t>
            </a:r>
            <a:endParaRPr lang="vi-VN">
              <a:solidFill>
                <a:srgbClr val="FF0000"/>
              </a:solidFill>
            </a:endParaRPr>
          </a:p>
          <a:p>
            <a:pPr marL="323850" lvl="1" indent="-215900">
              <a:buClr>
                <a:srgbClr val="DF2A6F"/>
              </a:buClr>
              <a:buSzPct val="100000"/>
              <a:buFont typeface="Trebuchet MS" panose="020B0603020202020204" pitchFamily="34" charset="0"/>
              <a:buChar char="•"/>
            </a:pPr>
            <a:endParaRPr lang="vi-VN" sz="1400">
              <a:solidFill>
                <a:srgbClr val="171D3C"/>
              </a:solidFill>
              <a:latin typeface="Trebuchet MS" panose="020B0603020202020204" pitchFamily="34" charset="0"/>
            </a:endParaRPr>
          </a:p>
        </p:txBody>
      </p:sp>
      <p:sp>
        <p:nvSpPr>
          <p:cNvPr id="17" name="Oval 16">
            <a:extLst>
              <a:ext uri="{FF2B5EF4-FFF2-40B4-BE49-F238E27FC236}">
                <a16:creationId xmlns:a16="http://schemas.microsoft.com/office/drawing/2014/main" id="{D6A19D99-FD2D-4A02-BD8C-EB79DE5CB3E8}"/>
              </a:ext>
            </a:extLst>
          </p:cNvPr>
          <p:cNvSpPr>
            <a:spLocks noChangeAspect="1"/>
          </p:cNvSpPr>
          <p:nvPr/>
        </p:nvSpPr>
        <p:spPr>
          <a:xfrm>
            <a:off x="6238446" y="2244303"/>
            <a:ext cx="1604688" cy="1604688"/>
          </a:xfrm>
          <a:prstGeom prst="ellipse">
            <a:avLst/>
          </a:prstGeom>
          <a:solidFill>
            <a:srgbClr val="FFFFFF"/>
          </a:solidFill>
          <a:ln w="3810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vi-VN" sz="4500" b="1" kern="0">
                <a:solidFill>
                  <a:srgbClr val="171D3C"/>
                </a:solidFill>
              </a:rPr>
              <a:t>Z M</a:t>
            </a:r>
            <a:br>
              <a:rPr lang="en-US" sz="1200" kern="0">
                <a:solidFill>
                  <a:srgbClr val="171D3C"/>
                </a:solidFill>
              </a:rPr>
            </a:br>
            <a:r>
              <a:rPr lang="en-SG" sz="1400" kern="0">
                <a:solidFill>
                  <a:srgbClr val="171D3C"/>
                </a:solidFill>
              </a:rPr>
              <a:t>citizens</a:t>
            </a:r>
            <a:endParaRPr lang="en-US" sz="1400" kern="0">
              <a:solidFill>
                <a:srgbClr val="171D3C"/>
              </a:solidFill>
            </a:endParaRPr>
          </a:p>
        </p:txBody>
      </p:sp>
      <p:sp>
        <p:nvSpPr>
          <p:cNvPr id="18" name="TextBox 17">
            <a:extLst>
              <a:ext uri="{FF2B5EF4-FFF2-40B4-BE49-F238E27FC236}">
                <a16:creationId xmlns:a16="http://schemas.microsoft.com/office/drawing/2014/main" id="{019024A8-1BEF-4B4D-B472-4BE8F204F39E}"/>
              </a:ext>
            </a:extLst>
          </p:cNvPr>
          <p:cNvSpPr txBox="1"/>
          <p:nvPr/>
        </p:nvSpPr>
        <p:spPr>
          <a:xfrm>
            <a:off x="8847667" y="2785036"/>
            <a:ext cx="2386417" cy="523220"/>
          </a:xfrm>
          <a:prstGeom prst="rect">
            <a:avLst/>
          </a:prstGeom>
          <a:noFill/>
        </p:spPr>
        <p:txBody>
          <a:bodyPr wrap="square" rtlCol="0" anchor="ctr">
            <a:spAutoFit/>
          </a:bodyPr>
          <a:lstStyle/>
          <a:p>
            <a:r>
              <a:rPr lang="en-SG" sz="1400"/>
              <a:t>Are impacted by the problem</a:t>
            </a:r>
            <a:endParaRPr lang="en-US" sz="1400"/>
          </a:p>
        </p:txBody>
      </p:sp>
      <p:cxnSp>
        <p:nvCxnSpPr>
          <p:cNvPr id="19" name="Straight Connector 18">
            <a:extLst>
              <a:ext uri="{FF2B5EF4-FFF2-40B4-BE49-F238E27FC236}">
                <a16:creationId xmlns:a16="http://schemas.microsoft.com/office/drawing/2014/main" id="{10596A96-FB53-4328-8EDF-9CCC725CDFDA}"/>
              </a:ext>
            </a:extLst>
          </p:cNvPr>
          <p:cNvCxnSpPr/>
          <p:nvPr/>
        </p:nvCxnSpPr>
        <p:spPr>
          <a:xfrm>
            <a:off x="8431430" y="2284613"/>
            <a:ext cx="0" cy="1524067"/>
          </a:xfrm>
          <a:prstGeom prst="line">
            <a:avLst/>
          </a:prstGeom>
          <a:ln w="9525" cap="rnd">
            <a:solidFill>
              <a:schemeClr val="tx1">
                <a:lumMod val="60000"/>
                <a:lumOff val="40000"/>
              </a:schemeClr>
            </a:solidFill>
            <a:prstDash val="dash"/>
            <a:round/>
            <a:headEnd type="diamond"/>
            <a:tailEnd type="diamon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5588E7A5-52DE-4CD0-97CD-566540589768}"/>
              </a:ext>
            </a:extLst>
          </p:cNvPr>
          <p:cNvGrpSpPr>
            <a:grpSpLocks noChangeAspect="1"/>
          </p:cNvGrpSpPr>
          <p:nvPr/>
        </p:nvGrpSpPr>
        <p:grpSpPr>
          <a:xfrm>
            <a:off x="8277975" y="2893192"/>
            <a:ext cx="306910" cy="306910"/>
            <a:chOff x="982662" y="1847850"/>
            <a:chExt cx="269875" cy="269875"/>
          </a:xfrm>
        </p:grpSpPr>
        <p:sp>
          <p:nvSpPr>
            <p:cNvPr id="24" name="Oval 50">
              <a:extLst>
                <a:ext uri="{FF2B5EF4-FFF2-40B4-BE49-F238E27FC236}">
                  <a16:creationId xmlns:a16="http://schemas.microsoft.com/office/drawing/2014/main" id="{505FAE24-11E5-496E-9AA9-05D2E91251B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5" name="Freeform 51">
              <a:extLst>
                <a:ext uri="{FF2B5EF4-FFF2-40B4-BE49-F238E27FC236}">
                  <a16:creationId xmlns:a16="http://schemas.microsoft.com/office/drawing/2014/main" id="{57C8CC55-C161-4A1F-B214-EF582F99F47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3" name="Picture 4" descr="Text&#10;&#10;Description automatically generated">
            <a:extLst>
              <a:ext uri="{FF2B5EF4-FFF2-40B4-BE49-F238E27FC236}">
                <a16:creationId xmlns:a16="http://schemas.microsoft.com/office/drawing/2014/main" id="{7D18EE80-0774-40B4-B9D4-B1327D7209A7}"/>
              </a:ext>
            </a:extLst>
          </p:cNvPr>
          <p:cNvPicPr>
            <a:picLocks noChangeAspect="1"/>
          </p:cNvPicPr>
          <p:nvPr/>
        </p:nvPicPr>
        <p:blipFill>
          <a:blip r:embed="rId8"/>
          <a:stretch>
            <a:fillRect/>
          </a:stretch>
        </p:blipFill>
        <p:spPr>
          <a:xfrm>
            <a:off x="846221" y="2727409"/>
            <a:ext cx="2418347" cy="701340"/>
          </a:xfrm>
          <a:prstGeom prst="rect">
            <a:avLst/>
          </a:prstGeom>
        </p:spPr>
      </p:pic>
      <p:sp>
        <p:nvSpPr>
          <p:cNvPr id="5" name="Rectangle 4">
            <a:extLst>
              <a:ext uri="{FF2B5EF4-FFF2-40B4-BE49-F238E27FC236}">
                <a16:creationId xmlns:a16="http://schemas.microsoft.com/office/drawing/2014/main" id="{48268C64-B706-4178-B43F-8A58D0B624A6}"/>
              </a:ext>
            </a:extLst>
          </p:cNvPr>
          <p:cNvSpPr/>
          <p:nvPr/>
        </p:nvSpPr>
        <p:spPr>
          <a:xfrm>
            <a:off x="7102642" y="-206542"/>
            <a:ext cx="4193005" cy="9144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Wy – TRANSPORT</a:t>
            </a:r>
          </a:p>
        </p:txBody>
      </p:sp>
      <p:pic>
        <p:nvPicPr>
          <p:cNvPr id="20" name="Picture 20" descr="Text&#10;&#10;Description automatically generated">
            <a:extLst>
              <a:ext uri="{FF2B5EF4-FFF2-40B4-BE49-F238E27FC236}">
                <a16:creationId xmlns:a16="http://schemas.microsoft.com/office/drawing/2014/main" id="{16AA564B-558A-4A7C-A080-837C79A61B7C}"/>
              </a:ext>
            </a:extLst>
          </p:cNvPr>
          <p:cNvPicPr>
            <a:picLocks noChangeAspect="1"/>
          </p:cNvPicPr>
          <p:nvPr/>
        </p:nvPicPr>
        <p:blipFill>
          <a:blip r:embed="rId9"/>
          <a:stretch>
            <a:fillRect/>
          </a:stretch>
        </p:blipFill>
        <p:spPr>
          <a:xfrm>
            <a:off x="3563353" y="2595563"/>
            <a:ext cx="2057400" cy="904875"/>
          </a:xfrm>
          <a:prstGeom prst="rect">
            <a:avLst/>
          </a:prstGeom>
        </p:spPr>
      </p:pic>
      <p:pic>
        <p:nvPicPr>
          <p:cNvPr id="21" name="Picture 25" descr="Text&#10;&#10;Description automatically generated">
            <a:extLst>
              <a:ext uri="{FF2B5EF4-FFF2-40B4-BE49-F238E27FC236}">
                <a16:creationId xmlns:a16="http://schemas.microsoft.com/office/drawing/2014/main" id="{76F8A137-7D75-4269-B378-56CBF79710F8}"/>
              </a:ext>
            </a:extLst>
          </p:cNvPr>
          <p:cNvPicPr>
            <a:picLocks noChangeAspect="1"/>
          </p:cNvPicPr>
          <p:nvPr/>
        </p:nvPicPr>
        <p:blipFill>
          <a:blip r:embed="rId10"/>
          <a:stretch>
            <a:fillRect/>
          </a:stretch>
        </p:blipFill>
        <p:spPr>
          <a:xfrm>
            <a:off x="986589" y="4806114"/>
            <a:ext cx="2057400" cy="895350"/>
          </a:xfrm>
          <a:prstGeom prst="rect">
            <a:avLst/>
          </a:prstGeom>
        </p:spPr>
      </p:pic>
    </p:spTree>
    <p:custDataLst>
      <p:tags r:id="rId2"/>
    </p:custDataLst>
    <p:extLst>
      <p:ext uri="{BB962C8B-B14F-4D97-AF65-F5344CB8AC3E}">
        <p14:creationId xmlns:p14="http://schemas.microsoft.com/office/powerpoint/2010/main" val="3295513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2C2EF1-B20F-4AB1-A58B-B9EF49B5A57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8"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122C2EF1-B20F-4AB1-A58B-B9EF49B5A5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200" cy="886397"/>
          </a:xfrm>
        </p:spPr>
        <p:txBody>
          <a:bodyPr vert="horz"/>
          <a:lstStyle/>
          <a:p>
            <a:r>
              <a:rPr lang="en-US" sz="3200"/>
              <a:t>We leveraged the power of data to analyze the root causes and drive valuable insights</a:t>
            </a:r>
          </a:p>
        </p:txBody>
      </p:sp>
      <p:sp>
        <p:nvSpPr>
          <p:cNvPr id="6" name="ee4pHeader1">
            <a:extLst>
              <a:ext uri="{FF2B5EF4-FFF2-40B4-BE49-F238E27FC236}">
                <a16:creationId xmlns:a16="http://schemas.microsoft.com/office/drawing/2014/main" id="{3EE2CDB2-78DB-45BE-A553-4B034DA5B250}"/>
              </a:ext>
            </a:extLst>
          </p:cNvPr>
          <p:cNvSpPr txBox="1"/>
          <p:nvPr/>
        </p:nvSpPr>
        <p:spPr>
          <a:xfrm>
            <a:off x="629399" y="1820629"/>
            <a:ext cx="5085929" cy="283417"/>
          </a:xfrm>
          <a:prstGeom prst="rect">
            <a:avLst/>
          </a:prstGeom>
          <a:noFill/>
          <a:ln cap="rnd">
            <a:noFill/>
          </a:ln>
        </p:spPr>
        <p:txBody>
          <a:bodyPr wrap="square" lIns="0" tIns="0" rIns="0" bIns="0" rtlCol="0" anchor="b">
            <a:noAutofit/>
          </a:bodyPr>
          <a:lstStyle/>
          <a:p>
            <a:pPr marL="0" lvl="3"/>
            <a:r>
              <a:rPr lang="en-US">
                <a:solidFill>
                  <a:srgbClr val="171D3C"/>
                </a:solidFill>
              </a:rPr>
              <a:t>By analyzing Weather data from Sentosa over the period of Jan – Mar 2021...</a:t>
            </a:r>
          </a:p>
        </p:txBody>
      </p:sp>
      <p:sp>
        <p:nvSpPr>
          <p:cNvPr id="7" name="ee4pHeader2">
            <a:extLst>
              <a:ext uri="{FF2B5EF4-FFF2-40B4-BE49-F238E27FC236}">
                <a16:creationId xmlns:a16="http://schemas.microsoft.com/office/drawing/2014/main" id="{DAD7256E-4533-4E0E-B2DE-493AB4F0A3C4}"/>
              </a:ext>
            </a:extLst>
          </p:cNvPr>
          <p:cNvSpPr txBox="1"/>
          <p:nvPr/>
        </p:nvSpPr>
        <p:spPr>
          <a:xfrm>
            <a:off x="6238445" y="1820629"/>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e identified &lt;there is an increase in number of guests getting on buses when there is (x amount of) rain&gt;..</a:t>
            </a:r>
          </a:p>
        </p:txBody>
      </p:sp>
      <p:grpSp>
        <p:nvGrpSpPr>
          <p:cNvPr id="8" name="Group 7">
            <a:extLst>
              <a:ext uri="{FF2B5EF4-FFF2-40B4-BE49-F238E27FC236}">
                <a16:creationId xmlns:a16="http://schemas.microsoft.com/office/drawing/2014/main" id="{86CB271E-CA55-43B0-BDA0-4FF1D2F640F9}"/>
              </a:ext>
            </a:extLst>
          </p:cNvPr>
          <p:cNvGrpSpPr/>
          <p:nvPr/>
        </p:nvGrpSpPr>
        <p:grpSpPr>
          <a:xfrm>
            <a:off x="5823801" y="2081213"/>
            <a:ext cx="306171" cy="4079081"/>
            <a:chOff x="5942914" y="2081213"/>
            <a:chExt cx="306171" cy="4079081"/>
          </a:xfrm>
        </p:grpSpPr>
        <p:cxnSp>
          <p:nvCxnSpPr>
            <p:cNvPr id="9" name="Straight Connector 8">
              <a:extLst>
                <a:ext uri="{FF2B5EF4-FFF2-40B4-BE49-F238E27FC236}">
                  <a16:creationId xmlns:a16="http://schemas.microsoft.com/office/drawing/2014/main" id="{379DC876-DA66-493A-85C2-01203E423042}"/>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9D782B1-E8CE-41F5-8458-32E30A5C1AF3}"/>
                </a:ext>
              </a:extLst>
            </p:cNvPr>
            <p:cNvGrpSpPr/>
            <p:nvPr/>
          </p:nvGrpSpPr>
          <p:grpSpPr>
            <a:xfrm>
              <a:off x="5942914" y="3967299"/>
              <a:ext cx="306171" cy="306910"/>
              <a:chOff x="5937564" y="3833745"/>
              <a:chExt cx="306171" cy="306910"/>
            </a:xfrm>
          </p:grpSpPr>
          <p:sp>
            <p:nvSpPr>
              <p:cNvPr id="11" name="Freeform 94">
                <a:extLst>
                  <a:ext uri="{FF2B5EF4-FFF2-40B4-BE49-F238E27FC236}">
                    <a16:creationId xmlns:a16="http://schemas.microsoft.com/office/drawing/2014/main" id="{22EBBF2B-0D20-4337-AB58-95F5353F8F3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12" name="Freeform 95">
                <a:extLst>
                  <a:ext uri="{FF2B5EF4-FFF2-40B4-BE49-F238E27FC236}">
                    <a16:creationId xmlns:a16="http://schemas.microsoft.com/office/drawing/2014/main" id="{30EFF30D-8ECA-4E16-BC75-BD042173F9C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13" name="Rectangle 12">
            <a:extLst>
              <a:ext uri="{FF2B5EF4-FFF2-40B4-BE49-F238E27FC236}">
                <a16:creationId xmlns:a16="http://schemas.microsoft.com/office/drawing/2014/main" id="{52214D19-BF29-430F-B5C1-3AD79F856ADA}"/>
              </a:ext>
            </a:extLst>
          </p:cNvPr>
          <p:cNvSpPr/>
          <p:nvPr/>
        </p:nvSpPr>
        <p:spPr>
          <a:xfrm>
            <a:off x="629400" y="2244302"/>
            <a:ext cx="4730000" cy="3755423"/>
          </a:xfrm>
          <a:prstGeom prst="rect">
            <a:avLst/>
          </a:prstGeom>
          <a:noFill/>
          <a:ln w="1079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rgbClr val="171D3C"/>
                </a:solidFill>
              </a:rPr>
              <a:t>Chart/Visual showing output or</a:t>
            </a:r>
            <a:endParaRPr lang="vi-VN" sz="1400">
              <a:solidFill>
                <a:srgbClr val="171D3C"/>
              </a:solidFill>
            </a:endParaRPr>
          </a:p>
          <a:p>
            <a:pPr algn="ctr"/>
            <a:r>
              <a:rPr lang="en-US" sz="1400">
                <a:solidFill>
                  <a:srgbClr val="171D3C"/>
                </a:solidFill>
              </a:rPr>
              <a:t>key insights that build the output/recommendations</a:t>
            </a:r>
          </a:p>
          <a:p>
            <a:pPr algn="ctr"/>
            <a:endParaRPr lang="en-US" sz="1400">
              <a:solidFill>
                <a:srgbClr val="171D3C"/>
              </a:solidFill>
              <a:ea typeface="+mn-lt"/>
              <a:cs typeface="+mn-lt"/>
            </a:endParaRPr>
          </a:p>
          <a:p>
            <a:pPr algn="ctr"/>
            <a:r>
              <a:rPr lang="en-US" sz="1400">
                <a:solidFill>
                  <a:srgbClr val="171D3C"/>
                </a:solidFill>
                <a:ea typeface="+mn-lt"/>
                <a:cs typeface="+mn-lt"/>
              </a:rPr>
              <a:t>Limit to one insight/output theme</a:t>
            </a:r>
            <a:r>
              <a:rPr lang="vi-VN" sz="1400">
                <a:solidFill>
                  <a:srgbClr val="171D3C"/>
                </a:solidFill>
                <a:ea typeface="+mn-lt"/>
                <a:cs typeface="+mn-lt"/>
              </a:rPr>
              <a:t> </a:t>
            </a:r>
            <a:r>
              <a:rPr lang="en-US" sz="1400">
                <a:solidFill>
                  <a:srgbClr val="171D3C"/>
                </a:solidFill>
                <a:ea typeface="+mn-lt"/>
                <a:cs typeface="+mn-lt"/>
              </a:rPr>
              <a:t>per slide</a:t>
            </a:r>
            <a:endParaRPr lang="en-US"/>
          </a:p>
          <a:p>
            <a:pPr algn="ctr"/>
            <a:endParaRPr lang="en-US" sz="1400">
              <a:solidFill>
                <a:srgbClr val="171D3C"/>
              </a:solidFill>
            </a:endParaRPr>
          </a:p>
          <a:p>
            <a:pPr algn="ctr"/>
            <a:r>
              <a:rPr lang="en-US" sz="1400">
                <a:solidFill>
                  <a:srgbClr val="171D3C"/>
                </a:solidFill>
              </a:rPr>
              <a:t>Line graph to show the number of guests getting on buses (toward exit direction) corresponding to whether it is raining/amount of rain</a:t>
            </a:r>
          </a:p>
          <a:p>
            <a:pPr algn="ctr"/>
            <a:endParaRPr lang="en-US" sz="1400">
              <a:solidFill>
                <a:srgbClr val="171D3C"/>
              </a:solidFill>
            </a:endParaRPr>
          </a:p>
          <a:p>
            <a:pPr algn="ctr"/>
            <a:endParaRPr lang="en-US" sz="1400">
              <a:solidFill>
                <a:srgbClr val="171D3C"/>
              </a:solidFill>
            </a:endParaRPr>
          </a:p>
          <a:p>
            <a:pPr algn="ctr"/>
            <a:endParaRPr lang="en-US" sz="1400">
              <a:solidFill>
                <a:srgbClr val="171D3C"/>
              </a:solidFill>
            </a:endParaRPr>
          </a:p>
        </p:txBody>
      </p:sp>
      <p:sp>
        <p:nvSpPr>
          <p:cNvPr id="15" name="ee4pHeader2">
            <a:extLst>
              <a:ext uri="{FF2B5EF4-FFF2-40B4-BE49-F238E27FC236}">
                <a16:creationId xmlns:a16="http://schemas.microsoft.com/office/drawing/2014/main" id="{62D0A2D6-96AB-49DF-B708-D0BDE9F35432}"/>
              </a:ext>
            </a:extLst>
          </p:cNvPr>
          <p:cNvSpPr txBox="1"/>
          <p:nvPr/>
        </p:nvSpPr>
        <p:spPr>
          <a:xfrm>
            <a:off x="6238445" y="4058775"/>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ith following potential root causes</a:t>
            </a:r>
          </a:p>
        </p:txBody>
      </p:sp>
      <p:sp>
        <p:nvSpPr>
          <p:cNvPr id="16" name="TextBox 15">
            <a:extLst>
              <a:ext uri="{FF2B5EF4-FFF2-40B4-BE49-F238E27FC236}">
                <a16:creationId xmlns:a16="http://schemas.microsoft.com/office/drawing/2014/main" id="{F34C97FE-F02F-47E1-A6E9-899093133970}"/>
              </a:ext>
            </a:extLst>
          </p:cNvPr>
          <p:cNvSpPr txBox="1"/>
          <p:nvPr/>
        </p:nvSpPr>
        <p:spPr>
          <a:xfrm>
            <a:off x="6238445" y="4437248"/>
            <a:ext cx="4995640" cy="1600438"/>
          </a:xfrm>
          <a:prstGeom prst="rect">
            <a:avLst/>
          </a:prstGeom>
          <a:noFill/>
        </p:spPr>
        <p:txBody>
          <a:bodyPr wrap="square" lIns="91440" tIns="45720" rIns="91440" bIns="45720" rtlCol="0" anchor="t">
            <a:spAutoFit/>
          </a:bodyPr>
          <a:lstStyle/>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When</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there</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is</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rain</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guests</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would</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want</a:t>
            </a:r>
            <a:r>
              <a:rPr lang="vi-VN" sz="1400">
                <a:solidFill>
                  <a:srgbClr val="171D3C"/>
                </a:solidFill>
                <a:latin typeface="Trebuchet MS" panose="020B0603020202020204" pitchFamily="34" charset="0"/>
              </a:rPr>
              <a:t> to </a:t>
            </a:r>
            <a:r>
              <a:rPr lang="vi-VN" sz="1400" err="1">
                <a:solidFill>
                  <a:srgbClr val="171D3C"/>
                </a:solidFill>
                <a:latin typeface="Trebuchet MS" panose="020B0603020202020204" pitchFamily="34" charset="0"/>
              </a:rPr>
              <a:t>move</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on</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buses</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from</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point</a:t>
            </a:r>
            <a:r>
              <a:rPr lang="vi-VN" sz="1400">
                <a:solidFill>
                  <a:srgbClr val="171D3C"/>
                </a:solidFill>
                <a:latin typeface="Trebuchet MS" panose="020B0603020202020204" pitchFamily="34" charset="0"/>
              </a:rPr>
              <a:t> to </a:t>
            </a:r>
            <a:r>
              <a:rPr lang="vi-VN" sz="1400" err="1">
                <a:solidFill>
                  <a:srgbClr val="171D3C"/>
                </a:solidFill>
                <a:latin typeface="Trebuchet MS" panose="020B0603020202020204" pitchFamily="34" charset="0"/>
              </a:rPr>
              <a:t>point</a:t>
            </a:r>
            <a:endParaRPr lang="vi-VN" sz="1400">
              <a:solidFill>
                <a:srgbClr val="171D3C"/>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When</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there</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is</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heavy</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lasting</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rain</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guests</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will</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choose</a:t>
            </a:r>
            <a:r>
              <a:rPr lang="vi-VN" sz="1400">
                <a:solidFill>
                  <a:srgbClr val="171D3C"/>
                </a:solidFill>
                <a:latin typeface="Trebuchet MS" panose="020B0603020202020204" pitchFamily="34" charset="0"/>
              </a:rPr>
              <a:t> to </a:t>
            </a:r>
            <a:r>
              <a:rPr lang="vi-VN" sz="1400" err="1">
                <a:solidFill>
                  <a:srgbClr val="171D3C"/>
                </a:solidFill>
                <a:latin typeface="Trebuchet MS" panose="020B0603020202020204" pitchFamily="34" charset="0"/>
              </a:rPr>
              <a:t>leave</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Sentosa</a:t>
            </a:r>
            <a:r>
              <a:rPr lang="vi-VN" sz="1400">
                <a:solidFill>
                  <a:srgbClr val="171D3C"/>
                </a:solidFill>
                <a:latin typeface="Trebuchet MS" panose="020B0603020202020204" pitchFamily="34" charset="0"/>
              </a:rPr>
              <a:t> </a:t>
            </a: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vi-VN" sz="1400">
              <a:solidFill>
                <a:srgbClr val="171D3C"/>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vi-VN" sz="1400">
              <a:solidFill>
                <a:srgbClr val="171D3C"/>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en-US" sz="1400">
              <a:solidFill>
                <a:srgbClr val="171D3C"/>
              </a:solidFill>
              <a:latin typeface="Trebuchet MS" panose="020B0603020202020204" pitchFamily="34" charset="0"/>
            </a:endParaRPr>
          </a:p>
        </p:txBody>
      </p:sp>
      <p:sp>
        <p:nvSpPr>
          <p:cNvPr id="17" name="Oval 16">
            <a:extLst>
              <a:ext uri="{FF2B5EF4-FFF2-40B4-BE49-F238E27FC236}">
                <a16:creationId xmlns:a16="http://schemas.microsoft.com/office/drawing/2014/main" id="{D6A19D99-FD2D-4A02-BD8C-EB79DE5CB3E8}"/>
              </a:ext>
            </a:extLst>
          </p:cNvPr>
          <p:cNvSpPr>
            <a:spLocks noChangeAspect="1"/>
          </p:cNvSpPr>
          <p:nvPr/>
        </p:nvSpPr>
        <p:spPr>
          <a:xfrm>
            <a:off x="6238446" y="2244303"/>
            <a:ext cx="1604688" cy="1604688"/>
          </a:xfrm>
          <a:prstGeom prst="ellipse">
            <a:avLst/>
          </a:prstGeom>
          <a:solidFill>
            <a:srgbClr val="FFFFFF"/>
          </a:solidFill>
          <a:ln w="3810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vi-VN" sz="4500" b="1" kern="0">
                <a:solidFill>
                  <a:srgbClr val="171D3C"/>
                </a:solidFill>
              </a:rPr>
              <a:t>X</a:t>
            </a:r>
            <a:br>
              <a:rPr lang="en-US" sz="1200" kern="0"/>
            </a:br>
            <a:r>
              <a:rPr lang="en-SG" sz="1400" kern="0">
                <a:solidFill>
                  <a:srgbClr val="171D3C"/>
                </a:solidFill>
              </a:rPr>
              <a:t>guests</a:t>
            </a:r>
            <a:endParaRPr lang="en-US" sz="1400" kern="0">
              <a:solidFill>
                <a:srgbClr val="171D3C"/>
              </a:solidFill>
            </a:endParaRPr>
          </a:p>
        </p:txBody>
      </p:sp>
      <p:sp>
        <p:nvSpPr>
          <p:cNvPr id="18" name="TextBox 17">
            <a:extLst>
              <a:ext uri="{FF2B5EF4-FFF2-40B4-BE49-F238E27FC236}">
                <a16:creationId xmlns:a16="http://schemas.microsoft.com/office/drawing/2014/main" id="{019024A8-1BEF-4B4D-B472-4BE8F204F39E}"/>
              </a:ext>
            </a:extLst>
          </p:cNvPr>
          <p:cNvSpPr txBox="1"/>
          <p:nvPr/>
        </p:nvSpPr>
        <p:spPr>
          <a:xfrm>
            <a:off x="8847667" y="2785036"/>
            <a:ext cx="2386417" cy="523220"/>
          </a:xfrm>
          <a:prstGeom prst="rect">
            <a:avLst/>
          </a:prstGeom>
          <a:noFill/>
        </p:spPr>
        <p:txBody>
          <a:bodyPr wrap="square" rtlCol="0" anchor="ctr">
            <a:spAutoFit/>
          </a:bodyPr>
          <a:lstStyle/>
          <a:p>
            <a:r>
              <a:rPr lang="en-SG" sz="1400"/>
              <a:t>Are impacted by the problem</a:t>
            </a:r>
            <a:endParaRPr lang="en-US" sz="1400"/>
          </a:p>
        </p:txBody>
      </p:sp>
      <p:cxnSp>
        <p:nvCxnSpPr>
          <p:cNvPr id="19" name="Straight Connector 18">
            <a:extLst>
              <a:ext uri="{FF2B5EF4-FFF2-40B4-BE49-F238E27FC236}">
                <a16:creationId xmlns:a16="http://schemas.microsoft.com/office/drawing/2014/main" id="{10596A96-FB53-4328-8EDF-9CCC725CDFDA}"/>
              </a:ext>
            </a:extLst>
          </p:cNvPr>
          <p:cNvCxnSpPr/>
          <p:nvPr/>
        </p:nvCxnSpPr>
        <p:spPr>
          <a:xfrm>
            <a:off x="8431430" y="2284613"/>
            <a:ext cx="0" cy="1524067"/>
          </a:xfrm>
          <a:prstGeom prst="line">
            <a:avLst/>
          </a:prstGeom>
          <a:ln w="9525" cap="rnd">
            <a:solidFill>
              <a:schemeClr val="tx1">
                <a:lumMod val="60000"/>
                <a:lumOff val="40000"/>
              </a:schemeClr>
            </a:solidFill>
            <a:prstDash val="dash"/>
            <a:round/>
            <a:headEnd type="diamond"/>
            <a:tailEnd type="diamon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5588E7A5-52DE-4CD0-97CD-566540589768}"/>
              </a:ext>
            </a:extLst>
          </p:cNvPr>
          <p:cNvGrpSpPr>
            <a:grpSpLocks noChangeAspect="1"/>
          </p:cNvGrpSpPr>
          <p:nvPr/>
        </p:nvGrpSpPr>
        <p:grpSpPr>
          <a:xfrm>
            <a:off x="8277975" y="2893192"/>
            <a:ext cx="306910" cy="306910"/>
            <a:chOff x="982662" y="1847850"/>
            <a:chExt cx="269875" cy="269875"/>
          </a:xfrm>
        </p:grpSpPr>
        <p:sp>
          <p:nvSpPr>
            <p:cNvPr id="24" name="Oval 50">
              <a:extLst>
                <a:ext uri="{FF2B5EF4-FFF2-40B4-BE49-F238E27FC236}">
                  <a16:creationId xmlns:a16="http://schemas.microsoft.com/office/drawing/2014/main" id="{505FAE24-11E5-496E-9AA9-05D2E91251B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5" name="Freeform 51">
              <a:extLst>
                <a:ext uri="{FF2B5EF4-FFF2-40B4-BE49-F238E27FC236}">
                  <a16:creationId xmlns:a16="http://schemas.microsoft.com/office/drawing/2014/main" id="{57C8CC55-C161-4A1F-B214-EF582F99F47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3" name="Rectangle 2">
            <a:extLst>
              <a:ext uri="{FF2B5EF4-FFF2-40B4-BE49-F238E27FC236}">
                <a16:creationId xmlns:a16="http://schemas.microsoft.com/office/drawing/2014/main" id="{E84D7F7A-2450-475A-BF8F-752787E6F41D}"/>
              </a:ext>
            </a:extLst>
          </p:cNvPr>
          <p:cNvSpPr/>
          <p:nvPr/>
        </p:nvSpPr>
        <p:spPr>
          <a:xfrm>
            <a:off x="9898313" y="35761"/>
            <a:ext cx="2224505" cy="612775"/>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YL - Rain</a:t>
            </a:r>
          </a:p>
        </p:txBody>
      </p:sp>
    </p:spTree>
    <p:custDataLst>
      <p:tags r:id="rId2"/>
    </p:custDataLst>
    <p:extLst>
      <p:ext uri="{BB962C8B-B14F-4D97-AF65-F5344CB8AC3E}">
        <p14:creationId xmlns:p14="http://schemas.microsoft.com/office/powerpoint/2010/main" val="2422572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endParaRPr lang="en-SG">
              <a:solidFill>
                <a:schemeClr val="bg1"/>
              </a:solidFill>
            </a:endParaRP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7" name="Title 6">
            <a:extLst>
              <a:ext uri="{FF2B5EF4-FFF2-40B4-BE49-F238E27FC236}">
                <a16:creationId xmlns:a16="http://schemas.microsoft.com/office/drawing/2014/main" id="{5040411B-0A54-429E-94AB-0F4DA7C1917E}"/>
              </a:ext>
            </a:extLst>
          </p:cNvPr>
          <p:cNvSpPr>
            <a:spLocks noGrp="1"/>
          </p:cNvSpPr>
          <p:nvPr>
            <p:ph type="title"/>
          </p:nvPr>
        </p:nvSpPr>
        <p:spPr>
          <a:xfrm>
            <a:off x="630000" y="350657"/>
            <a:ext cx="10933350" cy="470898"/>
          </a:xfrm>
        </p:spPr>
        <p:txBody>
          <a:bodyPr/>
          <a:lstStyle/>
          <a:p>
            <a:r>
              <a:rPr lang="en-US">
                <a:solidFill>
                  <a:srgbClr val="002060"/>
                </a:solidFill>
                <a:ea typeface="+mj-lt"/>
                <a:cs typeface="+mj-lt"/>
              </a:rPr>
              <a:t>Total Ridership for Bus Stops</a:t>
            </a:r>
          </a:p>
        </p:txBody>
      </p:sp>
      <p:pic>
        <p:nvPicPr>
          <p:cNvPr id="15" name="Picture 15" descr="Chart, pie chart&#10;&#10;Description automatically generated">
            <a:extLst>
              <a:ext uri="{FF2B5EF4-FFF2-40B4-BE49-F238E27FC236}">
                <a16:creationId xmlns:a16="http://schemas.microsoft.com/office/drawing/2014/main" id="{5D59DB1C-172C-47ED-95FD-1E3F001466CE}"/>
              </a:ext>
            </a:extLst>
          </p:cNvPr>
          <p:cNvPicPr>
            <a:picLocks noChangeAspect="1"/>
          </p:cNvPicPr>
          <p:nvPr/>
        </p:nvPicPr>
        <p:blipFill>
          <a:blip r:embed="rId5"/>
          <a:stretch>
            <a:fillRect/>
          </a:stretch>
        </p:blipFill>
        <p:spPr>
          <a:xfrm>
            <a:off x="685738" y="991484"/>
            <a:ext cx="8201285" cy="53032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8" name="TextBox 27">
            <a:extLst>
              <a:ext uri="{FF2B5EF4-FFF2-40B4-BE49-F238E27FC236}">
                <a16:creationId xmlns:a16="http://schemas.microsoft.com/office/drawing/2014/main" id="{5BEF8CBE-6A99-4BE1-8789-ABAC27A176FF}"/>
              </a:ext>
            </a:extLst>
          </p:cNvPr>
          <p:cNvSpPr txBox="1"/>
          <p:nvPr/>
        </p:nvSpPr>
        <p:spPr>
          <a:xfrm>
            <a:off x="9148497" y="2328444"/>
            <a:ext cx="2636183" cy="3802307"/>
          </a:xfrm>
          <a:prstGeom prst="rect">
            <a:avLst/>
          </a:prstGeom>
          <a:noFill/>
          <a:ln w="9525" cap="rnd">
            <a:solidFill>
              <a:schemeClr val="tx1"/>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err="1">
                <a:solidFill>
                  <a:srgbClr val="002060"/>
                </a:solidFill>
                <a:ea typeface="+mn-lt"/>
                <a:cs typeface="+mn-lt"/>
              </a:rPr>
              <a:t>Imbiah</a:t>
            </a:r>
            <a:r>
              <a:rPr lang="en-SG" sz="1600">
                <a:solidFill>
                  <a:srgbClr val="002060"/>
                </a:solidFill>
                <a:ea typeface="+mn-lt"/>
                <a:cs typeface="+mn-lt"/>
              </a:rPr>
              <a:t> lookout has the highest ridership of all bus stops.</a:t>
            </a:r>
            <a:endParaRPr lang="en-US" sz="1600"/>
          </a:p>
          <a:p>
            <a:endParaRPr lang="en-SG" sz="1600">
              <a:solidFill>
                <a:srgbClr val="002060"/>
              </a:solidFill>
            </a:endParaRPr>
          </a:p>
          <a:p>
            <a:r>
              <a:rPr lang="en-SG" sz="1400">
                <a:solidFill>
                  <a:srgbClr val="002060"/>
                </a:solidFill>
              </a:rPr>
              <a:t>__________________________</a:t>
            </a:r>
            <a:endParaRPr lang="en-SG" sz="1600">
              <a:solidFill>
                <a:srgbClr val="002060"/>
              </a:solidFill>
            </a:endParaRPr>
          </a:p>
          <a:p>
            <a:endParaRPr lang="en-SG" sz="1400">
              <a:solidFill>
                <a:srgbClr val="002060"/>
              </a:solidFill>
            </a:endParaRPr>
          </a:p>
          <a:p>
            <a:endParaRPr lang="en-SG" sz="1400">
              <a:solidFill>
                <a:srgbClr val="002060"/>
              </a:solidFill>
            </a:endParaRPr>
          </a:p>
          <a:p>
            <a:r>
              <a:rPr lang="en-SG" sz="1400" i="1">
                <a:solidFill>
                  <a:srgbClr val="002060"/>
                </a:solidFill>
              </a:rPr>
              <a:t>*</a:t>
            </a:r>
            <a:r>
              <a:rPr lang="en-SG" sz="1200" i="1">
                <a:solidFill>
                  <a:srgbClr val="002060"/>
                </a:solidFill>
              </a:rPr>
              <a:t>Beach Station is excluded </a:t>
            </a:r>
            <a:r>
              <a:rPr lang="en-SG" sz="1200" i="1">
                <a:solidFill>
                  <a:schemeClr val="tx1"/>
                </a:solidFill>
              </a:rPr>
              <a:t>in</a:t>
            </a:r>
            <a:r>
              <a:rPr lang="en-SG" sz="1200" i="1">
                <a:solidFill>
                  <a:srgbClr val="002060"/>
                </a:solidFill>
              </a:rPr>
              <a:t> this analysis as it is a bus interchange which naturally will have high ridership.  </a:t>
            </a:r>
            <a:endParaRPr lang="en-US" sz="1200" i="1"/>
          </a:p>
          <a:p>
            <a:endParaRPr lang="en-SG" sz="1200" i="1">
              <a:solidFill>
                <a:srgbClr val="002060"/>
              </a:solidFill>
            </a:endParaRPr>
          </a:p>
          <a:p>
            <a:r>
              <a:rPr lang="en-SG" sz="1200" i="1">
                <a:solidFill>
                  <a:srgbClr val="002060"/>
                </a:solidFill>
              </a:rPr>
              <a:t>Our focus is on the bus stops between the interchange.</a:t>
            </a:r>
            <a:endParaRPr lang="en-SG" sz="1200" i="1"/>
          </a:p>
        </p:txBody>
      </p:sp>
      <p:sp>
        <p:nvSpPr>
          <p:cNvPr id="5" name="Rectangle 4">
            <a:extLst>
              <a:ext uri="{FF2B5EF4-FFF2-40B4-BE49-F238E27FC236}">
                <a16:creationId xmlns:a16="http://schemas.microsoft.com/office/drawing/2014/main" id="{0A784A15-5CA4-4DDF-B588-22BE7AFBC9A8}"/>
              </a:ext>
            </a:extLst>
          </p:cNvPr>
          <p:cNvSpPr/>
          <p:nvPr/>
        </p:nvSpPr>
        <p:spPr>
          <a:xfrm>
            <a:off x="6394055" y="1880492"/>
            <a:ext cx="1405701" cy="299032"/>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6" name="TextBox 5">
            <a:extLst>
              <a:ext uri="{FF2B5EF4-FFF2-40B4-BE49-F238E27FC236}">
                <a16:creationId xmlns:a16="http://schemas.microsoft.com/office/drawing/2014/main" id="{2421FA36-AD2A-4740-8B15-775BD01D9062}"/>
              </a:ext>
            </a:extLst>
          </p:cNvPr>
          <p:cNvSpPr txBox="1"/>
          <p:nvPr/>
        </p:nvSpPr>
        <p:spPr>
          <a:xfrm>
            <a:off x="586481" y="6411776"/>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Tree>
    <p:extLst>
      <p:ext uri="{BB962C8B-B14F-4D97-AF65-F5344CB8AC3E}">
        <p14:creationId xmlns:p14="http://schemas.microsoft.com/office/powerpoint/2010/main" val="3666302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2C2EF1-B20F-4AB1-A58B-B9EF49B5A57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6"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122C2EF1-B20F-4AB1-A58B-B9EF49B5A5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200" cy="886397"/>
          </a:xfrm>
        </p:spPr>
        <p:txBody>
          <a:bodyPr vert="horz"/>
          <a:lstStyle/>
          <a:p>
            <a:r>
              <a:rPr lang="en-US" sz="3200"/>
              <a:t>We leveraged the power of data to analyze the root causes and drive valuable insights</a:t>
            </a:r>
          </a:p>
        </p:txBody>
      </p:sp>
      <p:sp>
        <p:nvSpPr>
          <p:cNvPr id="6" name="ee4pHeader1">
            <a:extLst>
              <a:ext uri="{FF2B5EF4-FFF2-40B4-BE49-F238E27FC236}">
                <a16:creationId xmlns:a16="http://schemas.microsoft.com/office/drawing/2014/main" id="{3EE2CDB2-78DB-45BE-A553-4B034DA5B250}"/>
              </a:ext>
            </a:extLst>
          </p:cNvPr>
          <p:cNvSpPr txBox="1"/>
          <p:nvPr/>
        </p:nvSpPr>
        <p:spPr>
          <a:xfrm>
            <a:off x="629399" y="1820629"/>
            <a:ext cx="5085929" cy="283417"/>
          </a:xfrm>
          <a:prstGeom prst="rect">
            <a:avLst/>
          </a:prstGeom>
          <a:noFill/>
          <a:ln cap="rnd">
            <a:noFill/>
          </a:ln>
        </p:spPr>
        <p:txBody>
          <a:bodyPr wrap="square" lIns="0" tIns="0" rIns="0" bIns="0" rtlCol="0" anchor="b">
            <a:noAutofit/>
          </a:bodyPr>
          <a:lstStyle/>
          <a:p>
            <a:pPr marL="0" lvl="3"/>
            <a:r>
              <a:rPr lang="en-US">
                <a:solidFill>
                  <a:srgbClr val="171D3C"/>
                </a:solidFill>
              </a:rPr>
              <a:t>By analyzing Weather data from Sentosa over the period of Jan – Mar 2021...</a:t>
            </a:r>
          </a:p>
        </p:txBody>
      </p:sp>
      <p:sp>
        <p:nvSpPr>
          <p:cNvPr id="7" name="ee4pHeader2">
            <a:extLst>
              <a:ext uri="{FF2B5EF4-FFF2-40B4-BE49-F238E27FC236}">
                <a16:creationId xmlns:a16="http://schemas.microsoft.com/office/drawing/2014/main" id="{DAD7256E-4533-4E0E-B2DE-493AB4F0A3C4}"/>
              </a:ext>
            </a:extLst>
          </p:cNvPr>
          <p:cNvSpPr txBox="1"/>
          <p:nvPr/>
        </p:nvSpPr>
        <p:spPr>
          <a:xfrm>
            <a:off x="6238445" y="1820629"/>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e identified &lt;there is an increase in number of guests getting on buses when temperature &gt; &gt;32degrees&gt;..</a:t>
            </a:r>
          </a:p>
        </p:txBody>
      </p:sp>
      <p:grpSp>
        <p:nvGrpSpPr>
          <p:cNvPr id="8" name="Group 7">
            <a:extLst>
              <a:ext uri="{FF2B5EF4-FFF2-40B4-BE49-F238E27FC236}">
                <a16:creationId xmlns:a16="http://schemas.microsoft.com/office/drawing/2014/main" id="{86CB271E-CA55-43B0-BDA0-4FF1D2F640F9}"/>
              </a:ext>
            </a:extLst>
          </p:cNvPr>
          <p:cNvGrpSpPr/>
          <p:nvPr/>
        </p:nvGrpSpPr>
        <p:grpSpPr>
          <a:xfrm>
            <a:off x="5823801" y="2081213"/>
            <a:ext cx="306171" cy="4079081"/>
            <a:chOff x="5942914" y="2081213"/>
            <a:chExt cx="306171" cy="4079081"/>
          </a:xfrm>
        </p:grpSpPr>
        <p:cxnSp>
          <p:nvCxnSpPr>
            <p:cNvPr id="9" name="Straight Connector 8">
              <a:extLst>
                <a:ext uri="{FF2B5EF4-FFF2-40B4-BE49-F238E27FC236}">
                  <a16:creationId xmlns:a16="http://schemas.microsoft.com/office/drawing/2014/main" id="{379DC876-DA66-493A-85C2-01203E423042}"/>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9D782B1-E8CE-41F5-8458-32E30A5C1AF3}"/>
                </a:ext>
              </a:extLst>
            </p:cNvPr>
            <p:cNvGrpSpPr/>
            <p:nvPr/>
          </p:nvGrpSpPr>
          <p:grpSpPr>
            <a:xfrm>
              <a:off x="5942914" y="3967299"/>
              <a:ext cx="306171" cy="306910"/>
              <a:chOff x="5937564" y="3833745"/>
              <a:chExt cx="306171" cy="306910"/>
            </a:xfrm>
          </p:grpSpPr>
          <p:sp>
            <p:nvSpPr>
              <p:cNvPr id="11" name="Freeform 94">
                <a:extLst>
                  <a:ext uri="{FF2B5EF4-FFF2-40B4-BE49-F238E27FC236}">
                    <a16:creationId xmlns:a16="http://schemas.microsoft.com/office/drawing/2014/main" id="{22EBBF2B-0D20-4337-AB58-95F5353F8F3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12" name="Freeform 95">
                <a:extLst>
                  <a:ext uri="{FF2B5EF4-FFF2-40B4-BE49-F238E27FC236}">
                    <a16:creationId xmlns:a16="http://schemas.microsoft.com/office/drawing/2014/main" id="{30EFF30D-8ECA-4E16-BC75-BD042173F9C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13" name="Rectangle 12">
            <a:extLst>
              <a:ext uri="{FF2B5EF4-FFF2-40B4-BE49-F238E27FC236}">
                <a16:creationId xmlns:a16="http://schemas.microsoft.com/office/drawing/2014/main" id="{52214D19-BF29-430F-B5C1-3AD79F856ADA}"/>
              </a:ext>
            </a:extLst>
          </p:cNvPr>
          <p:cNvSpPr/>
          <p:nvPr/>
        </p:nvSpPr>
        <p:spPr>
          <a:xfrm>
            <a:off x="629400" y="2244302"/>
            <a:ext cx="4730000" cy="3755423"/>
          </a:xfrm>
          <a:prstGeom prst="rect">
            <a:avLst/>
          </a:prstGeom>
          <a:noFill/>
          <a:ln w="1079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rgbClr val="171D3C"/>
                </a:solidFill>
              </a:rPr>
              <a:t>Chart/Visual showing output or</a:t>
            </a:r>
            <a:endParaRPr lang="vi-VN" sz="1400">
              <a:solidFill>
                <a:srgbClr val="171D3C"/>
              </a:solidFill>
            </a:endParaRPr>
          </a:p>
          <a:p>
            <a:pPr algn="ctr"/>
            <a:r>
              <a:rPr lang="en-US" sz="1400">
                <a:solidFill>
                  <a:srgbClr val="171D3C"/>
                </a:solidFill>
              </a:rPr>
              <a:t>key insights that build the output/recommendations</a:t>
            </a:r>
          </a:p>
          <a:p>
            <a:pPr algn="ctr"/>
            <a:endParaRPr lang="en-US" sz="1400">
              <a:solidFill>
                <a:srgbClr val="171D3C"/>
              </a:solidFill>
            </a:endParaRPr>
          </a:p>
          <a:p>
            <a:pPr algn="ctr"/>
            <a:r>
              <a:rPr lang="en-US" sz="1400">
                <a:solidFill>
                  <a:srgbClr val="171D3C"/>
                </a:solidFill>
                <a:ea typeface="+mn-lt"/>
                <a:cs typeface="+mn-lt"/>
              </a:rPr>
              <a:t>Limit to one insight/output theme</a:t>
            </a:r>
            <a:r>
              <a:rPr lang="vi-VN" sz="1400">
                <a:solidFill>
                  <a:srgbClr val="171D3C"/>
                </a:solidFill>
                <a:ea typeface="+mn-lt"/>
                <a:cs typeface="+mn-lt"/>
              </a:rPr>
              <a:t> </a:t>
            </a:r>
            <a:r>
              <a:rPr lang="en-US" sz="1400">
                <a:solidFill>
                  <a:srgbClr val="171D3C"/>
                </a:solidFill>
                <a:ea typeface="+mn-lt"/>
                <a:cs typeface="+mn-lt"/>
              </a:rPr>
              <a:t>per slide</a:t>
            </a:r>
            <a:endParaRPr lang="en-US">
              <a:ea typeface="+mn-lt"/>
              <a:cs typeface="+mn-lt"/>
            </a:endParaRPr>
          </a:p>
          <a:p>
            <a:pPr algn="ctr"/>
            <a:endParaRPr lang="en-US" sz="1400">
              <a:solidFill>
                <a:srgbClr val="171D3C"/>
              </a:solidFill>
              <a:ea typeface="+mn-lt"/>
              <a:cs typeface="+mn-lt"/>
            </a:endParaRPr>
          </a:p>
          <a:p>
            <a:pPr algn="ctr"/>
            <a:r>
              <a:rPr lang="en-US" sz="1400">
                <a:solidFill>
                  <a:srgbClr val="171D3C"/>
                </a:solidFill>
                <a:ea typeface="+mn-lt"/>
                <a:cs typeface="+mn-lt"/>
              </a:rPr>
              <a:t>Line graph to show the number of guests getting on buses corresponding to temperature </a:t>
            </a:r>
            <a:endParaRPr lang="en-US" sz="1400">
              <a:solidFill>
                <a:srgbClr val="171D3C"/>
              </a:solidFill>
            </a:endParaRPr>
          </a:p>
          <a:p>
            <a:pPr algn="ctr"/>
            <a:endParaRPr lang="en-US" sz="1400">
              <a:solidFill>
                <a:srgbClr val="171D3C"/>
              </a:solidFill>
            </a:endParaRPr>
          </a:p>
          <a:p>
            <a:pPr algn="ctr"/>
            <a:endParaRPr lang="en-US" sz="1400">
              <a:solidFill>
                <a:srgbClr val="171D3C"/>
              </a:solidFill>
            </a:endParaRPr>
          </a:p>
        </p:txBody>
      </p:sp>
      <p:sp>
        <p:nvSpPr>
          <p:cNvPr id="15" name="ee4pHeader2">
            <a:extLst>
              <a:ext uri="{FF2B5EF4-FFF2-40B4-BE49-F238E27FC236}">
                <a16:creationId xmlns:a16="http://schemas.microsoft.com/office/drawing/2014/main" id="{62D0A2D6-96AB-49DF-B708-D0BDE9F35432}"/>
              </a:ext>
            </a:extLst>
          </p:cNvPr>
          <p:cNvSpPr txBox="1"/>
          <p:nvPr/>
        </p:nvSpPr>
        <p:spPr>
          <a:xfrm>
            <a:off x="6238445" y="4058775"/>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ith following potential root causes</a:t>
            </a:r>
          </a:p>
        </p:txBody>
      </p:sp>
      <p:sp>
        <p:nvSpPr>
          <p:cNvPr id="16" name="TextBox 15">
            <a:extLst>
              <a:ext uri="{FF2B5EF4-FFF2-40B4-BE49-F238E27FC236}">
                <a16:creationId xmlns:a16="http://schemas.microsoft.com/office/drawing/2014/main" id="{F34C97FE-F02F-47E1-A6E9-899093133970}"/>
              </a:ext>
            </a:extLst>
          </p:cNvPr>
          <p:cNvSpPr txBox="1"/>
          <p:nvPr/>
        </p:nvSpPr>
        <p:spPr>
          <a:xfrm>
            <a:off x="6238445" y="4437248"/>
            <a:ext cx="4995640" cy="1384995"/>
          </a:xfrm>
          <a:prstGeom prst="rect">
            <a:avLst/>
          </a:prstGeom>
          <a:noFill/>
        </p:spPr>
        <p:txBody>
          <a:bodyPr wrap="square" lIns="91440" tIns="45720" rIns="91440" bIns="45720" rtlCol="0" anchor="t">
            <a:spAutoFit/>
          </a:bodyPr>
          <a:lstStyle/>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Hot</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weather</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will</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result</a:t>
            </a:r>
            <a:r>
              <a:rPr lang="vi-VN" sz="1400">
                <a:solidFill>
                  <a:srgbClr val="171D3C"/>
                </a:solidFill>
                <a:latin typeface="Trebuchet MS" panose="020B0603020202020204" pitchFamily="34" charset="0"/>
              </a:rPr>
              <a:t> in </a:t>
            </a:r>
            <a:r>
              <a:rPr lang="vi-VN" sz="1400" err="1">
                <a:solidFill>
                  <a:srgbClr val="171D3C"/>
                </a:solidFill>
                <a:latin typeface="Trebuchet MS" panose="020B0603020202020204" pitchFamily="34" charset="0"/>
              </a:rPr>
              <a:t>guests</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choosing</a:t>
            </a:r>
            <a:r>
              <a:rPr lang="vi-VN" sz="1400">
                <a:solidFill>
                  <a:srgbClr val="171D3C"/>
                </a:solidFill>
                <a:latin typeface="Trebuchet MS" panose="020B0603020202020204" pitchFamily="34" charset="0"/>
              </a:rPr>
              <a:t> to </a:t>
            </a:r>
            <a:r>
              <a:rPr lang="vi-VN" sz="1400" err="1">
                <a:solidFill>
                  <a:srgbClr val="171D3C"/>
                </a:solidFill>
                <a:latin typeface="Trebuchet MS" panose="020B0603020202020204" pitchFamily="34" charset="0"/>
              </a:rPr>
              <a:t>ride</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bus</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between</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points</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instead</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of</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walking</a:t>
            </a: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Guests</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will</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seek</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shade</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during</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hot</a:t>
            </a:r>
            <a:r>
              <a:rPr lang="vi-VN" sz="1400">
                <a:solidFill>
                  <a:srgbClr val="171D3C"/>
                </a:solidFill>
                <a:latin typeface="Trebuchet MS" panose="020B0603020202020204" pitchFamily="34" charset="0"/>
              </a:rPr>
              <a:t> </a:t>
            </a:r>
            <a:r>
              <a:rPr lang="vi-VN" sz="1400" err="1">
                <a:solidFill>
                  <a:srgbClr val="171D3C"/>
                </a:solidFill>
                <a:latin typeface="Trebuchet MS" panose="020B0603020202020204" pitchFamily="34" charset="0"/>
              </a:rPr>
              <a:t>weather</a:t>
            </a: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vi-VN" sz="1400">
              <a:solidFill>
                <a:srgbClr val="171D3C"/>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vi-VN" sz="1400">
              <a:solidFill>
                <a:srgbClr val="171D3C"/>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171D3C"/>
                </a:solidFill>
                <a:latin typeface="Trebuchet MS" panose="020B0603020202020204" pitchFamily="34" charset="0"/>
              </a:rPr>
              <a:t>Xx</a:t>
            </a:r>
            <a:endParaRPr lang="en-US" sz="1400">
              <a:solidFill>
                <a:srgbClr val="171D3C"/>
              </a:solidFill>
              <a:latin typeface="Trebuchet MS" panose="020B0603020202020204" pitchFamily="34" charset="0"/>
            </a:endParaRPr>
          </a:p>
        </p:txBody>
      </p:sp>
      <p:sp>
        <p:nvSpPr>
          <p:cNvPr id="17" name="Oval 16">
            <a:extLst>
              <a:ext uri="{FF2B5EF4-FFF2-40B4-BE49-F238E27FC236}">
                <a16:creationId xmlns:a16="http://schemas.microsoft.com/office/drawing/2014/main" id="{D6A19D99-FD2D-4A02-BD8C-EB79DE5CB3E8}"/>
              </a:ext>
            </a:extLst>
          </p:cNvPr>
          <p:cNvSpPr>
            <a:spLocks noChangeAspect="1"/>
          </p:cNvSpPr>
          <p:nvPr/>
        </p:nvSpPr>
        <p:spPr>
          <a:xfrm>
            <a:off x="6238446" y="2244303"/>
            <a:ext cx="1604688" cy="1604688"/>
          </a:xfrm>
          <a:prstGeom prst="ellipse">
            <a:avLst/>
          </a:prstGeom>
          <a:solidFill>
            <a:srgbClr val="FFFFFF"/>
          </a:solidFill>
          <a:ln w="3810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vi-VN" sz="4500" b="1" kern="0">
                <a:solidFill>
                  <a:srgbClr val="171D3C"/>
                </a:solidFill>
              </a:rPr>
              <a:t>X</a:t>
            </a:r>
            <a:br>
              <a:rPr lang="en-US" sz="1200" kern="0"/>
            </a:br>
            <a:r>
              <a:rPr lang="en-SG" sz="1400" kern="0">
                <a:solidFill>
                  <a:srgbClr val="171D3C"/>
                </a:solidFill>
              </a:rPr>
              <a:t>guests</a:t>
            </a:r>
            <a:endParaRPr lang="en-US" sz="1400" kern="0">
              <a:solidFill>
                <a:srgbClr val="171D3C"/>
              </a:solidFill>
            </a:endParaRPr>
          </a:p>
        </p:txBody>
      </p:sp>
      <p:sp>
        <p:nvSpPr>
          <p:cNvPr id="18" name="TextBox 17">
            <a:extLst>
              <a:ext uri="{FF2B5EF4-FFF2-40B4-BE49-F238E27FC236}">
                <a16:creationId xmlns:a16="http://schemas.microsoft.com/office/drawing/2014/main" id="{019024A8-1BEF-4B4D-B472-4BE8F204F39E}"/>
              </a:ext>
            </a:extLst>
          </p:cNvPr>
          <p:cNvSpPr txBox="1"/>
          <p:nvPr/>
        </p:nvSpPr>
        <p:spPr>
          <a:xfrm>
            <a:off x="8847667" y="2785036"/>
            <a:ext cx="2386417" cy="523220"/>
          </a:xfrm>
          <a:prstGeom prst="rect">
            <a:avLst/>
          </a:prstGeom>
          <a:noFill/>
        </p:spPr>
        <p:txBody>
          <a:bodyPr wrap="square" rtlCol="0" anchor="ctr">
            <a:spAutoFit/>
          </a:bodyPr>
          <a:lstStyle/>
          <a:p>
            <a:r>
              <a:rPr lang="en-SG" sz="1400"/>
              <a:t>Are impacted by the problem</a:t>
            </a:r>
            <a:endParaRPr lang="en-US" sz="1400"/>
          </a:p>
        </p:txBody>
      </p:sp>
      <p:cxnSp>
        <p:nvCxnSpPr>
          <p:cNvPr id="19" name="Straight Connector 18">
            <a:extLst>
              <a:ext uri="{FF2B5EF4-FFF2-40B4-BE49-F238E27FC236}">
                <a16:creationId xmlns:a16="http://schemas.microsoft.com/office/drawing/2014/main" id="{10596A96-FB53-4328-8EDF-9CCC725CDFDA}"/>
              </a:ext>
            </a:extLst>
          </p:cNvPr>
          <p:cNvCxnSpPr/>
          <p:nvPr/>
        </p:nvCxnSpPr>
        <p:spPr>
          <a:xfrm>
            <a:off x="8431430" y="2284613"/>
            <a:ext cx="0" cy="1524067"/>
          </a:xfrm>
          <a:prstGeom prst="line">
            <a:avLst/>
          </a:prstGeom>
          <a:ln w="9525" cap="rnd">
            <a:solidFill>
              <a:schemeClr val="tx1">
                <a:lumMod val="60000"/>
                <a:lumOff val="40000"/>
              </a:schemeClr>
            </a:solidFill>
            <a:prstDash val="dash"/>
            <a:round/>
            <a:headEnd type="diamond"/>
            <a:tailEnd type="diamon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5588E7A5-52DE-4CD0-97CD-566540589768}"/>
              </a:ext>
            </a:extLst>
          </p:cNvPr>
          <p:cNvGrpSpPr>
            <a:grpSpLocks noChangeAspect="1"/>
          </p:cNvGrpSpPr>
          <p:nvPr/>
        </p:nvGrpSpPr>
        <p:grpSpPr>
          <a:xfrm>
            <a:off x="8277975" y="2893192"/>
            <a:ext cx="306910" cy="306910"/>
            <a:chOff x="982662" y="1847850"/>
            <a:chExt cx="269875" cy="269875"/>
          </a:xfrm>
        </p:grpSpPr>
        <p:sp>
          <p:nvSpPr>
            <p:cNvPr id="24" name="Oval 50">
              <a:extLst>
                <a:ext uri="{FF2B5EF4-FFF2-40B4-BE49-F238E27FC236}">
                  <a16:creationId xmlns:a16="http://schemas.microsoft.com/office/drawing/2014/main" id="{505FAE24-11E5-496E-9AA9-05D2E91251B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5" name="Freeform 51">
              <a:extLst>
                <a:ext uri="{FF2B5EF4-FFF2-40B4-BE49-F238E27FC236}">
                  <a16:creationId xmlns:a16="http://schemas.microsoft.com/office/drawing/2014/main" id="{57C8CC55-C161-4A1F-B214-EF582F99F47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3" name="Rectangle 2">
            <a:extLst>
              <a:ext uri="{FF2B5EF4-FFF2-40B4-BE49-F238E27FC236}">
                <a16:creationId xmlns:a16="http://schemas.microsoft.com/office/drawing/2014/main" id="{1D47542B-6E9B-4F07-BD9B-7502BC23F2BE}"/>
              </a:ext>
            </a:extLst>
          </p:cNvPr>
          <p:cNvSpPr/>
          <p:nvPr/>
        </p:nvSpPr>
        <p:spPr>
          <a:xfrm>
            <a:off x="9898313" y="35761"/>
            <a:ext cx="2224505" cy="612775"/>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YL - Hot Weather</a:t>
            </a:r>
          </a:p>
        </p:txBody>
      </p:sp>
    </p:spTree>
    <p:custDataLst>
      <p:tags r:id="rId2"/>
    </p:custDataLst>
    <p:extLst>
      <p:ext uri="{BB962C8B-B14F-4D97-AF65-F5344CB8AC3E}">
        <p14:creationId xmlns:p14="http://schemas.microsoft.com/office/powerpoint/2010/main" val="744766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2C2EF1-B20F-4AB1-A58B-B9EF49B5A57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4"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122C2EF1-B20F-4AB1-A58B-B9EF49B5A5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200" cy="886397"/>
          </a:xfrm>
        </p:spPr>
        <p:txBody>
          <a:bodyPr vert="horz"/>
          <a:lstStyle/>
          <a:p>
            <a:r>
              <a:rPr lang="en-US" sz="3200">
                <a:ea typeface="+mj-lt"/>
                <a:cs typeface="+mj-lt"/>
              </a:rPr>
              <a:t>We leveraged the power of data to analyze the root causes and drive valuable insights</a:t>
            </a:r>
          </a:p>
        </p:txBody>
      </p:sp>
      <p:sp>
        <p:nvSpPr>
          <p:cNvPr id="6" name="ee4pHeader1">
            <a:extLst>
              <a:ext uri="{FF2B5EF4-FFF2-40B4-BE49-F238E27FC236}">
                <a16:creationId xmlns:a16="http://schemas.microsoft.com/office/drawing/2014/main" id="{3EE2CDB2-78DB-45BE-A553-4B034DA5B250}"/>
              </a:ext>
            </a:extLst>
          </p:cNvPr>
          <p:cNvSpPr txBox="1"/>
          <p:nvPr/>
        </p:nvSpPr>
        <p:spPr>
          <a:xfrm>
            <a:off x="629399" y="1820629"/>
            <a:ext cx="5085929" cy="608764"/>
          </a:xfrm>
          <a:prstGeom prst="rect">
            <a:avLst/>
          </a:prstGeom>
          <a:noFill/>
          <a:ln cap="rnd">
            <a:noFill/>
          </a:ln>
        </p:spPr>
        <p:txBody>
          <a:bodyPr wrap="square" lIns="0" tIns="0" rIns="0" bIns="0" rtlCol="0" anchor="b">
            <a:noAutofit/>
          </a:bodyPr>
          <a:lstStyle/>
          <a:p>
            <a:pPr marL="0" lvl="3"/>
            <a:r>
              <a:rPr lang="en-US">
                <a:solidFill>
                  <a:srgbClr val="FF0000"/>
                </a:solidFill>
              </a:rPr>
              <a:t>By analyzing data from hotels around Sentosa, bus ridership &amp; dispatch numbers at bus stops near hotels </a:t>
            </a:r>
          </a:p>
        </p:txBody>
      </p:sp>
      <p:sp>
        <p:nvSpPr>
          <p:cNvPr id="7" name="ee4pHeader2">
            <a:extLst>
              <a:ext uri="{FF2B5EF4-FFF2-40B4-BE49-F238E27FC236}">
                <a16:creationId xmlns:a16="http://schemas.microsoft.com/office/drawing/2014/main" id="{DAD7256E-4533-4E0E-B2DE-493AB4F0A3C4}"/>
              </a:ext>
            </a:extLst>
          </p:cNvPr>
          <p:cNvSpPr txBox="1"/>
          <p:nvPr/>
        </p:nvSpPr>
        <p:spPr>
          <a:xfrm>
            <a:off x="6238445" y="1820629"/>
            <a:ext cx="5406605" cy="223486"/>
          </a:xfrm>
          <a:prstGeom prst="rect">
            <a:avLst/>
          </a:prstGeom>
          <a:noFill/>
          <a:ln cap="rnd">
            <a:noFill/>
          </a:ln>
        </p:spPr>
        <p:txBody>
          <a:bodyPr wrap="square" lIns="0" tIns="0" rIns="0" bIns="0" rtlCol="0" anchor="b">
            <a:noAutofit/>
          </a:bodyPr>
          <a:lstStyle/>
          <a:p>
            <a:pPr marL="0" lvl="3"/>
            <a:r>
              <a:rPr lang="en-US">
                <a:solidFill>
                  <a:srgbClr val="FF0000"/>
                </a:solidFill>
              </a:rPr>
              <a:t>…we identified that the hotel check-in/out time influence</a:t>
            </a:r>
          </a:p>
        </p:txBody>
      </p:sp>
      <p:grpSp>
        <p:nvGrpSpPr>
          <p:cNvPr id="8" name="Group 7">
            <a:extLst>
              <a:ext uri="{FF2B5EF4-FFF2-40B4-BE49-F238E27FC236}">
                <a16:creationId xmlns:a16="http://schemas.microsoft.com/office/drawing/2014/main" id="{86CB271E-CA55-43B0-BDA0-4FF1D2F640F9}"/>
              </a:ext>
            </a:extLst>
          </p:cNvPr>
          <p:cNvGrpSpPr/>
          <p:nvPr/>
        </p:nvGrpSpPr>
        <p:grpSpPr>
          <a:xfrm>
            <a:off x="5823801" y="2081213"/>
            <a:ext cx="306171" cy="4079081"/>
            <a:chOff x="5942914" y="2081213"/>
            <a:chExt cx="306171" cy="4079081"/>
          </a:xfrm>
        </p:grpSpPr>
        <p:cxnSp>
          <p:nvCxnSpPr>
            <p:cNvPr id="9" name="Straight Connector 8">
              <a:extLst>
                <a:ext uri="{FF2B5EF4-FFF2-40B4-BE49-F238E27FC236}">
                  <a16:creationId xmlns:a16="http://schemas.microsoft.com/office/drawing/2014/main" id="{379DC876-DA66-493A-85C2-01203E423042}"/>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9D782B1-E8CE-41F5-8458-32E30A5C1AF3}"/>
                </a:ext>
              </a:extLst>
            </p:cNvPr>
            <p:cNvGrpSpPr/>
            <p:nvPr/>
          </p:nvGrpSpPr>
          <p:grpSpPr>
            <a:xfrm>
              <a:off x="5942914" y="3967299"/>
              <a:ext cx="306171" cy="306910"/>
              <a:chOff x="5937564" y="3833745"/>
              <a:chExt cx="306171" cy="306910"/>
            </a:xfrm>
          </p:grpSpPr>
          <p:sp>
            <p:nvSpPr>
              <p:cNvPr id="11" name="Freeform 94">
                <a:extLst>
                  <a:ext uri="{FF2B5EF4-FFF2-40B4-BE49-F238E27FC236}">
                    <a16:creationId xmlns:a16="http://schemas.microsoft.com/office/drawing/2014/main" id="{22EBBF2B-0D20-4337-AB58-95F5353F8F3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12" name="Freeform 95">
                <a:extLst>
                  <a:ext uri="{FF2B5EF4-FFF2-40B4-BE49-F238E27FC236}">
                    <a16:creationId xmlns:a16="http://schemas.microsoft.com/office/drawing/2014/main" id="{30EFF30D-8ECA-4E16-BC75-BD042173F9C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13" name="Rectangle 12">
            <a:extLst>
              <a:ext uri="{FF2B5EF4-FFF2-40B4-BE49-F238E27FC236}">
                <a16:creationId xmlns:a16="http://schemas.microsoft.com/office/drawing/2014/main" id="{52214D19-BF29-430F-B5C1-3AD79F856ADA}"/>
              </a:ext>
            </a:extLst>
          </p:cNvPr>
          <p:cNvSpPr/>
          <p:nvPr/>
        </p:nvSpPr>
        <p:spPr>
          <a:xfrm>
            <a:off x="629400" y="2663830"/>
            <a:ext cx="4969730" cy="3335895"/>
          </a:xfrm>
          <a:prstGeom prst="rect">
            <a:avLst/>
          </a:prstGeom>
          <a:noFill/>
          <a:ln w="1079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FF0000"/>
                </a:solidFill>
              </a:rPr>
              <a:t>Scatter chart to show correlation between:</a:t>
            </a:r>
            <a:endParaRPr lang="vi-VN" sz="1400" b="1">
              <a:solidFill>
                <a:srgbClr val="FF0000"/>
              </a:solidFill>
            </a:endParaRPr>
          </a:p>
          <a:p>
            <a:pPr algn="ctr"/>
            <a:r>
              <a:rPr lang="en-US" sz="1400">
                <a:solidFill>
                  <a:srgbClr val="FF0000"/>
                </a:solidFill>
              </a:rPr>
              <a:t>- the number of hotel guests per day</a:t>
            </a:r>
            <a:endParaRPr lang="vi-VN" sz="1400">
              <a:solidFill>
                <a:srgbClr val="FF0000"/>
              </a:solidFill>
            </a:endParaRPr>
          </a:p>
          <a:p>
            <a:pPr algn="ctr"/>
            <a:r>
              <a:rPr lang="en-US" sz="1400">
                <a:solidFill>
                  <a:srgbClr val="FF0000"/>
                </a:solidFill>
              </a:rPr>
              <a:t>- the number of riders </a:t>
            </a:r>
            <a:r>
              <a:rPr lang="en-US" sz="1400">
                <a:solidFill>
                  <a:srgbClr val="FF0000"/>
                </a:solidFill>
                <a:ea typeface="+mn-lt"/>
                <a:cs typeface="+mn-lt"/>
              </a:rPr>
              <a:t>near hotel bus stops per day</a:t>
            </a:r>
            <a:endParaRPr lang="vi-VN" sz="1400">
              <a:solidFill>
                <a:srgbClr val="FF0000"/>
              </a:solidFill>
              <a:ea typeface="+mn-lt"/>
              <a:cs typeface="+mn-lt"/>
            </a:endParaRPr>
          </a:p>
          <a:p>
            <a:pPr algn="ctr"/>
            <a:r>
              <a:rPr lang="en-US" sz="1400">
                <a:solidFill>
                  <a:srgbClr val="FF0000"/>
                </a:solidFill>
                <a:ea typeface="+mn-lt"/>
                <a:cs typeface="+mn-lt"/>
              </a:rPr>
              <a:t>- the number of buses requested by radio dispatch per day </a:t>
            </a:r>
            <a:endParaRPr lang="vi-VN" sz="1400">
              <a:solidFill>
                <a:srgbClr val="FF0000"/>
              </a:solidFill>
              <a:ea typeface="+mn-lt"/>
              <a:cs typeface="+mn-lt"/>
            </a:endParaRPr>
          </a:p>
          <a:p>
            <a:pPr algn="ctr"/>
            <a:endParaRPr lang="en-US" sz="1400">
              <a:solidFill>
                <a:srgbClr val="FF0000"/>
              </a:solidFill>
              <a:ea typeface="+mn-lt"/>
              <a:cs typeface="+mn-lt"/>
            </a:endParaRPr>
          </a:p>
          <a:p>
            <a:pPr algn="ctr"/>
            <a:r>
              <a:rPr lang="en-US" sz="1400">
                <a:solidFill>
                  <a:srgbClr val="FF0000"/>
                </a:solidFill>
                <a:ea typeface="+mn-lt"/>
                <a:cs typeface="+mn-lt"/>
              </a:rPr>
              <a:t>To find if the peak time at these bus stops is due to the hotels check-in/out time.  </a:t>
            </a:r>
            <a:endParaRPr lang="vi-VN" sz="1400">
              <a:solidFill>
                <a:srgbClr val="FF0000"/>
              </a:solidFill>
              <a:ea typeface="+mn-lt"/>
              <a:cs typeface="+mn-lt"/>
            </a:endParaRPr>
          </a:p>
          <a:p>
            <a:pPr algn="ctr"/>
            <a:endParaRPr lang="en-US" sz="1400">
              <a:solidFill>
                <a:srgbClr val="FF0000"/>
              </a:solidFill>
              <a:ea typeface="+mn-lt"/>
              <a:cs typeface="+mn-lt"/>
            </a:endParaRPr>
          </a:p>
          <a:p>
            <a:pPr algn="ctr"/>
            <a:r>
              <a:rPr lang="en-US" sz="1400">
                <a:solidFill>
                  <a:srgbClr val="FF0000"/>
                </a:solidFill>
                <a:ea typeface="+mn-lt"/>
                <a:cs typeface="+mn-lt"/>
              </a:rPr>
              <a:t>Recommend to increase number of buses at bus stops near hotels to meet demand.</a:t>
            </a:r>
            <a:endParaRPr lang="vi-VN" sz="1400">
              <a:solidFill>
                <a:srgbClr val="FF0000"/>
              </a:solidFill>
            </a:endParaRPr>
          </a:p>
          <a:p>
            <a:pPr algn="ctr"/>
            <a:endParaRPr lang="en-US" sz="1400">
              <a:solidFill>
                <a:srgbClr val="FF0000"/>
              </a:solidFill>
            </a:endParaRPr>
          </a:p>
          <a:p>
            <a:pPr algn="ctr"/>
            <a:endParaRPr lang="en-US" sz="1400">
              <a:solidFill>
                <a:srgbClr val="FF0000"/>
              </a:solidFill>
            </a:endParaRPr>
          </a:p>
        </p:txBody>
      </p:sp>
      <p:sp>
        <p:nvSpPr>
          <p:cNvPr id="15" name="ee4pHeader2">
            <a:extLst>
              <a:ext uri="{FF2B5EF4-FFF2-40B4-BE49-F238E27FC236}">
                <a16:creationId xmlns:a16="http://schemas.microsoft.com/office/drawing/2014/main" id="{62D0A2D6-96AB-49DF-B708-D0BDE9F35432}"/>
              </a:ext>
            </a:extLst>
          </p:cNvPr>
          <p:cNvSpPr txBox="1"/>
          <p:nvPr/>
        </p:nvSpPr>
        <p:spPr>
          <a:xfrm>
            <a:off x="6238445" y="4058775"/>
            <a:ext cx="4995640" cy="283417"/>
          </a:xfrm>
          <a:prstGeom prst="rect">
            <a:avLst/>
          </a:prstGeom>
          <a:noFill/>
          <a:ln cap="rnd">
            <a:noFill/>
          </a:ln>
        </p:spPr>
        <p:txBody>
          <a:bodyPr wrap="square" lIns="0" tIns="0" rIns="0" bIns="0" rtlCol="0" anchor="b">
            <a:noAutofit/>
          </a:bodyPr>
          <a:lstStyle/>
          <a:p>
            <a:pPr marL="0" lvl="3"/>
            <a:r>
              <a:rPr lang="en-US">
                <a:solidFill>
                  <a:srgbClr val="171D3C"/>
                </a:solidFill>
              </a:rPr>
              <a:t>..with following potential root cause by</a:t>
            </a:r>
          </a:p>
        </p:txBody>
      </p:sp>
      <p:sp>
        <p:nvSpPr>
          <p:cNvPr id="16" name="TextBox 15">
            <a:extLst>
              <a:ext uri="{FF2B5EF4-FFF2-40B4-BE49-F238E27FC236}">
                <a16:creationId xmlns:a16="http://schemas.microsoft.com/office/drawing/2014/main" id="{F34C97FE-F02F-47E1-A6E9-899093133970}"/>
              </a:ext>
            </a:extLst>
          </p:cNvPr>
          <p:cNvSpPr txBox="1"/>
          <p:nvPr/>
        </p:nvSpPr>
        <p:spPr>
          <a:xfrm>
            <a:off x="6238445" y="4437248"/>
            <a:ext cx="4995640" cy="1384995"/>
          </a:xfrm>
          <a:prstGeom prst="rect">
            <a:avLst/>
          </a:prstGeom>
          <a:noFill/>
        </p:spPr>
        <p:txBody>
          <a:bodyPr wrap="square" lIns="91440" tIns="45720" rIns="91440" bIns="45720" rtlCol="0" anchor="t">
            <a:spAutoFit/>
          </a:bodyPr>
          <a:lstStyle/>
          <a:p>
            <a:pPr marL="323850" lvl="1" indent="-215900">
              <a:buClr>
                <a:srgbClr val="DF2A6F"/>
              </a:buClr>
              <a:buSzPct val="100000"/>
              <a:buFont typeface="Trebuchet MS" panose="020B0603020202020204" pitchFamily="34" charset="0"/>
              <a:buChar char="•"/>
            </a:pPr>
            <a:r>
              <a:rPr lang="vi-VN" sz="1400" err="1">
                <a:solidFill>
                  <a:srgbClr val="FF0000"/>
                </a:solidFill>
                <a:latin typeface="Trebuchet MS" panose="020B0603020202020204" pitchFamily="34" charset="0"/>
              </a:rPr>
              <a:t>Increase</a:t>
            </a:r>
            <a:r>
              <a:rPr lang="vi-VN" sz="1400">
                <a:solidFill>
                  <a:srgbClr val="FF0000"/>
                </a:solidFill>
                <a:latin typeface="Trebuchet MS" panose="020B0603020202020204" pitchFamily="34" charset="0"/>
              </a:rPr>
              <a:t> in </a:t>
            </a:r>
            <a:r>
              <a:rPr lang="vi-VN" sz="1400" err="1">
                <a:solidFill>
                  <a:srgbClr val="FF0000"/>
                </a:solidFill>
                <a:latin typeface="Trebuchet MS" panose="020B0603020202020204" pitchFamily="34" charset="0"/>
              </a:rPr>
              <a:t>hotel</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guests</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with</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luggages</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at</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bus</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stops</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near</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hotels</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during</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check</a:t>
            </a:r>
            <a:r>
              <a:rPr lang="vi-VN" sz="1400">
                <a:solidFill>
                  <a:srgbClr val="FF0000"/>
                </a:solidFill>
                <a:latin typeface="Trebuchet MS" panose="020B0603020202020204" pitchFamily="34" charset="0"/>
              </a:rPr>
              <a:t>-in/</a:t>
            </a:r>
            <a:r>
              <a:rPr lang="vi-VN" sz="1400" err="1">
                <a:solidFill>
                  <a:srgbClr val="FF0000"/>
                </a:solidFill>
                <a:latin typeface="Trebuchet MS" panose="020B0603020202020204" pitchFamily="34" charset="0"/>
              </a:rPr>
              <a:t>out</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time</a:t>
            </a:r>
            <a:r>
              <a:rPr lang="vi-VN" sz="1400">
                <a:solidFill>
                  <a:srgbClr val="FF0000"/>
                </a:solidFill>
                <a:latin typeface="Trebuchet MS" panose="020B0603020202020204" pitchFamily="34" charset="0"/>
              </a:rPr>
              <a:t> (to </a:t>
            </a:r>
            <a:r>
              <a:rPr lang="vi-VN" sz="1400" err="1">
                <a:solidFill>
                  <a:srgbClr val="FF0000"/>
                </a:solidFill>
                <a:latin typeface="Trebuchet MS" panose="020B0603020202020204" pitchFamily="34" charset="0"/>
              </a:rPr>
              <a:t>identify</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exact</a:t>
            </a:r>
            <a:r>
              <a:rPr lang="vi-VN" sz="1400">
                <a:solidFill>
                  <a:srgbClr val="FF0000"/>
                </a:solidFill>
                <a:latin typeface="Trebuchet MS" panose="020B0603020202020204" pitchFamily="34" charset="0"/>
              </a:rPr>
              <a:t> </a:t>
            </a:r>
            <a:r>
              <a:rPr lang="vi-VN" sz="1400" err="1">
                <a:solidFill>
                  <a:srgbClr val="FF0000"/>
                </a:solidFill>
                <a:latin typeface="Trebuchet MS" panose="020B0603020202020204" pitchFamily="34" charset="0"/>
              </a:rPr>
              <a:t>time</a:t>
            </a:r>
            <a:r>
              <a:rPr lang="vi-VN" sz="1400">
                <a:solidFill>
                  <a:srgbClr val="FF0000"/>
                </a:solidFill>
                <a:latin typeface="Trebuchet MS" panose="020B0603020202020204" pitchFamily="34" charset="0"/>
              </a:rPr>
              <a:t>)</a:t>
            </a:r>
          </a:p>
          <a:p>
            <a:pPr marL="323850" lvl="1" indent="-215900">
              <a:buClr>
                <a:srgbClr val="DF2A6F"/>
              </a:buClr>
              <a:buSzPct val="100000"/>
              <a:buFont typeface="Trebuchet MS" panose="020B0603020202020204" pitchFamily="34" charset="0"/>
              <a:buChar char="•"/>
            </a:pPr>
            <a:r>
              <a:rPr lang="vi-VN" sz="1400" err="1">
                <a:solidFill>
                  <a:srgbClr val="FF0000"/>
                </a:solidFill>
                <a:latin typeface="Trebuchet MS" panose="020B0603020202020204" pitchFamily="34" charset="0"/>
              </a:rPr>
              <a:t>Xx</a:t>
            </a:r>
            <a:endParaRPr lang="vi-VN" sz="1400">
              <a:solidFill>
                <a:srgbClr val="FF0000"/>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FF0000"/>
                </a:solidFill>
                <a:latin typeface="Trebuchet MS" panose="020B0603020202020204" pitchFamily="34" charset="0"/>
              </a:rPr>
              <a:t>Xx</a:t>
            </a:r>
            <a:endParaRPr lang="vi-VN" sz="1400">
              <a:solidFill>
                <a:srgbClr val="FF0000"/>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FF0000"/>
                </a:solidFill>
                <a:latin typeface="Trebuchet MS" panose="020B0603020202020204" pitchFamily="34" charset="0"/>
              </a:rPr>
              <a:t>Xx</a:t>
            </a:r>
            <a:endParaRPr lang="vi-VN" sz="1400">
              <a:solidFill>
                <a:srgbClr val="FF0000"/>
              </a:solidFill>
              <a:latin typeface="Trebuchet MS" panose="020B0603020202020204" pitchFamily="34" charset="0"/>
            </a:endParaRPr>
          </a:p>
          <a:p>
            <a:pPr marL="323850" lvl="1" indent="-215900">
              <a:buClr>
                <a:srgbClr val="DF2A6F"/>
              </a:buClr>
              <a:buSzPct val="100000"/>
              <a:buFont typeface="Trebuchet MS" panose="020B0603020202020204" pitchFamily="34" charset="0"/>
              <a:buChar char="•"/>
            </a:pPr>
            <a:r>
              <a:rPr lang="vi-VN" sz="1400" err="1">
                <a:solidFill>
                  <a:srgbClr val="FF0000"/>
                </a:solidFill>
                <a:latin typeface="Trebuchet MS" panose="020B0603020202020204" pitchFamily="34" charset="0"/>
              </a:rPr>
              <a:t>Xx</a:t>
            </a:r>
            <a:endParaRPr lang="en-US" sz="1400">
              <a:solidFill>
                <a:srgbClr val="FF0000"/>
              </a:solidFill>
              <a:latin typeface="Trebuchet MS" panose="020B0603020202020204" pitchFamily="34" charset="0"/>
            </a:endParaRPr>
          </a:p>
        </p:txBody>
      </p:sp>
      <p:sp>
        <p:nvSpPr>
          <p:cNvPr id="17" name="Oval 16">
            <a:extLst>
              <a:ext uri="{FF2B5EF4-FFF2-40B4-BE49-F238E27FC236}">
                <a16:creationId xmlns:a16="http://schemas.microsoft.com/office/drawing/2014/main" id="{D6A19D99-FD2D-4A02-BD8C-EB79DE5CB3E8}"/>
              </a:ext>
            </a:extLst>
          </p:cNvPr>
          <p:cNvSpPr>
            <a:spLocks noChangeAspect="1"/>
          </p:cNvSpPr>
          <p:nvPr/>
        </p:nvSpPr>
        <p:spPr>
          <a:xfrm>
            <a:off x="6238446" y="2244303"/>
            <a:ext cx="1604688" cy="1604688"/>
          </a:xfrm>
          <a:prstGeom prst="ellipse">
            <a:avLst/>
          </a:prstGeom>
          <a:solidFill>
            <a:srgbClr val="FFFFFF"/>
          </a:solidFill>
          <a:ln w="3810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vi-VN" sz="4500" b="1" kern="0">
                <a:solidFill>
                  <a:srgbClr val="171D3C"/>
                </a:solidFill>
              </a:rPr>
              <a:t>X%</a:t>
            </a:r>
            <a:endParaRPr lang="en-US" sz="1400" kern="0">
              <a:solidFill>
                <a:srgbClr val="171D3C"/>
              </a:solidFill>
            </a:endParaRPr>
          </a:p>
          <a:p>
            <a:pPr algn="ctr"/>
            <a:r>
              <a:rPr lang="en-SG" sz="1400" kern="0">
                <a:solidFill>
                  <a:srgbClr val="171D3C"/>
                </a:solidFill>
              </a:rPr>
              <a:t>hotel guests</a:t>
            </a:r>
            <a:endParaRPr lang="en-US" sz="1400" kern="0">
              <a:solidFill>
                <a:srgbClr val="171D3C"/>
              </a:solidFill>
            </a:endParaRPr>
          </a:p>
        </p:txBody>
      </p:sp>
      <p:sp>
        <p:nvSpPr>
          <p:cNvPr id="18" name="TextBox 17">
            <a:extLst>
              <a:ext uri="{FF2B5EF4-FFF2-40B4-BE49-F238E27FC236}">
                <a16:creationId xmlns:a16="http://schemas.microsoft.com/office/drawing/2014/main" id="{019024A8-1BEF-4B4D-B472-4BE8F204F39E}"/>
              </a:ext>
            </a:extLst>
          </p:cNvPr>
          <p:cNvSpPr txBox="1"/>
          <p:nvPr/>
        </p:nvSpPr>
        <p:spPr>
          <a:xfrm>
            <a:off x="8847667" y="2785036"/>
            <a:ext cx="2386417" cy="523220"/>
          </a:xfrm>
          <a:prstGeom prst="rect">
            <a:avLst/>
          </a:prstGeom>
          <a:noFill/>
        </p:spPr>
        <p:txBody>
          <a:bodyPr wrap="square" rtlCol="0" anchor="ctr">
            <a:spAutoFit/>
          </a:bodyPr>
          <a:lstStyle/>
          <a:p>
            <a:r>
              <a:rPr lang="en-SG" sz="1400"/>
              <a:t>Are impacted by the problem</a:t>
            </a:r>
            <a:endParaRPr lang="en-US" sz="1400"/>
          </a:p>
        </p:txBody>
      </p:sp>
      <p:cxnSp>
        <p:nvCxnSpPr>
          <p:cNvPr id="19" name="Straight Connector 18">
            <a:extLst>
              <a:ext uri="{FF2B5EF4-FFF2-40B4-BE49-F238E27FC236}">
                <a16:creationId xmlns:a16="http://schemas.microsoft.com/office/drawing/2014/main" id="{10596A96-FB53-4328-8EDF-9CCC725CDFDA}"/>
              </a:ext>
            </a:extLst>
          </p:cNvPr>
          <p:cNvCxnSpPr/>
          <p:nvPr/>
        </p:nvCxnSpPr>
        <p:spPr>
          <a:xfrm>
            <a:off x="8431430" y="2284613"/>
            <a:ext cx="0" cy="1524067"/>
          </a:xfrm>
          <a:prstGeom prst="line">
            <a:avLst/>
          </a:prstGeom>
          <a:ln w="9525" cap="rnd">
            <a:solidFill>
              <a:schemeClr val="tx1">
                <a:lumMod val="60000"/>
                <a:lumOff val="40000"/>
              </a:schemeClr>
            </a:solidFill>
            <a:prstDash val="dash"/>
            <a:round/>
            <a:headEnd type="diamond"/>
            <a:tailEnd type="diamon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5588E7A5-52DE-4CD0-97CD-566540589768}"/>
              </a:ext>
            </a:extLst>
          </p:cNvPr>
          <p:cNvGrpSpPr>
            <a:grpSpLocks noChangeAspect="1"/>
          </p:cNvGrpSpPr>
          <p:nvPr/>
        </p:nvGrpSpPr>
        <p:grpSpPr>
          <a:xfrm>
            <a:off x="8277975" y="2893192"/>
            <a:ext cx="306910" cy="306910"/>
            <a:chOff x="982662" y="1847850"/>
            <a:chExt cx="269875" cy="269875"/>
          </a:xfrm>
        </p:grpSpPr>
        <p:sp>
          <p:nvSpPr>
            <p:cNvPr id="24" name="Oval 50">
              <a:extLst>
                <a:ext uri="{FF2B5EF4-FFF2-40B4-BE49-F238E27FC236}">
                  <a16:creationId xmlns:a16="http://schemas.microsoft.com/office/drawing/2014/main" id="{505FAE24-11E5-496E-9AA9-05D2E91251B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5" name="Freeform 51">
              <a:extLst>
                <a:ext uri="{FF2B5EF4-FFF2-40B4-BE49-F238E27FC236}">
                  <a16:creationId xmlns:a16="http://schemas.microsoft.com/office/drawing/2014/main" id="{57C8CC55-C161-4A1F-B214-EF582F99F47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3" name="Rectangle 2">
            <a:extLst>
              <a:ext uri="{FF2B5EF4-FFF2-40B4-BE49-F238E27FC236}">
                <a16:creationId xmlns:a16="http://schemas.microsoft.com/office/drawing/2014/main" id="{CE3EB5D0-9162-483B-A943-516EA90AB6BC}"/>
              </a:ext>
            </a:extLst>
          </p:cNvPr>
          <p:cNvSpPr/>
          <p:nvPr/>
        </p:nvSpPr>
        <p:spPr>
          <a:xfrm>
            <a:off x="10715946" y="180653"/>
            <a:ext cx="1265432" cy="112844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Eve - Customer</a:t>
            </a:r>
          </a:p>
        </p:txBody>
      </p:sp>
    </p:spTree>
    <p:custDataLst>
      <p:tags r:id="rId2"/>
    </p:custDataLst>
    <p:extLst>
      <p:ext uri="{BB962C8B-B14F-4D97-AF65-F5344CB8AC3E}">
        <p14:creationId xmlns:p14="http://schemas.microsoft.com/office/powerpoint/2010/main" val="2555850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060F76C-B373-4927-99B2-142375D349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2" name="think-cell Slide" r:id="rId4" imgW="351" imgH="351" progId="TCLayout.ActiveDocument.1">
                  <p:embed/>
                </p:oleObj>
              </mc:Choice>
              <mc:Fallback>
                <p:oleObj name="think-cell Slide" r:id="rId4" imgW="351" imgH="351" progId="TCLayout.ActiveDocument.1">
                  <p:embed/>
                  <p:pic>
                    <p:nvPicPr>
                      <p:cNvPr id="28" name="Object 27" hidden="1">
                        <a:extLst>
                          <a:ext uri="{FF2B5EF4-FFF2-40B4-BE49-F238E27FC236}">
                            <a16:creationId xmlns:a16="http://schemas.microsoft.com/office/drawing/2014/main" id="{7060F76C-B373-4927-99B2-142375D349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D7658774-7C5D-470E-9611-D078B29F1C08}"/>
              </a:ext>
            </a:extLst>
          </p:cNvPr>
          <p:cNvSpPr txBox="1">
            <a:spLocks/>
          </p:cNvSpPr>
          <p:nvPr/>
        </p:nvSpPr>
        <p:spPr>
          <a:xfrm>
            <a:off x="599921" y="310402"/>
            <a:ext cx="6388868"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solidFill>
                <a:latin typeface="+mj-lt"/>
                <a:ea typeface="+mj-ea"/>
                <a:cs typeface="+mj-cs"/>
                <a:sym typeface="Trebuchet MS" panose="020B0603020202020204" pitchFamily="34" charset="0"/>
              </a:defRPr>
            </a:lvl1pPr>
          </a:lstStyle>
          <a:p>
            <a:r>
              <a:rPr lang="en-US" sz="2800">
                <a:solidFill>
                  <a:srgbClr val="171D3C"/>
                </a:solidFill>
                <a:latin typeface="Trebuchet MS" panose="020B0603020202020204" pitchFamily="34" charset="0"/>
              </a:rPr>
              <a:t>Based on our analysis,</a:t>
            </a:r>
            <a:br>
              <a:rPr lang="en-US" sz="2800">
                <a:solidFill>
                  <a:srgbClr val="171D3C"/>
                </a:solidFill>
                <a:latin typeface="Trebuchet MS" panose="020B0603020202020204" pitchFamily="34" charset="0"/>
              </a:rPr>
            </a:br>
            <a:r>
              <a:rPr lang="en-US" sz="2800">
                <a:solidFill>
                  <a:srgbClr val="171D3C"/>
                </a:solidFill>
                <a:latin typeface="Trebuchet MS" panose="020B0603020202020204" pitchFamily="34" charset="0"/>
              </a:rPr>
              <a:t>we propose..</a:t>
            </a:r>
          </a:p>
        </p:txBody>
      </p:sp>
      <p:sp>
        <p:nvSpPr>
          <p:cNvPr id="4" name="TextBox 3">
            <a:extLst>
              <a:ext uri="{FF2B5EF4-FFF2-40B4-BE49-F238E27FC236}">
                <a16:creationId xmlns:a16="http://schemas.microsoft.com/office/drawing/2014/main" id="{C3F6C5B1-254F-4FE6-BDCC-5FB9103008E3}"/>
              </a:ext>
            </a:extLst>
          </p:cNvPr>
          <p:cNvSpPr txBox="1"/>
          <p:nvPr/>
        </p:nvSpPr>
        <p:spPr>
          <a:xfrm>
            <a:off x="1435568" y="1718560"/>
            <a:ext cx="5175516" cy="26741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rgbClr val="DF2A6F"/>
              </a:buClr>
              <a:buSzPct val="100000"/>
              <a:buFont typeface="Trebuchet MS" panose="020B0603020202020204" pitchFamily="34" charset="0"/>
              <a:buChar char="​"/>
            </a:pPr>
            <a:endParaRPr lang="en-US" sz="1200">
              <a:solidFill>
                <a:srgbClr val="575757"/>
              </a:solidFill>
              <a:latin typeface="Trebuchet MS"/>
            </a:endParaRPr>
          </a:p>
          <a:p>
            <a:pPr marL="323850" lvl="1" indent="-215900">
              <a:buClr>
                <a:schemeClr val="tx2"/>
              </a:buClr>
              <a:buSzPct val="100000"/>
              <a:buFont typeface="Trebuchet MS" panose="020B0603020202020204" pitchFamily="34" charset="0"/>
              <a:buChar char="•"/>
            </a:pPr>
            <a:r>
              <a:rPr lang="en-US" sz="1200">
                <a:solidFill>
                  <a:schemeClr val="tx1"/>
                </a:solidFill>
                <a:latin typeface="Trebuchet MS"/>
              </a:rPr>
              <a:t>How does it work?</a:t>
            </a:r>
          </a:p>
          <a:p>
            <a:pPr marL="457200">
              <a:buClr>
                <a:schemeClr val="tx2"/>
              </a:buClr>
              <a:buSzPct val="100000"/>
              <a:buFont typeface="Arial" panose="020B0603020202020204" pitchFamily="34" charset="0"/>
              <a:buChar char="•"/>
            </a:pPr>
            <a:r>
              <a:rPr lang="en-US" sz="1200">
                <a:ea typeface="+mn-lt"/>
                <a:cs typeface="+mn-lt"/>
              </a:rPr>
              <a:t>•</a:t>
            </a:r>
            <a:r>
              <a:rPr lang="en-US" sz="1200">
                <a:solidFill>
                  <a:srgbClr val="FF0000"/>
                </a:solidFill>
                <a:ea typeface="+mn-lt"/>
                <a:cs typeface="+mn-lt"/>
              </a:rPr>
              <a:t>Predictive Model using historical data to know the highest volume of customers taking the shuttle bus </a:t>
            </a:r>
          </a:p>
          <a:p>
            <a:pPr marL="457200">
              <a:buClr>
                <a:schemeClr val="tx2"/>
              </a:buClr>
              <a:buSzPct val="100000"/>
            </a:pPr>
            <a:r>
              <a:rPr lang="en-US" sz="1200">
                <a:solidFill>
                  <a:srgbClr val="FF0000"/>
                </a:solidFill>
                <a:ea typeface="+mn-lt"/>
                <a:cs typeface="+mn-lt"/>
              </a:rPr>
              <a:t>Each day per week and the time of the day.</a:t>
            </a:r>
            <a:endParaRPr lang="en-US" sz="1200">
              <a:solidFill>
                <a:srgbClr val="FF0000"/>
              </a:solidFill>
              <a:latin typeface="Trebuchet MS"/>
            </a:endParaRPr>
          </a:p>
          <a:p>
            <a:pPr>
              <a:buClr>
                <a:schemeClr val="tx2"/>
              </a:buClr>
              <a:buSzPct val="100000"/>
              <a:buFont typeface="Arial" panose="020B0603020202020204" pitchFamily="34" charset="0"/>
              <a:buChar char="•"/>
            </a:pPr>
            <a:endParaRPr lang="en-US" sz="1200">
              <a:solidFill>
                <a:srgbClr val="FF0000"/>
              </a:solidFill>
              <a:ea typeface="+mn-lt"/>
              <a:cs typeface="+mn-lt"/>
            </a:endParaRPr>
          </a:p>
          <a:p>
            <a:pPr lvl="1">
              <a:buClr>
                <a:schemeClr val="tx2"/>
              </a:buClr>
              <a:buSzPct val="100000"/>
              <a:buFont typeface="Arial" panose="020B0603020202020204" pitchFamily="34" charset="0"/>
              <a:buChar char="•"/>
            </a:pPr>
            <a:r>
              <a:rPr lang="en-US" sz="1200">
                <a:solidFill>
                  <a:srgbClr val="FF0000"/>
                </a:solidFill>
                <a:ea typeface="+mn-lt"/>
                <a:cs typeface="+mn-lt"/>
              </a:rPr>
              <a:t>•Reading 4-day weather forecast from weather.gov.sg to adjust the bus frequency every Monday/Friday</a:t>
            </a:r>
            <a:endParaRPr lang="en-US">
              <a:solidFill>
                <a:srgbClr val="FF0000"/>
              </a:solidFill>
            </a:endParaRPr>
          </a:p>
          <a:p>
            <a:pPr lvl="1">
              <a:buClr>
                <a:schemeClr val="tx2"/>
              </a:buClr>
              <a:buSzPct val="100000"/>
              <a:buFont typeface="Arial" panose="020B0603020202020204" pitchFamily="34" charset="0"/>
              <a:buChar char="•"/>
            </a:pPr>
            <a:endParaRPr lang="en-US" sz="1200">
              <a:solidFill>
                <a:srgbClr val="FF0000"/>
              </a:solidFill>
              <a:latin typeface="Trebuchet MS"/>
            </a:endParaRPr>
          </a:p>
          <a:p>
            <a:pPr marL="323850" lvl="1" indent="-215900">
              <a:buClr>
                <a:schemeClr val="tx2"/>
              </a:buClr>
              <a:buSzPct val="100000"/>
              <a:buFont typeface="Trebuchet MS" panose="020B0603020202020204" pitchFamily="34" charset="0"/>
              <a:buChar char="•"/>
            </a:pPr>
            <a:r>
              <a:rPr lang="en-US" sz="1200">
                <a:solidFill>
                  <a:schemeClr val="tx1"/>
                </a:solidFill>
                <a:latin typeface="Trebuchet MS"/>
              </a:rPr>
              <a:t>How is it different compared to the existing stop gaps?</a:t>
            </a:r>
          </a:p>
          <a:p>
            <a:pPr marL="781050" lvl="2" indent="-215900">
              <a:buClr>
                <a:schemeClr val="tx2"/>
              </a:buClr>
              <a:buSzPct val="100000"/>
              <a:buFont typeface="Trebuchet MS" panose="020B0603020202020204" pitchFamily="34" charset="0"/>
              <a:buChar char="•"/>
            </a:pPr>
            <a:r>
              <a:rPr lang="en-US" sz="1200">
                <a:solidFill>
                  <a:srgbClr val="FF0000"/>
                </a:solidFill>
                <a:latin typeface="Trebuchet MS"/>
              </a:rPr>
              <a:t>Currently using radios is dispatch drivers manually when crowded but with this system.</a:t>
            </a:r>
            <a:endParaRPr lang="en-US">
              <a:solidFill>
                <a:srgbClr val="FFFFFF"/>
              </a:solidFill>
              <a:latin typeface="Trebuchet MS"/>
            </a:endParaRPr>
          </a:p>
          <a:p>
            <a:pPr marL="781050" lvl="2" indent="-215900">
              <a:buClr>
                <a:schemeClr val="tx2"/>
              </a:buClr>
              <a:buSzPct val="100000"/>
              <a:buFont typeface="Trebuchet MS" panose="020B0603020202020204" pitchFamily="34" charset="0"/>
              <a:buChar char="•"/>
            </a:pPr>
            <a:endParaRPr lang="en-US" sz="1200">
              <a:solidFill>
                <a:srgbClr val="FF0000"/>
              </a:solidFill>
              <a:latin typeface="Trebuchet MS"/>
            </a:endParaRPr>
          </a:p>
          <a:p>
            <a:pPr marL="781050" lvl="2" indent="-215900">
              <a:buClr>
                <a:schemeClr val="tx2"/>
              </a:buClr>
              <a:buSzPct val="100000"/>
              <a:buFont typeface="Trebuchet MS" panose="020B0603020202020204" pitchFamily="34" charset="0"/>
              <a:buChar char="•"/>
            </a:pPr>
            <a:r>
              <a:rPr lang="en-US" sz="1200">
                <a:solidFill>
                  <a:srgbClr val="FF0000"/>
                </a:solidFill>
                <a:latin typeface="Trebuchet MS"/>
              </a:rPr>
              <a:t>We will automatically print a predicted schedule for deploying bus drivers per week.</a:t>
            </a:r>
            <a:endParaRPr lang="en-US"/>
          </a:p>
        </p:txBody>
      </p:sp>
      <p:sp>
        <p:nvSpPr>
          <p:cNvPr id="6" name="Oval 5">
            <a:extLst>
              <a:ext uri="{FF2B5EF4-FFF2-40B4-BE49-F238E27FC236}">
                <a16:creationId xmlns:a16="http://schemas.microsoft.com/office/drawing/2014/main" id="{C19CDE0B-BC03-436C-B994-4E622170A517}"/>
              </a:ext>
            </a:extLst>
          </p:cNvPr>
          <p:cNvSpPr/>
          <p:nvPr/>
        </p:nvSpPr>
        <p:spPr>
          <a:xfrm>
            <a:off x="630000" y="1739597"/>
            <a:ext cx="898448" cy="898448"/>
          </a:xfrm>
          <a:prstGeom prst="ellipse">
            <a:avLst/>
          </a:prstGeom>
          <a:solidFill>
            <a:srgbClr val="FFFFFF"/>
          </a:solidFill>
          <a:ln w="31750" cap="rnd" cmpd="sng" algn="ctr">
            <a:solidFill>
              <a:srgbClr val="171D3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171D3C"/>
              </a:solidFill>
            </a:endParaRPr>
          </a:p>
        </p:txBody>
      </p:sp>
      <p:sp>
        <p:nvSpPr>
          <p:cNvPr id="7" name="TextBox 6">
            <a:extLst>
              <a:ext uri="{FF2B5EF4-FFF2-40B4-BE49-F238E27FC236}">
                <a16:creationId xmlns:a16="http://schemas.microsoft.com/office/drawing/2014/main" id="{E61FCFC1-D89A-45B3-AC51-C90F2B6D8A09}"/>
              </a:ext>
            </a:extLst>
          </p:cNvPr>
          <p:cNvSpPr txBox="1"/>
          <p:nvPr/>
        </p:nvSpPr>
        <p:spPr>
          <a:xfrm>
            <a:off x="1696252" y="4875067"/>
            <a:ext cx="5175516" cy="21026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rgbClr val="DF2A6F"/>
              </a:buClr>
              <a:buSzPct val="100000"/>
              <a:buFont typeface="Trebuchet MS" panose="020B0603020202020204" pitchFamily="34" charset="0"/>
              <a:buChar char="​"/>
            </a:pPr>
            <a:r>
              <a:rPr lang="en-US" sz="1200">
                <a:solidFill>
                  <a:srgbClr val="575757"/>
                </a:solidFill>
                <a:latin typeface="Trebuchet MS" panose="020B0603020202020204" pitchFamily="34" charset="0"/>
              </a:rPr>
              <a:t>Layout key assumptions made while building the solution/recommendation</a:t>
            </a:r>
          </a:p>
          <a:p>
            <a:pPr>
              <a:buClr>
                <a:srgbClr val="DF2A6F"/>
              </a:buClr>
              <a:buSzPct val="100000"/>
              <a:buFont typeface="Trebuchet MS" panose="020B0603020202020204" pitchFamily="34" charset="0"/>
              <a:buChar char="​"/>
            </a:pPr>
            <a:endParaRPr lang="en-US" sz="1200">
              <a:solidFill>
                <a:srgbClr val="FF0000"/>
              </a:solidFill>
              <a:latin typeface="Trebuchet MS"/>
            </a:endParaRPr>
          </a:p>
          <a:p>
            <a:pPr>
              <a:buClr>
                <a:srgbClr val="DF2A6F"/>
              </a:buClr>
              <a:buSzPct val="100000"/>
              <a:buFont typeface="Trebuchet MS" panose="020B0603020202020204" pitchFamily="34" charset="0"/>
              <a:buChar char="​"/>
            </a:pPr>
            <a:r>
              <a:rPr lang="en-US" sz="1200">
                <a:solidFill>
                  <a:srgbClr val="FF0000"/>
                </a:solidFill>
                <a:latin typeface="Trebuchet MS"/>
              </a:rPr>
              <a:t>The frequency of passengers taking the bus shutter service remains the same every week unless there is a public holiday.</a:t>
            </a:r>
          </a:p>
          <a:p>
            <a:pPr>
              <a:buClr>
                <a:srgbClr val="DF2A6F"/>
              </a:buClr>
              <a:buSzPct val="100000"/>
              <a:buFont typeface="Trebuchet MS" panose="020B0603020202020204" pitchFamily="34" charset="0"/>
              <a:buChar char="​"/>
            </a:pPr>
            <a:endParaRPr lang="en-US" sz="1200">
              <a:solidFill>
                <a:srgbClr val="FF0000"/>
              </a:solidFill>
              <a:latin typeface="Trebuchet MS"/>
            </a:endParaRPr>
          </a:p>
          <a:p>
            <a:pPr>
              <a:buClr>
                <a:srgbClr val="DF2A6F"/>
              </a:buClr>
              <a:buSzPct val="100000"/>
              <a:buFont typeface="Trebuchet MS" panose="020B0603020202020204" pitchFamily="34" charset="0"/>
              <a:buChar char="​"/>
            </a:pPr>
            <a:r>
              <a:rPr lang="en-US" sz="1200">
                <a:solidFill>
                  <a:srgbClr val="FF0000"/>
                </a:solidFill>
                <a:latin typeface="Trebuchet MS"/>
              </a:rPr>
              <a:t>There are no traffic accidents which will disrupt the bus routes</a:t>
            </a:r>
          </a:p>
          <a:p>
            <a:pPr>
              <a:buClr>
                <a:srgbClr val="DF2A6F"/>
              </a:buClr>
              <a:buSzPct val="100000"/>
              <a:buFont typeface="Trebuchet MS" panose="020B0603020202020204" pitchFamily="34" charset="0"/>
              <a:buChar char="​"/>
            </a:pPr>
            <a:endParaRPr lang="en-US" sz="1200">
              <a:solidFill>
                <a:srgbClr val="FF0000"/>
              </a:solidFill>
              <a:latin typeface="Trebuchet MS"/>
            </a:endParaRPr>
          </a:p>
          <a:p>
            <a:pPr>
              <a:buClr>
                <a:srgbClr val="DF2A6F"/>
              </a:buClr>
              <a:buSzPct val="100000"/>
              <a:buFont typeface="Trebuchet MS" panose="020B0603020202020204" pitchFamily="34" charset="0"/>
              <a:buChar char="​"/>
            </a:pPr>
            <a:r>
              <a:rPr lang="en-US" sz="1200">
                <a:solidFill>
                  <a:srgbClr val="FF0000"/>
                </a:solidFill>
                <a:latin typeface="Trebuchet MS"/>
              </a:rPr>
              <a:t>Predicted Weather forecast is accurate and do not change on the actual day.</a:t>
            </a:r>
          </a:p>
          <a:p>
            <a:pPr>
              <a:buClr>
                <a:srgbClr val="DF2A6F"/>
              </a:buClr>
              <a:buSzPct val="100000"/>
              <a:buFont typeface="Trebuchet MS" panose="020B0603020202020204" pitchFamily="34" charset="0"/>
              <a:buChar char="​"/>
            </a:pPr>
            <a:endParaRPr lang="en-US" sz="1200">
              <a:solidFill>
                <a:srgbClr val="575757"/>
              </a:solidFill>
              <a:latin typeface="Trebuchet MS"/>
            </a:endParaRPr>
          </a:p>
        </p:txBody>
      </p:sp>
      <p:sp>
        <p:nvSpPr>
          <p:cNvPr id="9" name="Oval 8">
            <a:extLst>
              <a:ext uri="{FF2B5EF4-FFF2-40B4-BE49-F238E27FC236}">
                <a16:creationId xmlns:a16="http://schemas.microsoft.com/office/drawing/2014/main" id="{266A93B1-3355-4627-BD3B-DFC8B5544E1F}"/>
              </a:ext>
            </a:extLst>
          </p:cNvPr>
          <p:cNvSpPr/>
          <p:nvPr/>
        </p:nvSpPr>
        <p:spPr>
          <a:xfrm>
            <a:off x="630000" y="4184236"/>
            <a:ext cx="898448" cy="898448"/>
          </a:xfrm>
          <a:prstGeom prst="ellipse">
            <a:avLst/>
          </a:prstGeom>
          <a:solidFill>
            <a:srgbClr val="FFFFFF"/>
          </a:solidFill>
          <a:ln w="31750" cap="rnd" cmpd="sng" algn="ctr">
            <a:solidFill>
              <a:srgbClr val="171D3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171D3C"/>
              </a:solidFill>
            </a:endParaRPr>
          </a:p>
        </p:txBody>
      </p:sp>
      <p:sp>
        <p:nvSpPr>
          <p:cNvPr id="11" name="TextBox 10">
            <a:extLst>
              <a:ext uri="{FF2B5EF4-FFF2-40B4-BE49-F238E27FC236}">
                <a16:creationId xmlns:a16="http://schemas.microsoft.com/office/drawing/2014/main" id="{9D81B7B5-01CB-4BA5-9D1A-C59984AF4BF4}"/>
              </a:ext>
            </a:extLst>
          </p:cNvPr>
          <p:cNvSpPr txBox="1"/>
          <p:nvPr/>
        </p:nvSpPr>
        <p:spPr>
          <a:xfrm>
            <a:off x="1692485" y="1309736"/>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rgbClr val="171D3C"/>
                </a:solidFill>
              </a:rPr>
              <a:t>Recommendations/Solution </a:t>
            </a:r>
            <a:endParaRPr lang="en-US"/>
          </a:p>
          <a:p>
            <a:r>
              <a:rPr lang="en-US" sz="1600">
                <a:solidFill>
                  <a:srgbClr val="FF0000"/>
                </a:solidFill>
              </a:rPr>
              <a:t>Automatic Bus Deployment Schedule System</a:t>
            </a:r>
            <a:endParaRPr lang="en-US">
              <a:solidFill>
                <a:srgbClr val="FFFFFF"/>
              </a:solidFill>
            </a:endParaRPr>
          </a:p>
        </p:txBody>
      </p:sp>
      <p:sp>
        <p:nvSpPr>
          <p:cNvPr id="12" name="TextBox 11">
            <a:extLst>
              <a:ext uri="{FF2B5EF4-FFF2-40B4-BE49-F238E27FC236}">
                <a16:creationId xmlns:a16="http://schemas.microsoft.com/office/drawing/2014/main" id="{325314B2-7B51-4562-8DBD-8B937B7D6B5C}"/>
              </a:ext>
            </a:extLst>
          </p:cNvPr>
          <p:cNvSpPr txBox="1"/>
          <p:nvPr/>
        </p:nvSpPr>
        <p:spPr>
          <a:xfrm>
            <a:off x="1622301" y="4466243"/>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rgbClr val="171D3C"/>
                </a:solidFill>
              </a:rPr>
              <a:t>Key assumptions</a:t>
            </a:r>
          </a:p>
        </p:txBody>
      </p:sp>
      <p:sp>
        <p:nvSpPr>
          <p:cNvPr id="22" name="Oval 21">
            <a:extLst>
              <a:ext uri="{FF2B5EF4-FFF2-40B4-BE49-F238E27FC236}">
                <a16:creationId xmlns:a16="http://schemas.microsoft.com/office/drawing/2014/main" id="{3AA98577-8E5E-4780-8338-E8987ED34E88}"/>
              </a:ext>
            </a:extLst>
          </p:cNvPr>
          <p:cNvSpPr>
            <a:spLocks noChangeAspect="1"/>
          </p:cNvSpPr>
          <p:nvPr/>
        </p:nvSpPr>
        <p:spPr>
          <a:xfrm>
            <a:off x="8063862" y="622800"/>
            <a:ext cx="1604688" cy="1604688"/>
          </a:xfrm>
          <a:prstGeom prst="ellipse">
            <a:avLst/>
          </a:prstGeom>
          <a:solidFill>
            <a:srgbClr val="FFFFFF"/>
          </a:solidFill>
          <a:ln w="5715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500" b="1" kern="0">
                <a:solidFill>
                  <a:srgbClr val="171D3C"/>
                </a:solidFill>
              </a:rPr>
              <a:t>Y</a:t>
            </a:r>
            <a:r>
              <a:rPr lang="vi-VN" sz="4500" b="1" kern="0">
                <a:solidFill>
                  <a:srgbClr val="171D3C"/>
                </a:solidFill>
              </a:rPr>
              <a:t> M</a:t>
            </a:r>
            <a:br>
              <a:rPr lang="en-US" sz="1200" kern="0">
                <a:solidFill>
                  <a:srgbClr val="171D3C"/>
                </a:solidFill>
              </a:rPr>
            </a:br>
            <a:r>
              <a:rPr lang="en-US" sz="1400" kern="0">
                <a:solidFill>
                  <a:srgbClr val="171D3C"/>
                </a:solidFill>
              </a:rPr>
              <a:t>Citizens</a:t>
            </a:r>
          </a:p>
        </p:txBody>
      </p:sp>
      <p:sp>
        <p:nvSpPr>
          <p:cNvPr id="23" name="Oval 22">
            <a:extLst>
              <a:ext uri="{FF2B5EF4-FFF2-40B4-BE49-F238E27FC236}">
                <a16:creationId xmlns:a16="http://schemas.microsoft.com/office/drawing/2014/main" id="{7D3DBEBA-01F1-4A7A-915D-443493822314}"/>
              </a:ext>
            </a:extLst>
          </p:cNvPr>
          <p:cNvSpPr>
            <a:spLocks noChangeAspect="1"/>
          </p:cNvSpPr>
          <p:nvPr/>
        </p:nvSpPr>
        <p:spPr>
          <a:xfrm>
            <a:off x="8063862" y="2730687"/>
            <a:ext cx="1604688" cy="1604688"/>
          </a:xfrm>
          <a:prstGeom prst="ellipse">
            <a:avLst/>
          </a:prstGeom>
          <a:solidFill>
            <a:srgbClr val="FFFFFF"/>
          </a:solidFill>
          <a:ln w="5715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500" b="1" kern="0">
                <a:solidFill>
                  <a:srgbClr val="171D3C"/>
                </a:solidFill>
              </a:rPr>
              <a:t>5%</a:t>
            </a:r>
          </a:p>
          <a:p>
            <a:pPr algn="ctr"/>
            <a:r>
              <a:rPr lang="en-US" sz="1400" kern="0">
                <a:solidFill>
                  <a:srgbClr val="171D3C"/>
                </a:solidFill>
              </a:rPr>
              <a:t>Per citizen</a:t>
            </a:r>
          </a:p>
        </p:txBody>
      </p:sp>
      <p:sp>
        <p:nvSpPr>
          <p:cNvPr id="24" name="Oval 23">
            <a:extLst>
              <a:ext uri="{FF2B5EF4-FFF2-40B4-BE49-F238E27FC236}">
                <a16:creationId xmlns:a16="http://schemas.microsoft.com/office/drawing/2014/main" id="{5D0552C0-D64E-4804-A073-B5CD8A67D81A}"/>
              </a:ext>
            </a:extLst>
          </p:cNvPr>
          <p:cNvSpPr>
            <a:spLocks noChangeAspect="1"/>
          </p:cNvSpPr>
          <p:nvPr/>
        </p:nvSpPr>
        <p:spPr>
          <a:xfrm>
            <a:off x="8063862" y="4838575"/>
            <a:ext cx="1604688" cy="1604688"/>
          </a:xfrm>
          <a:prstGeom prst="ellipse">
            <a:avLst/>
          </a:prstGeom>
          <a:solidFill>
            <a:srgbClr val="FFFFFF"/>
          </a:solidFill>
          <a:ln w="5715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500" b="1" kern="0">
                <a:solidFill>
                  <a:srgbClr val="171D3C"/>
                </a:solidFill>
              </a:rPr>
              <a:t>4</a:t>
            </a:r>
            <a:br>
              <a:rPr lang="en-US" sz="1200" kern="0">
                <a:solidFill>
                  <a:srgbClr val="171D3C"/>
                </a:solidFill>
              </a:rPr>
            </a:br>
            <a:r>
              <a:rPr lang="en-US" sz="1400" kern="0">
                <a:solidFill>
                  <a:srgbClr val="171D3C"/>
                </a:solidFill>
              </a:rPr>
              <a:t>Years</a:t>
            </a:r>
          </a:p>
        </p:txBody>
      </p:sp>
      <p:sp>
        <p:nvSpPr>
          <p:cNvPr id="25" name="TextBox 24">
            <a:extLst>
              <a:ext uri="{FF2B5EF4-FFF2-40B4-BE49-F238E27FC236}">
                <a16:creationId xmlns:a16="http://schemas.microsoft.com/office/drawing/2014/main" id="{EFDD1347-DA96-49CB-9D94-5300B88A9AC4}"/>
              </a:ext>
            </a:extLst>
          </p:cNvPr>
          <p:cNvSpPr txBox="1"/>
          <p:nvPr/>
        </p:nvSpPr>
        <p:spPr>
          <a:xfrm>
            <a:off x="9863145" y="1271256"/>
            <a:ext cx="1676336" cy="307777"/>
          </a:xfrm>
          <a:prstGeom prst="rect">
            <a:avLst/>
          </a:prstGeom>
          <a:noFill/>
        </p:spPr>
        <p:txBody>
          <a:bodyPr wrap="square" rtlCol="0" anchor="ctr">
            <a:spAutoFit/>
          </a:bodyPr>
          <a:lstStyle/>
          <a:p>
            <a:r>
              <a:rPr lang="en-US" sz="1400"/>
              <a:t>Could benefit..</a:t>
            </a:r>
          </a:p>
        </p:txBody>
      </p:sp>
      <p:sp>
        <p:nvSpPr>
          <p:cNvPr id="26" name="TextBox 25">
            <a:extLst>
              <a:ext uri="{FF2B5EF4-FFF2-40B4-BE49-F238E27FC236}">
                <a16:creationId xmlns:a16="http://schemas.microsoft.com/office/drawing/2014/main" id="{8DA87BE8-BA79-42A1-A419-085093B4AA97}"/>
              </a:ext>
            </a:extLst>
          </p:cNvPr>
          <p:cNvSpPr txBox="1"/>
          <p:nvPr/>
        </p:nvSpPr>
        <p:spPr>
          <a:xfrm>
            <a:off x="9863145" y="3271421"/>
            <a:ext cx="1676336" cy="523220"/>
          </a:xfrm>
          <a:prstGeom prst="rect">
            <a:avLst/>
          </a:prstGeom>
          <a:noFill/>
        </p:spPr>
        <p:txBody>
          <a:bodyPr wrap="square" rtlCol="0" anchor="ctr">
            <a:spAutoFit/>
          </a:bodyPr>
          <a:lstStyle/>
          <a:p>
            <a:r>
              <a:rPr lang="en-US" sz="1400"/>
              <a:t>By &lt;incremental benefit&gt; per year</a:t>
            </a:r>
          </a:p>
        </p:txBody>
      </p:sp>
      <p:sp>
        <p:nvSpPr>
          <p:cNvPr id="27" name="TextBox 26">
            <a:extLst>
              <a:ext uri="{FF2B5EF4-FFF2-40B4-BE49-F238E27FC236}">
                <a16:creationId xmlns:a16="http://schemas.microsoft.com/office/drawing/2014/main" id="{4E80A7CA-6CF1-4316-89AE-ECA93D64903C}"/>
              </a:ext>
            </a:extLst>
          </p:cNvPr>
          <p:cNvSpPr txBox="1"/>
          <p:nvPr/>
        </p:nvSpPr>
        <p:spPr>
          <a:xfrm>
            <a:off x="9863145" y="5379309"/>
            <a:ext cx="1676336" cy="523220"/>
          </a:xfrm>
          <a:prstGeom prst="rect">
            <a:avLst/>
          </a:prstGeom>
          <a:noFill/>
        </p:spPr>
        <p:txBody>
          <a:bodyPr wrap="square" rtlCol="0" anchor="ctr">
            <a:spAutoFit/>
          </a:bodyPr>
          <a:lstStyle/>
          <a:p>
            <a:r>
              <a:rPr lang="en-US" sz="1400"/>
              <a:t>Over the next 4 years..</a:t>
            </a:r>
          </a:p>
        </p:txBody>
      </p:sp>
      <p:grpSp>
        <p:nvGrpSpPr>
          <p:cNvPr id="29" name="Group 28">
            <a:extLst>
              <a:ext uri="{FF2B5EF4-FFF2-40B4-BE49-F238E27FC236}">
                <a16:creationId xmlns:a16="http://schemas.microsoft.com/office/drawing/2014/main" id="{CD4A0C46-304C-4267-88B8-C4CD5B48E36C}"/>
              </a:ext>
            </a:extLst>
          </p:cNvPr>
          <p:cNvGrpSpPr>
            <a:grpSpLocks noChangeAspect="1"/>
          </p:cNvGrpSpPr>
          <p:nvPr/>
        </p:nvGrpSpPr>
        <p:grpSpPr>
          <a:xfrm>
            <a:off x="716946" y="1826893"/>
            <a:ext cx="723856" cy="723856"/>
            <a:chOff x="5273675" y="2606675"/>
            <a:chExt cx="1644650" cy="1644650"/>
          </a:xfrm>
        </p:grpSpPr>
        <p:sp>
          <p:nvSpPr>
            <p:cNvPr id="30" name="AutoShape 9">
              <a:extLst>
                <a:ext uri="{FF2B5EF4-FFF2-40B4-BE49-F238E27FC236}">
                  <a16:creationId xmlns:a16="http://schemas.microsoft.com/office/drawing/2014/main" id="{17B45CF7-C495-48AE-AC02-DFE44D9AA20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DF9A2808-690B-45E5-8804-D631721C40D0}"/>
                </a:ext>
              </a:extLst>
            </p:cNvPr>
            <p:cNvGrpSpPr/>
            <p:nvPr/>
          </p:nvGrpSpPr>
          <p:grpSpPr>
            <a:xfrm>
              <a:off x="5399088" y="3084513"/>
              <a:ext cx="1422880" cy="688975"/>
              <a:chOff x="5399088" y="3084513"/>
              <a:chExt cx="1422880" cy="688975"/>
            </a:xfrm>
          </p:grpSpPr>
          <p:sp>
            <p:nvSpPr>
              <p:cNvPr id="32" name="Freeform 10">
                <a:extLst>
                  <a:ext uri="{FF2B5EF4-FFF2-40B4-BE49-F238E27FC236}">
                    <a16:creationId xmlns:a16="http://schemas.microsoft.com/office/drawing/2014/main" id="{FEF8ABD8-34DC-46E1-B676-FDF6250A6CFA}"/>
                  </a:ext>
                </a:extLst>
              </p:cNvPr>
              <p:cNvSpPr>
                <a:spLocks/>
              </p:cNvSpPr>
              <p:nvPr/>
            </p:nvSpPr>
            <p:spPr bwMode="auto">
              <a:xfrm>
                <a:off x="5399088" y="3084513"/>
                <a:ext cx="1422880" cy="688975"/>
              </a:xfrm>
              <a:custGeom>
                <a:avLst/>
                <a:gdLst>
                  <a:gd name="connsiteX0" fmla="*/ 305195 w 1422880"/>
                  <a:gd name="connsiteY0" fmla="*/ 31750 h 688975"/>
                  <a:gd name="connsiteX1" fmla="*/ 31750 w 1422880"/>
                  <a:gd name="connsiteY1" fmla="*/ 344488 h 688975"/>
                  <a:gd name="connsiteX2" fmla="*/ 305195 w 1422880"/>
                  <a:gd name="connsiteY2" fmla="*/ 657225 h 688975"/>
                  <a:gd name="connsiteX3" fmla="*/ 567930 w 1422880"/>
                  <a:gd name="connsiteY3" fmla="*/ 434248 h 688975"/>
                  <a:gd name="connsiteX4" fmla="*/ 1302590 w 1422880"/>
                  <a:gd name="connsiteY4" fmla="*/ 434248 h 688975"/>
                  <a:gd name="connsiteX5" fmla="*/ 1381125 w 1422880"/>
                  <a:gd name="connsiteY5" fmla="*/ 358023 h 688975"/>
                  <a:gd name="connsiteX6" fmla="*/ 1240476 w 1422880"/>
                  <a:gd name="connsiteY6" fmla="*/ 266125 h 688975"/>
                  <a:gd name="connsiteX7" fmla="*/ 1158371 w 1422880"/>
                  <a:gd name="connsiteY7" fmla="*/ 317417 h 688975"/>
                  <a:gd name="connsiteX8" fmla="*/ 1033429 w 1422880"/>
                  <a:gd name="connsiteY8" fmla="*/ 317417 h 688975"/>
                  <a:gd name="connsiteX9" fmla="*/ 1004871 w 1422880"/>
                  <a:gd name="connsiteY9" fmla="*/ 274674 h 688975"/>
                  <a:gd name="connsiteX10" fmla="*/ 919910 w 1422880"/>
                  <a:gd name="connsiteY10" fmla="*/ 274674 h 688975"/>
                  <a:gd name="connsiteX11" fmla="*/ 868506 w 1422880"/>
                  <a:gd name="connsiteY11" fmla="*/ 311718 h 688975"/>
                  <a:gd name="connsiteX12" fmla="*/ 767838 w 1422880"/>
                  <a:gd name="connsiteY12" fmla="*/ 311718 h 688975"/>
                  <a:gd name="connsiteX13" fmla="*/ 716433 w 1422880"/>
                  <a:gd name="connsiteY13" fmla="*/ 249028 h 688975"/>
                  <a:gd name="connsiteX14" fmla="*/ 566503 w 1422880"/>
                  <a:gd name="connsiteY14" fmla="*/ 249028 h 688975"/>
                  <a:gd name="connsiteX15" fmla="*/ 305195 w 1422880"/>
                  <a:gd name="connsiteY15" fmla="*/ 31750 h 688975"/>
                  <a:gd name="connsiteX16" fmla="*/ 304970 w 1422880"/>
                  <a:gd name="connsiteY16" fmla="*/ 0 h 688975"/>
                  <a:gd name="connsiteX17" fmla="*/ 488524 w 1422880"/>
                  <a:gd name="connsiteY17" fmla="*/ 69183 h 688975"/>
                  <a:gd name="connsiteX18" fmla="*/ 585657 w 1422880"/>
                  <a:gd name="connsiteY18" fmla="*/ 207549 h 688975"/>
                  <a:gd name="connsiteX19" fmla="*/ 599942 w 1422880"/>
                  <a:gd name="connsiteY19" fmla="*/ 217534 h 688975"/>
                  <a:gd name="connsiteX20" fmla="*/ 723501 w 1422880"/>
                  <a:gd name="connsiteY20" fmla="*/ 217534 h 688975"/>
                  <a:gd name="connsiteX21" fmla="*/ 735643 w 1422880"/>
                  <a:gd name="connsiteY21" fmla="*/ 223239 h 688975"/>
                  <a:gd name="connsiteX22" fmla="*/ 777781 w 1422880"/>
                  <a:gd name="connsiteY22" fmla="*/ 274592 h 688975"/>
                  <a:gd name="connsiteX23" fmla="*/ 789923 w 1422880"/>
                  <a:gd name="connsiteY23" fmla="*/ 280297 h 688975"/>
                  <a:gd name="connsiteX24" fmla="*/ 852774 w 1422880"/>
                  <a:gd name="connsiteY24" fmla="*/ 280297 h 688975"/>
                  <a:gd name="connsiteX25" fmla="*/ 862059 w 1422880"/>
                  <a:gd name="connsiteY25" fmla="*/ 277445 h 688975"/>
                  <a:gd name="connsiteX26" fmla="*/ 905626 w 1422880"/>
                  <a:gd name="connsiteY26" fmla="*/ 246063 h 688975"/>
                  <a:gd name="connsiteX27" fmla="*/ 914197 w 1422880"/>
                  <a:gd name="connsiteY27" fmla="*/ 243210 h 688975"/>
                  <a:gd name="connsiteX28" fmla="*/ 1013473 w 1422880"/>
                  <a:gd name="connsiteY28" fmla="*/ 243210 h 688975"/>
                  <a:gd name="connsiteX29" fmla="*/ 1027043 w 1422880"/>
                  <a:gd name="connsiteY29" fmla="*/ 250342 h 688975"/>
                  <a:gd name="connsiteX30" fmla="*/ 1046327 w 1422880"/>
                  <a:gd name="connsiteY30" fmla="*/ 278871 h 688975"/>
                  <a:gd name="connsiteX31" fmla="*/ 1059182 w 1422880"/>
                  <a:gd name="connsiteY31" fmla="*/ 286003 h 688975"/>
                  <a:gd name="connsiteX32" fmla="*/ 1144888 w 1422880"/>
                  <a:gd name="connsiteY32" fmla="*/ 286003 h 688975"/>
                  <a:gd name="connsiteX33" fmla="*/ 1152745 w 1422880"/>
                  <a:gd name="connsiteY33" fmla="*/ 283864 h 688975"/>
                  <a:gd name="connsiteX34" fmla="*/ 1232737 w 1422880"/>
                  <a:gd name="connsiteY34" fmla="*/ 234651 h 688975"/>
                  <a:gd name="connsiteX35" fmla="*/ 1249164 w 1422880"/>
                  <a:gd name="connsiteY35" fmla="*/ 234651 h 688975"/>
                  <a:gd name="connsiteX36" fmla="*/ 1415576 w 1422880"/>
                  <a:gd name="connsiteY36" fmla="*/ 343061 h 688975"/>
                  <a:gd name="connsiteX37" fmla="*/ 1417719 w 1422880"/>
                  <a:gd name="connsiteY37" fmla="*/ 367311 h 688975"/>
                  <a:gd name="connsiteX38" fmla="*/ 1319871 w 1422880"/>
                  <a:gd name="connsiteY38" fmla="*/ 461456 h 688975"/>
                  <a:gd name="connsiteX39" fmla="*/ 1309158 w 1422880"/>
                  <a:gd name="connsiteY39" fmla="*/ 465736 h 688975"/>
                  <a:gd name="connsiteX40" fmla="*/ 602798 w 1422880"/>
                  <a:gd name="connsiteY40" fmla="*/ 465736 h 688975"/>
                  <a:gd name="connsiteX41" fmla="*/ 587800 w 1422880"/>
                  <a:gd name="connsiteY41" fmla="*/ 475721 h 688975"/>
                  <a:gd name="connsiteX42" fmla="*/ 490667 w 1422880"/>
                  <a:gd name="connsiteY42" fmla="*/ 617653 h 688975"/>
                  <a:gd name="connsiteX43" fmla="*/ 304970 w 1422880"/>
                  <a:gd name="connsiteY43" fmla="*/ 688975 h 688975"/>
                  <a:gd name="connsiteX44" fmla="*/ 0 w 1422880"/>
                  <a:gd name="connsiteY44" fmla="*/ 344488 h 688975"/>
                  <a:gd name="connsiteX45" fmla="*/ 304970 w 1422880"/>
                  <a:gd name="connsiteY45" fmla="*/ 0 h 68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2880" h="688975">
                    <a:moveTo>
                      <a:pt x="305195" y="31750"/>
                    </a:moveTo>
                    <a:cubicBezTo>
                      <a:pt x="154551" y="31750"/>
                      <a:pt x="31750" y="171378"/>
                      <a:pt x="31750" y="344488"/>
                    </a:cubicBezTo>
                    <a:cubicBezTo>
                      <a:pt x="31750" y="517597"/>
                      <a:pt x="154551" y="657225"/>
                      <a:pt x="305195" y="657225"/>
                    </a:cubicBezTo>
                    <a:cubicBezTo>
                      <a:pt x="429423" y="657225"/>
                      <a:pt x="533661" y="563190"/>
                      <a:pt x="567930" y="434248"/>
                    </a:cubicBezTo>
                    <a:cubicBezTo>
                      <a:pt x="567930" y="434248"/>
                      <a:pt x="567930" y="434248"/>
                      <a:pt x="1302590" y="434248"/>
                    </a:cubicBezTo>
                    <a:cubicBezTo>
                      <a:pt x="1302590" y="434248"/>
                      <a:pt x="1302590" y="434248"/>
                      <a:pt x="1381125" y="358023"/>
                    </a:cubicBezTo>
                    <a:cubicBezTo>
                      <a:pt x="1381125" y="358023"/>
                      <a:pt x="1381125" y="358023"/>
                      <a:pt x="1240476" y="266125"/>
                    </a:cubicBezTo>
                    <a:cubicBezTo>
                      <a:pt x="1240476" y="266125"/>
                      <a:pt x="1240476" y="266125"/>
                      <a:pt x="1158371" y="317417"/>
                    </a:cubicBezTo>
                    <a:cubicBezTo>
                      <a:pt x="1158371" y="317417"/>
                      <a:pt x="1158371" y="317417"/>
                      <a:pt x="1033429" y="317417"/>
                    </a:cubicBezTo>
                    <a:cubicBezTo>
                      <a:pt x="1033429" y="317417"/>
                      <a:pt x="1033429" y="317417"/>
                      <a:pt x="1004871" y="274674"/>
                    </a:cubicBezTo>
                    <a:cubicBezTo>
                      <a:pt x="1004871" y="274674"/>
                      <a:pt x="1004871" y="274674"/>
                      <a:pt x="919910" y="274674"/>
                    </a:cubicBezTo>
                    <a:cubicBezTo>
                      <a:pt x="919910" y="274674"/>
                      <a:pt x="919910" y="274674"/>
                      <a:pt x="868506" y="311718"/>
                    </a:cubicBezTo>
                    <a:cubicBezTo>
                      <a:pt x="868506" y="311718"/>
                      <a:pt x="868506" y="311718"/>
                      <a:pt x="767838" y="311718"/>
                    </a:cubicBezTo>
                    <a:cubicBezTo>
                      <a:pt x="767838" y="311718"/>
                      <a:pt x="767838" y="311718"/>
                      <a:pt x="716433" y="249028"/>
                    </a:cubicBezTo>
                    <a:cubicBezTo>
                      <a:pt x="716433" y="249028"/>
                      <a:pt x="716433" y="249028"/>
                      <a:pt x="566503" y="249028"/>
                    </a:cubicBezTo>
                    <a:cubicBezTo>
                      <a:pt x="530805" y="123648"/>
                      <a:pt x="427281" y="31750"/>
                      <a:pt x="305195" y="31750"/>
                    </a:cubicBezTo>
                    <a:close/>
                    <a:moveTo>
                      <a:pt x="304970" y="0"/>
                    </a:moveTo>
                    <a:cubicBezTo>
                      <a:pt x="371393" y="0"/>
                      <a:pt x="434958" y="24250"/>
                      <a:pt x="488524" y="69183"/>
                    </a:cubicBezTo>
                    <a:cubicBezTo>
                      <a:pt x="531377" y="105557"/>
                      <a:pt x="564231" y="152630"/>
                      <a:pt x="585657" y="207549"/>
                    </a:cubicBezTo>
                    <a:cubicBezTo>
                      <a:pt x="587800" y="213968"/>
                      <a:pt x="593514" y="217534"/>
                      <a:pt x="599942" y="217534"/>
                    </a:cubicBezTo>
                    <a:cubicBezTo>
                      <a:pt x="599942" y="217534"/>
                      <a:pt x="599942" y="217534"/>
                      <a:pt x="723501" y="217534"/>
                    </a:cubicBezTo>
                    <a:cubicBezTo>
                      <a:pt x="728500" y="217534"/>
                      <a:pt x="732786" y="219673"/>
                      <a:pt x="735643" y="223239"/>
                    </a:cubicBezTo>
                    <a:cubicBezTo>
                      <a:pt x="735643" y="223239"/>
                      <a:pt x="735643" y="223239"/>
                      <a:pt x="777781" y="274592"/>
                    </a:cubicBezTo>
                    <a:cubicBezTo>
                      <a:pt x="780638" y="278158"/>
                      <a:pt x="784924" y="280297"/>
                      <a:pt x="789923" y="280297"/>
                    </a:cubicBezTo>
                    <a:cubicBezTo>
                      <a:pt x="789923" y="280297"/>
                      <a:pt x="789923" y="280297"/>
                      <a:pt x="852774" y="280297"/>
                    </a:cubicBezTo>
                    <a:cubicBezTo>
                      <a:pt x="856345" y="280297"/>
                      <a:pt x="859202" y="279584"/>
                      <a:pt x="862059" y="277445"/>
                    </a:cubicBezTo>
                    <a:cubicBezTo>
                      <a:pt x="862059" y="277445"/>
                      <a:pt x="862059" y="277445"/>
                      <a:pt x="905626" y="246063"/>
                    </a:cubicBezTo>
                    <a:cubicBezTo>
                      <a:pt x="907769" y="244636"/>
                      <a:pt x="911340" y="243210"/>
                      <a:pt x="914197" y="243210"/>
                    </a:cubicBezTo>
                    <a:cubicBezTo>
                      <a:pt x="914197" y="243210"/>
                      <a:pt x="914197" y="243210"/>
                      <a:pt x="1013473" y="243210"/>
                    </a:cubicBezTo>
                    <a:cubicBezTo>
                      <a:pt x="1019186" y="243210"/>
                      <a:pt x="1024186" y="246063"/>
                      <a:pt x="1027043" y="250342"/>
                    </a:cubicBezTo>
                    <a:cubicBezTo>
                      <a:pt x="1027043" y="250342"/>
                      <a:pt x="1027043" y="250342"/>
                      <a:pt x="1046327" y="278871"/>
                    </a:cubicBezTo>
                    <a:cubicBezTo>
                      <a:pt x="1049183" y="283864"/>
                      <a:pt x="1054183" y="286003"/>
                      <a:pt x="1059182" y="286003"/>
                    </a:cubicBezTo>
                    <a:cubicBezTo>
                      <a:pt x="1059182" y="286003"/>
                      <a:pt x="1059182" y="286003"/>
                      <a:pt x="1144888" y="286003"/>
                    </a:cubicBezTo>
                    <a:cubicBezTo>
                      <a:pt x="1147745" y="286003"/>
                      <a:pt x="1150602" y="285290"/>
                      <a:pt x="1152745" y="283864"/>
                    </a:cubicBezTo>
                    <a:lnTo>
                      <a:pt x="1232737" y="234651"/>
                    </a:lnTo>
                    <a:cubicBezTo>
                      <a:pt x="1237736" y="231085"/>
                      <a:pt x="1244164" y="231085"/>
                      <a:pt x="1249164" y="234651"/>
                    </a:cubicBezTo>
                    <a:cubicBezTo>
                      <a:pt x="1249164" y="234651"/>
                      <a:pt x="1249164" y="234651"/>
                      <a:pt x="1415576" y="343061"/>
                    </a:cubicBezTo>
                    <a:cubicBezTo>
                      <a:pt x="1424147" y="348767"/>
                      <a:pt x="1425575" y="360179"/>
                      <a:pt x="1417719" y="367311"/>
                    </a:cubicBezTo>
                    <a:cubicBezTo>
                      <a:pt x="1417719" y="367311"/>
                      <a:pt x="1417719" y="367311"/>
                      <a:pt x="1319871" y="461456"/>
                    </a:cubicBezTo>
                    <a:cubicBezTo>
                      <a:pt x="1317014" y="464309"/>
                      <a:pt x="1312729" y="465736"/>
                      <a:pt x="1309158" y="465736"/>
                    </a:cubicBezTo>
                    <a:cubicBezTo>
                      <a:pt x="1309158" y="465736"/>
                      <a:pt x="1309158" y="465736"/>
                      <a:pt x="602798" y="465736"/>
                    </a:cubicBezTo>
                    <a:cubicBezTo>
                      <a:pt x="595656" y="465736"/>
                      <a:pt x="589943" y="470015"/>
                      <a:pt x="587800" y="475721"/>
                    </a:cubicBezTo>
                    <a:cubicBezTo>
                      <a:pt x="567088" y="531353"/>
                      <a:pt x="532805" y="581278"/>
                      <a:pt x="490667" y="617653"/>
                    </a:cubicBezTo>
                    <a:cubicBezTo>
                      <a:pt x="437100" y="664726"/>
                      <a:pt x="372821" y="688975"/>
                      <a:pt x="304970" y="688975"/>
                    </a:cubicBezTo>
                    <a:cubicBezTo>
                      <a:pt x="137130" y="688975"/>
                      <a:pt x="0" y="534919"/>
                      <a:pt x="0" y="344488"/>
                    </a:cubicBezTo>
                    <a:cubicBezTo>
                      <a:pt x="0" y="154770"/>
                      <a:pt x="137130" y="0"/>
                      <a:pt x="30497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3" name="Freeform 11">
                <a:extLst>
                  <a:ext uri="{FF2B5EF4-FFF2-40B4-BE49-F238E27FC236}">
                    <a16:creationId xmlns:a16="http://schemas.microsoft.com/office/drawing/2014/main" id="{9AE9DA96-78B8-41AA-8618-DC672254580D}"/>
                  </a:ext>
                </a:extLst>
              </p:cNvPr>
              <p:cNvSpPr>
                <a:spLocks noChangeArrowheads="1"/>
              </p:cNvSpPr>
              <p:nvPr/>
            </p:nvSpPr>
            <p:spPr bwMode="auto">
              <a:xfrm>
                <a:off x="5459412" y="3146425"/>
                <a:ext cx="1271588" cy="565150"/>
              </a:xfrm>
              <a:custGeom>
                <a:avLst/>
                <a:gdLst>
                  <a:gd name="connsiteX0" fmla="*/ 101600 w 1271588"/>
                  <a:gd name="connsiteY0" fmla="*/ 225425 h 565150"/>
                  <a:gd name="connsiteX1" fmla="*/ 41275 w 1271588"/>
                  <a:gd name="connsiteY1" fmla="*/ 285750 h 565150"/>
                  <a:gd name="connsiteX2" fmla="*/ 101600 w 1271588"/>
                  <a:gd name="connsiteY2" fmla="*/ 346075 h 565150"/>
                  <a:gd name="connsiteX3" fmla="*/ 161925 w 1271588"/>
                  <a:gd name="connsiteY3" fmla="*/ 285750 h 565150"/>
                  <a:gd name="connsiteX4" fmla="*/ 101600 w 1271588"/>
                  <a:gd name="connsiteY4" fmla="*/ 225425 h 565150"/>
                  <a:gd name="connsiteX5" fmla="*/ 512763 w 1271588"/>
                  <a:gd name="connsiteY5" fmla="*/ 217488 h 565150"/>
                  <a:gd name="connsiteX6" fmla="*/ 640543 w 1271588"/>
                  <a:gd name="connsiteY6" fmla="*/ 217488 h 565150"/>
                  <a:gd name="connsiteX7" fmla="*/ 691940 w 1271588"/>
                  <a:gd name="connsiteY7" fmla="*/ 281190 h 565150"/>
                  <a:gd name="connsiteX8" fmla="*/ 818292 w 1271588"/>
                  <a:gd name="connsiteY8" fmla="*/ 281190 h 565150"/>
                  <a:gd name="connsiteX9" fmla="*/ 869689 w 1271588"/>
                  <a:gd name="connsiteY9" fmla="*/ 243971 h 565150"/>
                  <a:gd name="connsiteX10" fmla="*/ 928225 w 1271588"/>
                  <a:gd name="connsiteY10" fmla="*/ 243971 h 565150"/>
                  <a:gd name="connsiteX11" fmla="*/ 956779 w 1271588"/>
                  <a:gd name="connsiteY11" fmla="*/ 286916 h 565150"/>
                  <a:gd name="connsiteX12" fmla="*/ 1107402 w 1271588"/>
                  <a:gd name="connsiteY12" fmla="*/ 286916 h 565150"/>
                  <a:gd name="connsiteX13" fmla="*/ 1180215 w 1271588"/>
                  <a:gd name="connsiteY13" fmla="*/ 241108 h 565150"/>
                  <a:gd name="connsiteX14" fmla="*/ 1271588 w 1271588"/>
                  <a:gd name="connsiteY14" fmla="*/ 301231 h 565150"/>
                  <a:gd name="connsiteX15" fmla="*/ 1230185 w 1271588"/>
                  <a:gd name="connsiteY15" fmla="*/ 341313 h 565150"/>
                  <a:gd name="connsiteX16" fmla="*/ 513477 w 1271588"/>
                  <a:gd name="connsiteY16" fmla="*/ 341313 h 565150"/>
                  <a:gd name="connsiteX17" fmla="*/ 518474 w 1271588"/>
                  <a:gd name="connsiteY17" fmla="*/ 282622 h 565150"/>
                  <a:gd name="connsiteX18" fmla="*/ 512763 w 1271588"/>
                  <a:gd name="connsiteY18" fmla="*/ 217488 h 565150"/>
                  <a:gd name="connsiteX19" fmla="*/ 243682 w 1271588"/>
                  <a:gd name="connsiteY19" fmla="*/ 0 h 565150"/>
                  <a:gd name="connsiteX20" fmla="*/ 487364 w 1271588"/>
                  <a:gd name="connsiteY20" fmla="*/ 282575 h 565150"/>
                  <a:gd name="connsiteX21" fmla="*/ 243682 w 1271588"/>
                  <a:gd name="connsiteY21" fmla="*/ 565150 h 565150"/>
                  <a:gd name="connsiteX22" fmla="*/ 0 w 1271588"/>
                  <a:gd name="connsiteY22" fmla="*/ 282575 h 565150"/>
                  <a:gd name="connsiteX23" fmla="*/ 243682 w 1271588"/>
                  <a:gd name="connsiteY23" fmla="*/ 0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588" h="565150">
                    <a:moveTo>
                      <a:pt x="101600" y="225425"/>
                    </a:moveTo>
                    <a:cubicBezTo>
                      <a:pt x="68283" y="225425"/>
                      <a:pt x="41275" y="252433"/>
                      <a:pt x="41275" y="285750"/>
                    </a:cubicBezTo>
                    <a:cubicBezTo>
                      <a:pt x="41275" y="319067"/>
                      <a:pt x="68283" y="346075"/>
                      <a:pt x="101600" y="346075"/>
                    </a:cubicBezTo>
                    <a:cubicBezTo>
                      <a:pt x="134917" y="346075"/>
                      <a:pt x="161925" y="319067"/>
                      <a:pt x="161925" y="285750"/>
                    </a:cubicBezTo>
                    <a:cubicBezTo>
                      <a:pt x="161925" y="252433"/>
                      <a:pt x="134917" y="225425"/>
                      <a:pt x="101600" y="225425"/>
                    </a:cubicBezTo>
                    <a:close/>
                    <a:moveTo>
                      <a:pt x="512763" y="217488"/>
                    </a:moveTo>
                    <a:cubicBezTo>
                      <a:pt x="512763" y="217488"/>
                      <a:pt x="512763" y="217488"/>
                      <a:pt x="640543" y="217488"/>
                    </a:cubicBezTo>
                    <a:cubicBezTo>
                      <a:pt x="640543" y="217488"/>
                      <a:pt x="640543" y="217488"/>
                      <a:pt x="691940" y="281190"/>
                    </a:cubicBezTo>
                    <a:cubicBezTo>
                      <a:pt x="691940" y="281190"/>
                      <a:pt x="691940" y="281190"/>
                      <a:pt x="818292" y="281190"/>
                    </a:cubicBezTo>
                    <a:cubicBezTo>
                      <a:pt x="818292" y="281190"/>
                      <a:pt x="818292" y="281190"/>
                      <a:pt x="869689" y="243971"/>
                    </a:cubicBezTo>
                    <a:cubicBezTo>
                      <a:pt x="869689" y="243971"/>
                      <a:pt x="869689" y="243971"/>
                      <a:pt x="928225" y="243971"/>
                    </a:cubicBezTo>
                    <a:cubicBezTo>
                      <a:pt x="928225" y="243971"/>
                      <a:pt x="928225" y="243971"/>
                      <a:pt x="956779" y="286916"/>
                    </a:cubicBezTo>
                    <a:cubicBezTo>
                      <a:pt x="956779" y="286916"/>
                      <a:pt x="956779" y="286916"/>
                      <a:pt x="1107402" y="286916"/>
                    </a:cubicBezTo>
                    <a:cubicBezTo>
                      <a:pt x="1107402" y="286916"/>
                      <a:pt x="1107402" y="286916"/>
                      <a:pt x="1180215" y="241108"/>
                    </a:cubicBezTo>
                    <a:cubicBezTo>
                      <a:pt x="1180215" y="241108"/>
                      <a:pt x="1180215" y="241108"/>
                      <a:pt x="1271588" y="301231"/>
                    </a:cubicBezTo>
                    <a:cubicBezTo>
                      <a:pt x="1271588" y="301231"/>
                      <a:pt x="1271588" y="301231"/>
                      <a:pt x="1230185" y="341313"/>
                    </a:cubicBezTo>
                    <a:cubicBezTo>
                      <a:pt x="1230185" y="341313"/>
                      <a:pt x="1230185" y="341313"/>
                      <a:pt x="513477" y="341313"/>
                    </a:cubicBezTo>
                    <a:cubicBezTo>
                      <a:pt x="517046" y="321988"/>
                      <a:pt x="518474" y="302663"/>
                      <a:pt x="518474" y="282622"/>
                    </a:cubicBezTo>
                    <a:cubicBezTo>
                      <a:pt x="518474" y="260433"/>
                      <a:pt x="516333" y="238961"/>
                      <a:pt x="512763" y="217488"/>
                    </a:cubicBezTo>
                    <a:close/>
                    <a:moveTo>
                      <a:pt x="243682" y="0"/>
                    </a:moveTo>
                    <a:cubicBezTo>
                      <a:pt x="378264" y="0"/>
                      <a:pt x="487364" y="126513"/>
                      <a:pt x="487364" y="282575"/>
                    </a:cubicBezTo>
                    <a:cubicBezTo>
                      <a:pt x="487364" y="438637"/>
                      <a:pt x="378264" y="565150"/>
                      <a:pt x="243682" y="565150"/>
                    </a:cubicBezTo>
                    <a:cubicBezTo>
                      <a:pt x="109100" y="565150"/>
                      <a:pt x="0" y="438637"/>
                      <a:pt x="0" y="282575"/>
                    </a:cubicBezTo>
                    <a:cubicBezTo>
                      <a:pt x="0" y="126513"/>
                      <a:pt x="109100" y="0"/>
                      <a:pt x="24368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34" name="bcgIcons_Bridge">
            <a:extLst>
              <a:ext uri="{FF2B5EF4-FFF2-40B4-BE49-F238E27FC236}">
                <a16:creationId xmlns:a16="http://schemas.microsoft.com/office/drawing/2014/main" id="{4087CC36-C158-47EB-BAF4-D71516D3E5DA}"/>
              </a:ext>
            </a:extLst>
          </p:cNvPr>
          <p:cNvGrpSpPr>
            <a:grpSpLocks noChangeAspect="1"/>
          </p:cNvGrpSpPr>
          <p:nvPr/>
        </p:nvGrpSpPr>
        <p:grpSpPr bwMode="auto">
          <a:xfrm>
            <a:off x="717632" y="4271532"/>
            <a:ext cx="723186" cy="723856"/>
            <a:chOff x="1682" y="0"/>
            <a:chExt cx="4316" cy="4320"/>
          </a:xfrm>
        </p:grpSpPr>
        <p:sp>
          <p:nvSpPr>
            <p:cNvPr id="35" name="AutoShape 8">
              <a:extLst>
                <a:ext uri="{FF2B5EF4-FFF2-40B4-BE49-F238E27FC236}">
                  <a16:creationId xmlns:a16="http://schemas.microsoft.com/office/drawing/2014/main" id="{C8A9EE77-1AC9-4213-AF80-C7EDCFBF5CC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a:extLst>
                <a:ext uri="{FF2B5EF4-FFF2-40B4-BE49-F238E27FC236}">
                  <a16:creationId xmlns:a16="http://schemas.microsoft.com/office/drawing/2014/main" id="{AF02EFF0-6E9C-43C8-85B0-5CA19ABBAA6E}"/>
                </a:ext>
              </a:extLst>
            </p:cNvPr>
            <p:cNvSpPr>
              <a:spLocks noEditPoints="1"/>
            </p:cNvSpPr>
            <p:nvPr/>
          </p:nvSpPr>
          <p:spPr bwMode="auto">
            <a:xfrm>
              <a:off x="2096" y="1481"/>
              <a:ext cx="3492" cy="1212"/>
            </a:xfrm>
            <a:custGeom>
              <a:avLst/>
              <a:gdLst>
                <a:gd name="T0" fmla="*/ 196 w 1864"/>
                <a:gd name="T1" fmla="*/ 0 h 646"/>
                <a:gd name="T2" fmla="*/ 59 w 1864"/>
                <a:gd name="T3" fmla="*/ 0 h 646"/>
                <a:gd name="T4" fmla="*/ 0 w 1864"/>
                <a:gd name="T5" fmla="*/ 646 h 646"/>
                <a:gd name="T6" fmla="*/ 255 w 1864"/>
                <a:gd name="T7" fmla="*/ 646 h 646"/>
                <a:gd name="T8" fmla="*/ 196 w 1864"/>
                <a:gd name="T9" fmla="*/ 0 h 646"/>
                <a:gd name="T10" fmla="*/ 128 w 1864"/>
                <a:gd name="T11" fmla="*/ 119 h 646"/>
                <a:gd name="T12" fmla="*/ 98 w 1864"/>
                <a:gd name="T13" fmla="*/ 90 h 646"/>
                <a:gd name="T14" fmla="*/ 128 w 1864"/>
                <a:gd name="T15" fmla="*/ 61 h 646"/>
                <a:gd name="T16" fmla="*/ 157 w 1864"/>
                <a:gd name="T17" fmla="*/ 90 h 646"/>
                <a:gd name="T18" fmla="*/ 128 w 1864"/>
                <a:gd name="T19" fmla="*/ 119 h 646"/>
                <a:gd name="T20" fmla="*/ 1805 w 1864"/>
                <a:gd name="T21" fmla="*/ 0 h 646"/>
                <a:gd name="T22" fmla="*/ 1668 w 1864"/>
                <a:gd name="T23" fmla="*/ 0 h 646"/>
                <a:gd name="T24" fmla="*/ 1609 w 1864"/>
                <a:gd name="T25" fmla="*/ 646 h 646"/>
                <a:gd name="T26" fmla="*/ 1864 w 1864"/>
                <a:gd name="T27" fmla="*/ 646 h 646"/>
                <a:gd name="T28" fmla="*/ 1805 w 1864"/>
                <a:gd name="T29" fmla="*/ 0 h 646"/>
                <a:gd name="T30" fmla="*/ 1736 w 1864"/>
                <a:gd name="T31" fmla="*/ 119 h 646"/>
                <a:gd name="T32" fmla="*/ 1707 w 1864"/>
                <a:gd name="T33" fmla="*/ 90 h 646"/>
                <a:gd name="T34" fmla="*/ 1736 w 1864"/>
                <a:gd name="T35" fmla="*/ 61 h 646"/>
                <a:gd name="T36" fmla="*/ 1766 w 1864"/>
                <a:gd name="T37" fmla="*/ 90 h 646"/>
                <a:gd name="T38" fmla="*/ 1736 w 1864"/>
                <a:gd name="T39" fmla="*/ 11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64" h="646">
                  <a:moveTo>
                    <a:pt x="196" y="0"/>
                  </a:moveTo>
                  <a:cubicBezTo>
                    <a:pt x="59" y="0"/>
                    <a:pt x="59" y="0"/>
                    <a:pt x="59" y="0"/>
                  </a:cubicBezTo>
                  <a:cubicBezTo>
                    <a:pt x="0" y="646"/>
                    <a:pt x="0" y="646"/>
                    <a:pt x="0" y="646"/>
                  </a:cubicBezTo>
                  <a:cubicBezTo>
                    <a:pt x="255" y="646"/>
                    <a:pt x="255" y="646"/>
                    <a:pt x="255" y="646"/>
                  </a:cubicBezTo>
                  <a:lnTo>
                    <a:pt x="196" y="0"/>
                  </a:lnTo>
                  <a:close/>
                  <a:moveTo>
                    <a:pt x="128" y="119"/>
                  </a:moveTo>
                  <a:cubicBezTo>
                    <a:pt x="111" y="119"/>
                    <a:pt x="98" y="106"/>
                    <a:pt x="98" y="90"/>
                  </a:cubicBezTo>
                  <a:cubicBezTo>
                    <a:pt x="98" y="74"/>
                    <a:pt x="111" y="61"/>
                    <a:pt x="128" y="61"/>
                  </a:cubicBezTo>
                  <a:cubicBezTo>
                    <a:pt x="144" y="61"/>
                    <a:pt x="157" y="74"/>
                    <a:pt x="157" y="90"/>
                  </a:cubicBezTo>
                  <a:cubicBezTo>
                    <a:pt x="157" y="106"/>
                    <a:pt x="144" y="119"/>
                    <a:pt x="128" y="119"/>
                  </a:cubicBezTo>
                  <a:close/>
                  <a:moveTo>
                    <a:pt x="1805" y="0"/>
                  </a:moveTo>
                  <a:cubicBezTo>
                    <a:pt x="1668" y="0"/>
                    <a:pt x="1668" y="0"/>
                    <a:pt x="1668" y="0"/>
                  </a:cubicBezTo>
                  <a:cubicBezTo>
                    <a:pt x="1609" y="646"/>
                    <a:pt x="1609" y="646"/>
                    <a:pt x="1609" y="646"/>
                  </a:cubicBezTo>
                  <a:cubicBezTo>
                    <a:pt x="1864" y="646"/>
                    <a:pt x="1864" y="646"/>
                    <a:pt x="1864" y="646"/>
                  </a:cubicBezTo>
                  <a:lnTo>
                    <a:pt x="1805" y="0"/>
                  </a:lnTo>
                  <a:close/>
                  <a:moveTo>
                    <a:pt x="1736" y="119"/>
                  </a:moveTo>
                  <a:cubicBezTo>
                    <a:pt x="1720" y="119"/>
                    <a:pt x="1707" y="106"/>
                    <a:pt x="1707" y="90"/>
                  </a:cubicBezTo>
                  <a:cubicBezTo>
                    <a:pt x="1707" y="74"/>
                    <a:pt x="1720" y="61"/>
                    <a:pt x="1736" y="61"/>
                  </a:cubicBezTo>
                  <a:cubicBezTo>
                    <a:pt x="1753" y="61"/>
                    <a:pt x="1766" y="74"/>
                    <a:pt x="1766" y="90"/>
                  </a:cubicBezTo>
                  <a:cubicBezTo>
                    <a:pt x="1766" y="106"/>
                    <a:pt x="1753" y="119"/>
                    <a:pt x="1736" y="1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C78C1F41-D326-406C-8323-0F1934BF9614}"/>
                </a:ext>
              </a:extLst>
            </p:cNvPr>
            <p:cNvSpPr>
              <a:spLocks noEditPoints="1"/>
            </p:cNvSpPr>
            <p:nvPr/>
          </p:nvSpPr>
          <p:spPr bwMode="auto">
            <a:xfrm>
              <a:off x="1931" y="1236"/>
              <a:ext cx="3822" cy="1860"/>
            </a:xfrm>
            <a:custGeom>
              <a:avLst/>
              <a:gdLst>
                <a:gd name="T0" fmla="*/ 431 w 2040"/>
                <a:gd name="T1" fmla="*/ 970 h 992"/>
                <a:gd name="T2" fmla="*/ 370 w 2040"/>
                <a:gd name="T3" fmla="*/ 992 h 992"/>
                <a:gd name="T4" fmla="*/ 22 w 2040"/>
                <a:gd name="T5" fmla="*/ 992 h 992"/>
                <a:gd name="T6" fmla="*/ 0 w 2040"/>
                <a:gd name="T7" fmla="*/ 911 h 992"/>
                <a:gd name="T8" fmla="*/ 38 w 2040"/>
                <a:gd name="T9" fmla="*/ 889 h 992"/>
                <a:gd name="T10" fmla="*/ 61 w 2040"/>
                <a:gd name="T11" fmla="*/ 824 h 992"/>
                <a:gd name="T12" fmla="*/ 393 w 2040"/>
                <a:gd name="T13" fmla="*/ 847 h 992"/>
                <a:gd name="T14" fmla="*/ 409 w 2040"/>
                <a:gd name="T15" fmla="*/ 889 h 992"/>
                <a:gd name="T16" fmla="*/ 1684 w 2040"/>
                <a:gd name="T17" fmla="*/ 433 h 992"/>
                <a:gd name="T18" fmla="*/ 352 w 2040"/>
                <a:gd name="T19" fmla="*/ 389 h 992"/>
                <a:gd name="T20" fmla="*/ 551 w 2040"/>
                <a:gd name="T21" fmla="*/ 166 h 992"/>
                <a:gd name="T22" fmla="*/ 339 w 2040"/>
                <a:gd name="T23" fmla="*/ 244 h 992"/>
                <a:gd name="T24" fmla="*/ 568 w 2040"/>
                <a:gd name="T25" fmla="*/ 110 h 992"/>
                <a:gd name="T26" fmla="*/ 1472 w 2040"/>
                <a:gd name="T27" fmla="*/ 110 h 992"/>
                <a:gd name="T28" fmla="*/ 1701 w 2040"/>
                <a:gd name="T29" fmla="*/ 244 h 992"/>
                <a:gd name="T30" fmla="*/ 1489 w 2040"/>
                <a:gd name="T31" fmla="*/ 166 h 992"/>
                <a:gd name="T32" fmla="*/ 1688 w 2040"/>
                <a:gd name="T33" fmla="*/ 389 h 992"/>
                <a:gd name="T34" fmla="*/ 775 w 2040"/>
                <a:gd name="T35" fmla="*/ 88 h 992"/>
                <a:gd name="T36" fmla="*/ 595 w 2040"/>
                <a:gd name="T37" fmla="*/ 389 h 992"/>
                <a:gd name="T38" fmla="*/ 775 w 2040"/>
                <a:gd name="T39" fmla="*/ 88 h 992"/>
                <a:gd name="T40" fmla="*/ 819 w 2040"/>
                <a:gd name="T41" fmla="*/ 79 h 992"/>
                <a:gd name="T42" fmla="*/ 998 w 2040"/>
                <a:gd name="T43" fmla="*/ 389 h 992"/>
                <a:gd name="T44" fmla="*/ 1221 w 2040"/>
                <a:gd name="T45" fmla="*/ 79 h 992"/>
                <a:gd name="T46" fmla="*/ 1042 w 2040"/>
                <a:gd name="T47" fmla="*/ 389 h 992"/>
                <a:gd name="T48" fmla="*/ 1221 w 2040"/>
                <a:gd name="T49" fmla="*/ 79 h 992"/>
                <a:gd name="T50" fmla="*/ 1265 w 2040"/>
                <a:gd name="T51" fmla="*/ 88 h 992"/>
                <a:gd name="T52" fmla="*/ 1445 w 2040"/>
                <a:gd name="T53" fmla="*/ 389 h 992"/>
                <a:gd name="T54" fmla="*/ 2018 w 2040"/>
                <a:gd name="T55" fmla="*/ 889 h 992"/>
                <a:gd name="T56" fmla="*/ 2002 w 2040"/>
                <a:gd name="T57" fmla="*/ 847 h 992"/>
                <a:gd name="T58" fmla="*/ 1670 w 2040"/>
                <a:gd name="T59" fmla="*/ 824 h 992"/>
                <a:gd name="T60" fmla="*/ 1647 w 2040"/>
                <a:gd name="T61" fmla="*/ 889 h 992"/>
                <a:gd name="T62" fmla="*/ 1609 w 2040"/>
                <a:gd name="T63" fmla="*/ 911 h 992"/>
                <a:gd name="T64" fmla="*/ 1631 w 2040"/>
                <a:gd name="T65" fmla="*/ 992 h 992"/>
                <a:gd name="T66" fmla="*/ 1979 w 2040"/>
                <a:gd name="T67" fmla="*/ 992 h 992"/>
                <a:gd name="T68" fmla="*/ 2040 w 2040"/>
                <a:gd name="T69" fmla="*/ 970 h 992"/>
                <a:gd name="T70" fmla="*/ 2018 w 2040"/>
                <a:gd name="T71" fmla="*/ 889 h 992"/>
                <a:gd name="T72" fmla="*/ 152 w 2040"/>
                <a:gd name="T73" fmla="*/ 87 h 992"/>
                <a:gd name="T74" fmla="*/ 234 w 2040"/>
                <a:gd name="T75" fmla="*/ 14 h 992"/>
                <a:gd name="T76" fmla="*/ 1806 w 2040"/>
                <a:gd name="T77" fmla="*/ 14 h 992"/>
                <a:gd name="T78" fmla="*/ 1888 w 2040"/>
                <a:gd name="T79" fmla="*/ 87 h 992"/>
                <a:gd name="T80" fmla="*/ 1806 w 2040"/>
                <a:gd name="T81" fmla="*/ 14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40" h="992">
                  <a:moveTo>
                    <a:pt x="431" y="911"/>
                  </a:moveTo>
                  <a:cubicBezTo>
                    <a:pt x="431" y="970"/>
                    <a:pt x="431" y="970"/>
                    <a:pt x="431" y="970"/>
                  </a:cubicBezTo>
                  <a:cubicBezTo>
                    <a:pt x="431" y="982"/>
                    <a:pt x="421" y="992"/>
                    <a:pt x="409" y="992"/>
                  </a:cubicBezTo>
                  <a:cubicBezTo>
                    <a:pt x="370" y="992"/>
                    <a:pt x="370" y="992"/>
                    <a:pt x="370" y="992"/>
                  </a:cubicBezTo>
                  <a:cubicBezTo>
                    <a:pt x="61" y="992"/>
                    <a:pt x="61" y="992"/>
                    <a:pt x="61" y="992"/>
                  </a:cubicBezTo>
                  <a:cubicBezTo>
                    <a:pt x="22" y="992"/>
                    <a:pt x="22" y="992"/>
                    <a:pt x="22" y="992"/>
                  </a:cubicBezTo>
                  <a:cubicBezTo>
                    <a:pt x="10" y="992"/>
                    <a:pt x="0" y="982"/>
                    <a:pt x="0" y="970"/>
                  </a:cubicBezTo>
                  <a:cubicBezTo>
                    <a:pt x="0" y="911"/>
                    <a:pt x="0" y="911"/>
                    <a:pt x="0" y="911"/>
                  </a:cubicBezTo>
                  <a:cubicBezTo>
                    <a:pt x="0" y="899"/>
                    <a:pt x="10" y="889"/>
                    <a:pt x="22" y="889"/>
                  </a:cubicBezTo>
                  <a:cubicBezTo>
                    <a:pt x="38" y="889"/>
                    <a:pt x="38" y="889"/>
                    <a:pt x="38" y="889"/>
                  </a:cubicBezTo>
                  <a:cubicBezTo>
                    <a:pt x="38" y="847"/>
                    <a:pt x="38" y="847"/>
                    <a:pt x="38" y="847"/>
                  </a:cubicBezTo>
                  <a:cubicBezTo>
                    <a:pt x="38" y="834"/>
                    <a:pt x="48" y="824"/>
                    <a:pt x="61" y="824"/>
                  </a:cubicBezTo>
                  <a:cubicBezTo>
                    <a:pt x="370" y="824"/>
                    <a:pt x="370" y="824"/>
                    <a:pt x="370" y="824"/>
                  </a:cubicBezTo>
                  <a:cubicBezTo>
                    <a:pt x="383" y="824"/>
                    <a:pt x="393" y="834"/>
                    <a:pt x="393" y="847"/>
                  </a:cubicBezTo>
                  <a:cubicBezTo>
                    <a:pt x="393" y="889"/>
                    <a:pt x="393" y="889"/>
                    <a:pt x="393" y="889"/>
                  </a:cubicBezTo>
                  <a:cubicBezTo>
                    <a:pt x="409" y="889"/>
                    <a:pt x="409" y="889"/>
                    <a:pt x="409" y="889"/>
                  </a:cubicBezTo>
                  <a:cubicBezTo>
                    <a:pt x="421" y="889"/>
                    <a:pt x="431" y="899"/>
                    <a:pt x="431" y="911"/>
                  </a:cubicBezTo>
                  <a:close/>
                  <a:moveTo>
                    <a:pt x="1684" y="433"/>
                  </a:moveTo>
                  <a:cubicBezTo>
                    <a:pt x="356" y="433"/>
                    <a:pt x="356" y="433"/>
                    <a:pt x="356" y="433"/>
                  </a:cubicBezTo>
                  <a:cubicBezTo>
                    <a:pt x="352" y="389"/>
                    <a:pt x="352" y="389"/>
                    <a:pt x="352" y="389"/>
                  </a:cubicBezTo>
                  <a:cubicBezTo>
                    <a:pt x="551" y="389"/>
                    <a:pt x="551" y="389"/>
                    <a:pt x="551" y="389"/>
                  </a:cubicBezTo>
                  <a:cubicBezTo>
                    <a:pt x="551" y="166"/>
                    <a:pt x="551" y="166"/>
                    <a:pt x="551" y="166"/>
                  </a:cubicBezTo>
                  <a:cubicBezTo>
                    <a:pt x="478" y="201"/>
                    <a:pt x="408" y="244"/>
                    <a:pt x="343" y="296"/>
                  </a:cubicBezTo>
                  <a:cubicBezTo>
                    <a:pt x="339" y="244"/>
                    <a:pt x="339" y="244"/>
                    <a:pt x="339" y="244"/>
                  </a:cubicBezTo>
                  <a:cubicBezTo>
                    <a:pt x="408" y="192"/>
                    <a:pt x="483" y="148"/>
                    <a:pt x="561" y="113"/>
                  </a:cubicBezTo>
                  <a:cubicBezTo>
                    <a:pt x="563" y="112"/>
                    <a:pt x="565" y="111"/>
                    <a:pt x="568" y="110"/>
                  </a:cubicBezTo>
                  <a:cubicBezTo>
                    <a:pt x="709" y="49"/>
                    <a:pt x="862" y="17"/>
                    <a:pt x="1020" y="17"/>
                  </a:cubicBezTo>
                  <a:cubicBezTo>
                    <a:pt x="1178" y="17"/>
                    <a:pt x="1331" y="49"/>
                    <a:pt x="1472" y="110"/>
                  </a:cubicBezTo>
                  <a:cubicBezTo>
                    <a:pt x="1475" y="111"/>
                    <a:pt x="1477" y="112"/>
                    <a:pt x="1479" y="113"/>
                  </a:cubicBezTo>
                  <a:cubicBezTo>
                    <a:pt x="1557" y="148"/>
                    <a:pt x="1632" y="192"/>
                    <a:pt x="1701" y="244"/>
                  </a:cubicBezTo>
                  <a:cubicBezTo>
                    <a:pt x="1697" y="296"/>
                    <a:pt x="1697" y="296"/>
                    <a:pt x="1697" y="296"/>
                  </a:cubicBezTo>
                  <a:cubicBezTo>
                    <a:pt x="1632" y="244"/>
                    <a:pt x="1562" y="201"/>
                    <a:pt x="1489" y="166"/>
                  </a:cubicBezTo>
                  <a:cubicBezTo>
                    <a:pt x="1489" y="389"/>
                    <a:pt x="1489" y="389"/>
                    <a:pt x="1489" y="389"/>
                  </a:cubicBezTo>
                  <a:cubicBezTo>
                    <a:pt x="1688" y="389"/>
                    <a:pt x="1688" y="389"/>
                    <a:pt x="1688" y="389"/>
                  </a:cubicBezTo>
                  <a:lnTo>
                    <a:pt x="1684" y="433"/>
                  </a:lnTo>
                  <a:close/>
                  <a:moveTo>
                    <a:pt x="775" y="88"/>
                  </a:moveTo>
                  <a:cubicBezTo>
                    <a:pt x="713" y="103"/>
                    <a:pt x="653" y="122"/>
                    <a:pt x="595" y="146"/>
                  </a:cubicBezTo>
                  <a:cubicBezTo>
                    <a:pt x="595" y="389"/>
                    <a:pt x="595" y="389"/>
                    <a:pt x="595" y="389"/>
                  </a:cubicBezTo>
                  <a:cubicBezTo>
                    <a:pt x="775" y="389"/>
                    <a:pt x="775" y="389"/>
                    <a:pt x="775" y="389"/>
                  </a:cubicBezTo>
                  <a:lnTo>
                    <a:pt x="775" y="88"/>
                  </a:lnTo>
                  <a:close/>
                  <a:moveTo>
                    <a:pt x="998" y="61"/>
                  </a:moveTo>
                  <a:cubicBezTo>
                    <a:pt x="937" y="62"/>
                    <a:pt x="877" y="68"/>
                    <a:pt x="819" y="79"/>
                  </a:cubicBezTo>
                  <a:cubicBezTo>
                    <a:pt x="819" y="389"/>
                    <a:pt x="819" y="389"/>
                    <a:pt x="819" y="389"/>
                  </a:cubicBezTo>
                  <a:cubicBezTo>
                    <a:pt x="998" y="389"/>
                    <a:pt x="998" y="389"/>
                    <a:pt x="998" y="389"/>
                  </a:cubicBezTo>
                  <a:lnTo>
                    <a:pt x="998" y="61"/>
                  </a:lnTo>
                  <a:close/>
                  <a:moveTo>
                    <a:pt x="1221" y="79"/>
                  </a:moveTo>
                  <a:cubicBezTo>
                    <a:pt x="1163" y="68"/>
                    <a:pt x="1103" y="62"/>
                    <a:pt x="1042" y="61"/>
                  </a:cubicBezTo>
                  <a:cubicBezTo>
                    <a:pt x="1042" y="389"/>
                    <a:pt x="1042" y="389"/>
                    <a:pt x="1042" y="389"/>
                  </a:cubicBezTo>
                  <a:cubicBezTo>
                    <a:pt x="1221" y="389"/>
                    <a:pt x="1221" y="389"/>
                    <a:pt x="1221" y="389"/>
                  </a:cubicBezTo>
                  <a:lnTo>
                    <a:pt x="1221" y="79"/>
                  </a:lnTo>
                  <a:close/>
                  <a:moveTo>
                    <a:pt x="1445" y="146"/>
                  </a:moveTo>
                  <a:cubicBezTo>
                    <a:pt x="1387" y="122"/>
                    <a:pt x="1327" y="103"/>
                    <a:pt x="1265" y="88"/>
                  </a:cubicBezTo>
                  <a:cubicBezTo>
                    <a:pt x="1265" y="389"/>
                    <a:pt x="1265" y="389"/>
                    <a:pt x="1265" y="389"/>
                  </a:cubicBezTo>
                  <a:cubicBezTo>
                    <a:pt x="1445" y="389"/>
                    <a:pt x="1445" y="389"/>
                    <a:pt x="1445" y="389"/>
                  </a:cubicBezTo>
                  <a:lnTo>
                    <a:pt x="1445" y="146"/>
                  </a:lnTo>
                  <a:close/>
                  <a:moveTo>
                    <a:pt x="2018" y="889"/>
                  </a:moveTo>
                  <a:cubicBezTo>
                    <a:pt x="2002" y="889"/>
                    <a:pt x="2002" y="889"/>
                    <a:pt x="2002" y="889"/>
                  </a:cubicBezTo>
                  <a:cubicBezTo>
                    <a:pt x="2002" y="847"/>
                    <a:pt x="2002" y="847"/>
                    <a:pt x="2002" y="847"/>
                  </a:cubicBezTo>
                  <a:cubicBezTo>
                    <a:pt x="2002" y="834"/>
                    <a:pt x="1992" y="824"/>
                    <a:pt x="1979" y="824"/>
                  </a:cubicBezTo>
                  <a:cubicBezTo>
                    <a:pt x="1670" y="824"/>
                    <a:pt x="1670" y="824"/>
                    <a:pt x="1670" y="824"/>
                  </a:cubicBezTo>
                  <a:cubicBezTo>
                    <a:pt x="1657" y="824"/>
                    <a:pt x="1647" y="834"/>
                    <a:pt x="1647" y="847"/>
                  </a:cubicBezTo>
                  <a:cubicBezTo>
                    <a:pt x="1647" y="889"/>
                    <a:pt x="1647" y="889"/>
                    <a:pt x="1647" y="889"/>
                  </a:cubicBezTo>
                  <a:cubicBezTo>
                    <a:pt x="1631" y="889"/>
                    <a:pt x="1631" y="889"/>
                    <a:pt x="1631" y="889"/>
                  </a:cubicBezTo>
                  <a:cubicBezTo>
                    <a:pt x="1619" y="889"/>
                    <a:pt x="1609" y="899"/>
                    <a:pt x="1609" y="911"/>
                  </a:cubicBezTo>
                  <a:cubicBezTo>
                    <a:pt x="1609" y="970"/>
                    <a:pt x="1609" y="970"/>
                    <a:pt x="1609" y="970"/>
                  </a:cubicBezTo>
                  <a:cubicBezTo>
                    <a:pt x="1609" y="982"/>
                    <a:pt x="1619" y="992"/>
                    <a:pt x="1631" y="992"/>
                  </a:cubicBezTo>
                  <a:cubicBezTo>
                    <a:pt x="1670" y="992"/>
                    <a:pt x="1670" y="992"/>
                    <a:pt x="1670" y="992"/>
                  </a:cubicBezTo>
                  <a:cubicBezTo>
                    <a:pt x="1979" y="992"/>
                    <a:pt x="1979" y="992"/>
                    <a:pt x="1979" y="992"/>
                  </a:cubicBezTo>
                  <a:cubicBezTo>
                    <a:pt x="2018" y="992"/>
                    <a:pt x="2018" y="992"/>
                    <a:pt x="2018" y="992"/>
                  </a:cubicBezTo>
                  <a:cubicBezTo>
                    <a:pt x="2030" y="992"/>
                    <a:pt x="2040" y="982"/>
                    <a:pt x="2040" y="970"/>
                  </a:cubicBezTo>
                  <a:cubicBezTo>
                    <a:pt x="2040" y="911"/>
                    <a:pt x="2040" y="911"/>
                    <a:pt x="2040" y="911"/>
                  </a:cubicBezTo>
                  <a:cubicBezTo>
                    <a:pt x="2040" y="899"/>
                    <a:pt x="2030" y="889"/>
                    <a:pt x="2018" y="889"/>
                  </a:cubicBezTo>
                  <a:close/>
                  <a:moveTo>
                    <a:pt x="197" y="14"/>
                  </a:moveTo>
                  <a:cubicBezTo>
                    <a:pt x="152" y="87"/>
                    <a:pt x="152" y="87"/>
                    <a:pt x="152" y="87"/>
                  </a:cubicBezTo>
                  <a:cubicBezTo>
                    <a:pt x="279" y="87"/>
                    <a:pt x="279" y="87"/>
                    <a:pt x="279" y="87"/>
                  </a:cubicBezTo>
                  <a:cubicBezTo>
                    <a:pt x="234" y="14"/>
                    <a:pt x="234" y="14"/>
                    <a:pt x="234" y="14"/>
                  </a:cubicBezTo>
                  <a:cubicBezTo>
                    <a:pt x="226" y="0"/>
                    <a:pt x="205" y="0"/>
                    <a:pt x="197" y="14"/>
                  </a:cubicBezTo>
                  <a:close/>
                  <a:moveTo>
                    <a:pt x="1806" y="14"/>
                  </a:moveTo>
                  <a:cubicBezTo>
                    <a:pt x="1761" y="87"/>
                    <a:pt x="1761" y="87"/>
                    <a:pt x="1761" y="87"/>
                  </a:cubicBezTo>
                  <a:cubicBezTo>
                    <a:pt x="1888" y="87"/>
                    <a:pt x="1888" y="87"/>
                    <a:pt x="1888" y="87"/>
                  </a:cubicBezTo>
                  <a:cubicBezTo>
                    <a:pt x="1843" y="14"/>
                    <a:pt x="1843" y="14"/>
                    <a:pt x="1843" y="14"/>
                  </a:cubicBezTo>
                  <a:cubicBezTo>
                    <a:pt x="1835" y="0"/>
                    <a:pt x="1814" y="0"/>
                    <a:pt x="1806" y="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C1AD3CF0-268D-4112-96E0-DAD930A6119D}"/>
              </a:ext>
            </a:extLst>
          </p:cNvPr>
          <p:cNvSpPr/>
          <p:nvPr/>
        </p:nvSpPr>
        <p:spPr>
          <a:xfrm>
            <a:off x="4666247" y="164431"/>
            <a:ext cx="3390900" cy="9144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Wy- transport</a:t>
            </a:r>
          </a:p>
        </p:txBody>
      </p:sp>
    </p:spTree>
    <p:extLst>
      <p:ext uri="{BB962C8B-B14F-4D97-AF65-F5344CB8AC3E}">
        <p14:creationId xmlns:p14="http://schemas.microsoft.com/office/powerpoint/2010/main" val="539976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060F76C-B373-4927-99B2-142375D349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6" name="think-cell Slide" r:id="rId4" imgW="351" imgH="351" progId="TCLayout.ActiveDocument.1">
                  <p:embed/>
                </p:oleObj>
              </mc:Choice>
              <mc:Fallback>
                <p:oleObj name="think-cell Slide" r:id="rId4" imgW="351" imgH="351" progId="TCLayout.ActiveDocument.1">
                  <p:embed/>
                  <p:pic>
                    <p:nvPicPr>
                      <p:cNvPr id="28" name="Object 27" hidden="1">
                        <a:extLst>
                          <a:ext uri="{FF2B5EF4-FFF2-40B4-BE49-F238E27FC236}">
                            <a16:creationId xmlns:a16="http://schemas.microsoft.com/office/drawing/2014/main" id="{7060F76C-B373-4927-99B2-142375D349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D7658774-7C5D-470E-9611-D078B29F1C08}"/>
              </a:ext>
            </a:extLst>
          </p:cNvPr>
          <p:cNvSpPr txBox="1">
            <a:spLocks/>
          </p:cNvSpPr>
          <p:nvPr/>
        </p:nvSpPr>
        <p:spPr>
          <a:xfrm>
            <a:off x="630000" y="621218"/>
            <a:ext cx="6388868"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solidFill>
                <a:latin typeface="+mj-lt"/>
                <a:ea typeface="+mj-ea"/>
                <a:cs typeface="+mj-cs"/>
                <a:sym typeface="Trebuchet MS" panose="020B0603020202020204" pitchFamily="34" charset="0"/>
              </a:defRPr>
            </a:lvl1pPr>
          </a:lstStyle>
          <a:p>
            <a:r>
              <a:rPr lang="en-US" sz="2800">
                <a:solidFill>
                  <a:srgbClr val="171D3C"/>
                </a:solidFill>
                <a:latin typeface="Trebuchet MS" panose="020B0603020202020204" pitchFamily="34" charset="0"/>
              </a:rPr>
              <a:t>Based on our analysis,</a:t>
            </a:r>
            <a:br>
              <a:rPr lang="en-US" sz="2800">
                <a:solidFill>
                  <a:srgbClr val="171D3C"/>
                </a:solidFill>
                <a:latin typeface="Trebuchet MS" panose="020B0603020202020204" pitchFamily="34" charset="0"/>
              </a:rPr>
            </a:br>
            <a:r>
              <a:rPr lang="en-US" sz="2800">
                <a:solidFill>
                  <a:srgbClr val="171D3C"/>
                </a:solidFill>
                <a:latin typeface="Trebuchet MS" panose="020B0603020202020204" pitchFamily="34" charset="0"/>
              </a:rPr>
              <a:t>we propose..</a:t>
            </a:r>
            <a:endParaRPr lang="en-US" sz="2800">
              <a:solidFill>
                <a:srgbClr val="171D3C"/>
              </a:solidFill>
            </a:endParaRPr>
          </a:p>
        </p:txBody>
      </p:sp>
      <p:sp>
        <p:nvSpPr>
          <p:cNvPr id="4" name="TextBox 3">
            <a:extLst>
              <a:ext uri="{FF2B5EF4-FFF2-40B4-BE49-F238E27FC236}">
                <a16:creationId xmlns:a16="http://schemas.microsoft.com/office/drawing/2014/main" id="{C3F6C5B1-254F-4FE6-BDCC-5FB9103008E3}"/>
              </a:ext>
            </a:extLst>
          </p:cNvPr>
          <p:cNvSpPr txBox="1"/>
          <p:nvPr/>
        </p:nvSpPr>
        <p:spPr>
          <a:xfrm>
            <a:off x="1696252" y="2430428"/>
            <a:ext cx="5175516" cy="10098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rgbClr val="DF2A6F"/>
              </a:buClr>
              <a:buSzPct val="100000"/>
              <a:buFont typeface="Trebuchet MS" panose="020B0603020202020204" pitchFamily="34" charset="0"/>
              <a:buChar char="​"/>
            </a:pPr>
            <a:r>
              <a:rPr lang="en-US" sz="1200">
                <a:solidFill>
                  <a:srgbClr val="575757"/>
                </a:solidFill>
                <a:latin typeface="Trebuchet MS"/>
              </a:rPr>
              <a:t>Describe the model or solution that the team has created. Include only relevant details such as :</a:t>
            </a:r>
          </a:p>
          <a:p>
            <a:pPr marL="323850" lvl="1" indent="-215900">
              <a:buClr>
                <a:schemeClr val="tx2"/>
              </a:buClr>
              <a:buSzPct val="100000"/>
              <a:buFont typeface="Trebuchet MS" panose="020B0603020202020204" pitchFamily="34" charset="0"/>
              <a:buChar char="•"/>
            </a:pPr>
            <a:r>
              <a:rPr lang="en-US" sz="1200">
                <a:solidFill>
                  <a:schemeClr val="tx1"/>
                </a:solidFill>
                <a:latin typeface="Trebuchet MS"/>
              </a:rPr>
              <a:t>How does it work?</a:t>
            </a:r>
            <a:r>
              <a:rPr lang="en-US" sz="1200">
                <a:solidFill>
                  <a:srgbClr val="FF0000"/>
                </a:solidFill>
                <a:latin typeface="Trebuchet MS"/>
              </a:rPr>
              <a:t> - Predictive model to increase bus demand during hotel check-in/out timings </a:t>
            </a:r>
            <a:endParaRPr lang="en-US" sz="1200">
              <a:solidFill>
                <a:srgbClr val="FF0000"/>
              </a:solidFill>
              <a:latin typeface="Trebuchet MS" panose="020B0603020202020204" pitchFamily="34" charset="0"/>
            </a:endParaRPr>
          </a:p>
          <a:p>
            <a:pPr marL="323850" lvl="1" indent="-215900">
              <a:buClr>
                <a:schemeClr val="tx2"/>
              </a:buClr>
              <a:buSzPct val="100000"/>
              <a:buFont typeface="Trebuchet MS" panose="020B0603020202020204" pitchFamily="34" charset="0"/>
              <a:buChar char="•"/>
            </a:pPr>
            <a:r>
              <a:rPr lang="en-US" sz="1200">
                <a:solidFill>
                  <a:schemeClr val="tx1"/>
                </a:solidFill>
                <a:latin typeface="Trebuchet MS"/>
              </a:rPr>
              <a:t>How is it different compared to the existing stop gaps? </a:t>
            </a:r>
            <a:r>
              <a:rPr lang="en-US" sz="1200">
                <a:solidFill>
                  <a:srgbClr val="FF0000"/>
                </a:solidFill>
                <a:latin typeface="Trebuchet MS"/>
              </a:rPr>
              <a:t>- Reduce in manual radio dispatch for more buses at hotel bus stops</a:t>
            </a:r>
          </a:p>
          <a:p>
            <a:pPr>
              <a:buClr>
                <a:srgbClr val="DF2A6F"/>
              </a:buClr>
              <a:buSzPct val="100000"/>
              <a:buFont typeface="Trebuchet MS" panose="020B0603020202020204" pitchFamily="34" charset="0"/>
              <a:buChar char="​"/>
            </a:pPr>
            <a:r>
              <a:rPr lang="en-US" sz="1200">
                <a:solidFill>
                  <a:srgbClr val="575757"/>
                </a:solidFill>
                <a:latin typeface="Trebuchet MS"/>
              </a:rPr>
              <a:t>If it is a recommendation driven by insights obtained, list the recommendations out. Use simple, clear language</a:t>
            </a:r>
          </a:p>
        </p:txBody>
      </p:sp>
      <p:sp>
        <p:nvSpPr>
          <p:cNvPr id="5" name="Rectangle 4">
            <a:extLst>
              <a:ext uri="{FF2B5EF4-FFF2-40B4-BE49-F238E27FC236}">
                <a16:creationId xmlns:a16="http://schemas.microsoft.com/office/drawing/2014/main" id="{860E882A-0BA4-44D6-AAB6-065F26C5A510}"/>
              </a:ext>
            </a:extLst>
          </p:cNvPr>
          <p:cNvSpPr/>
          <p:nvPr/>
        </p:nvSpPr>
        <p:spPr>
          <a:xfrm>
            <a:off x="1696252" y="2349370"/>
            <a:ext cx="5175516" cy="1647672"/>
          </a:xfrm>
          <a:prstGeom prst="rect">
            <a:avLst/>
          </a:prstGeom>
          <a:noFill/>
          <a:ln w="952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75757"/>
              </a:solidFill>
            </a:endParaRPr>
          </a:p>
        </p:txBody>
      </p:sp>
      <p:sp>
        <p:nvSpPr>
          <p:cNvPr id="6" name="Oval 5">
            <a:extLst>
              <a:ext uri="{FF2B5EF4-FFF2-40B4-BE49-F238E27FC236}">
                <a16:creationId xmlns:a16="http://schemas.microsoft.com/office/drawing/2014/main" id="{C19CDE0B-BC03-436C-B994-4E622170A517}"/>
              </a:ext>
            </a:extLst>
          </p:cNvPr>
          <p:cNvSpPr/>
          <p:nvPr/>
        </p:nvSpPr>
        <p:spPr>
          <a:xfrm>
            <a:off x="630000" y="1739597"/>
            <a:ext cx="898448" cy="898448"/>
          </a:xfrm>
          <a:prstGeom prst="ellipse">
            <a:avLst/>
          </a:prstGeom>
          <a:solidFill>
            <a:srgbClr val="FFFFFF"/>
          </a:solidFill>
          <a:ln w="31750" cap="rnd" cmpd="sng" algn="ctr">
            <a:solidFill>
              <a:srgbClr val="171D3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171D3C"/>
              </a:solidFill>
            </a:endParaRPr>
          </a:p>
        </p:txBody>
      </p:sp>
      <p:sp>
        <p:nvSpPr>
          <p:cNvPr id="7" name="TextBox 6">
            <a:extLst>
              <a:ext uri="{FF2B5EF4-FFF2-40B4-BE49-F238E27FC236}">
                <a16:creationId xmlns:a16="http://schemas.microsoft.com/office/drawing/2014/main" id="{E61FCFC1-D89A-45B3-AC51-C90F2B6D8A09}"/>
              </a:ext>
            </a:extLst>
          </p:cNvPr>
          <p:cNvSpPr txBox="1"/>
          <p:nvPr/>
        </p:nvSpPr>
        <p:spPr>
          <a:xfrm>
            <a:off x="1696252" y="4875067"/>
            <a:ext cx="5175516" cy="10098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rgbClr val="DF2A6F"/>
              </a:buClr>
              <a:buSzPct val="100000"/>
              <a:buFont typeface="Trebuchet MS" panose="020B0603020202020204" pitchFamily="34" charset="0"/>
              <a:buChar char="​"/>
            </a:pPr>
            <a:r>
              <a:rPr lang="en-US" sz="1200">
                <a:solidFill>
                  <a:srgbClr val="575757"/>
                </a:solidFill>
                <a:latin typeface="Trebuchet MS" panose="020B0603020202020204" pitchFamily="34" charset="0"/>
              </a:rPr>
              <a:t>Layout key assumptions made while building the solution/recommendation</a:t>
            </a:r>
          </a:p>
        </p:txBody>
      </p:sp>
      <p:sp>
        <p:nvSpPr>
          <p:cNvPr id="8" name="Rectangle 7">
            <a:extLst>
              <a:ext uri="{FF2B5EF4-FFF2-40B4-BE49-F238E27FC236}">
                <a16:creationId xmlns:a16="http://schemas.microsoft.com/office/drawing/2014/main" id="{0B2D1DB4-275D-4442-B3F2-C378D29324DA}"/>
              </a:ext>
            </a:extLst>
          </p:cNvPr>
          <p:cNvSpPr/>
          <p:nvPr/>
        </p:nvSpPr>
        <p:spPr>
          <a:xfrm>
            <a:off x="1696252" y="4794009"/>
            <a:ext cx="5175516" cy="1647672"/>
          </a:xfrm>
          <a:prstGeom prst="rect">
            <a:avLst/>
          </a:prstGeom>
          <a:noFill/>
          <a:ln w="9525" cap="flat" cmpd="sng" algn="ctr">
            <a:solidFill>
              <a:srgbClr val="9A9A9A"/>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75757"/>
              </a:solidFill>
            </a:endParaRPr>
          </a:p>
        </p:txBody>
      </p:sp>
      <p:sp>
        <p:nvSpPr>
          <p:cNvPr id="9" name="Oval 8">
            <a:extLst>
              <a:ext uri="{FF2B5EF4-FFF2-40B4-BE49-F238E27FC236}">
                <a16:creationId xmlns:a16="http://schemas.microsoft.com/office/drawing/2014/main" id="{266A93B1-3355-4627-BD3B-DFC8B5544E1F}"/>
              </a:ext>
            </a:extLst>
          </p:cNvPr>
          <p:cNvSpPr/>
          <p:nvPr/>
        </p:nvSpPr>
        <p:spPr>
          <a:xfrm>
            <a:off x="630000" y="4184236"/>
            <a:ext cx="898448" cy="898448"/>
          </a:xfrm>
          <a:prstGeom prst="ellipse">
            <a:avLst/>
          </a:prstGeom>
          <a:solidFill>
            <a:srgbClr val="FFFFFF"/>
          </a:solidFill>
          <a:ln w="31750" cap="rnd" cmpd="sng" algn="ctr">
            <a:solidFill>
              <a:srgbClr val="171D3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171D3C"/>
              </a:solidFill>
            </a:endParaRPr>
          </a:p>
        </p:txBody>
      </p:sp>
      <p:sp>
        <p:nvSpPr>
          <p:cNvPr id="11" name="TextBox 10">
            <a:extLst>
              <a:ext uri="{FF2B5EF4-FFF2-40B4-BE49-F238E27FC236}">
                <a16:creationId xmlns:a16="http://schemas.microsoft.com/office/drawing/2014/main" id="{9D81B7B5-01CB-4BA5-9D1A-C59984AF4BF4}"/>
              </a:ext>
            </a:extLst>
          </p:cNvPr>
          <p:cNvSpPr txBox="1"/>
          <p:nvPr/>
        </p:nvSpPr>
        <p:spPr>
          <a:xfrm>
            <a:off x="1622301" y="2021604"/>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rgbClr val="171D3C"/>
                </a:solidFill>
              </a:rPr>
              <a:t>Recommendations/Solution</a:t>
            </a:r>
          </a:p>
        </p:txBody>
      </p:sp>
      <p:sp>
        <p:nvSpPr>
          <p:cNvPr id="12" name="TextBox 11">
            <a:extLst>
              <a:ext uri="{FF2B5EF4-FFF2-40B4-BE49-F238E27FC236}">
                <a16:creationId xmlns:a16="http://schemas.microsoft.com/office/drawing/2014/main" id="{325314B2-7B51-4562-8DBD-8B937B7D6B5C}"/>
              </a:ext>
            </a:extLst>
          </p:cNvPr>
          <p:cNvSpPr txBox="1"/>
          <p:nvPr/>
        </p:nvSpPr>
        <p:spPr>
          <a:xfrm>
            <a:off x="1622301" y="4466243"/>
            <a:ext cx="5370319" cy="334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rgbClr val="171D3C"/>
                </a:solidFill>
              </a:rPr>
              <a:t>Key assumptions</a:t>
            </a:r>
          </a:p>
        </p:txBody>
      </p:sp>
      <p:sp>
        <p:nvSpPr>
          <p:cNvPr id="22" name="Oval 21">
            <a:extLst>
              <a:ext uri="{FF2B5EF4-FFF2-40B4-BE49-F238E27FC236}">
                <a16:creationId xmlns:a16="http://schemas.microsoft.com/office/drawing/2014/main" id="{3AA98577-8E5E-4780-8338-E8987ED34E88}"/>
              </a:ext>
            </a:extLst>
          </p:cNvPr>
          <p:cNvSpPr>
            <a:spLocks noChangeAspect="1"/>
          </p:cNvSpPr>
          <p:nvPr/>
        </p:nvSpPr>
        <p:spPr>
          <a:xfrm>
            <a:off x="8063862" y="622800"/>
            <a:ext cx="1604688" cy="1604688"/>
          </a:xfrm>
          <a:prstGeom prst="ellipse">
            <a:avLst/>
          </a:prstGeom>
          <a:solidFill>
            <a:srgbClr val="FFFFFF"/>
          </a:solidFill>
          <a:ln w="5715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500" b="1" kern="0">
                <a:solidFill>
                  <a:srgbClr val="171D3C"/>
                </a:solidFill>
              </a:rPr>
              <a:t>Y</a:t>
            </a:r>
            <a:r>
              <a:rPr lang="vi-VN" sz="4500" b="1" kern="0">
                <a:solidFill>
                  <a:srgbClr val="171D3C"/>
                </a:solidFill>
              </a:rPr>
              <a:t> M</a:t>
            </a:r>
            <a:br>
              <a:rPr lang="en-US" sz="1200" kern="0">
                <a:solidFill>
                  <a:srgbClr val="171D3C"/>
                </a:solidFill>
              </a:rPr>
            </a:br>
            <a:r>
              <a:rPr lang="en-US" sz="1400" kern="0">
                <a:solidFill>
                  <a:srgbClr val="171D3C"/>
                </a:solidFill>
              </a:rPr>
              <a:t>Citizens</a:t>
            </a:r>
          </a:p>
        </p:txBody>
      </p:sp>
      <p:sp>
        <p:nvSpPr>
          <p:cNvPr id="23" name="Oval 22">
            <a:extLst>
              <a:ext uri="{FF2B5EF4-FFF2-40B4-BE49-F238E27FC236}">
                <a16:creationId xmlns:a16="http://schemas.microsoft.com/office/drawing/2014/main" id="{7D3DBEBA-01F1-4A7A-915D-443493822314}"/>
              </a:ext>
            </a:extLst>
          </p:cNvPr>
          <p:cNvSpPr>
            <a:spLocks noChangeAspect="1"/>
          </p:cNvSpPr>
          <p:nvPr/>
        </p:nvSpPr>
        <p:spPr>
          <a:xfrm>
            <a:off x="8063862" y="2730687"/>
            <a:ext cx="1604688" cy="1604688"/>
          </a:xfrm>
          <a:prstGeom prst="ellipse">
            <a:avLst/>
          </a:prstGeom>
          <a:solidFill>
            <a:srgbClr val="FFFFFF"/>
          </a:solidFill>
          <a:ln w="5715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500" b="1" kern="0">
                <a:solidFill>
                  <a:srgbClr val="171D3C"/>
                </a:solidFill>
              </a:rPr>
              <a:t>5%</a:t>
            </a:r>
          </a:p>
          <a:p>
            <a:pPr algn="ctr"/>
            <a:r>
              <a:rPr lang="en-US" sz="1400" kern="0">
                <a:solidFill>
                  <a:srgbClr val="171D3C"/>
                </a:solidFill>
              </a:rPr>
              <a:t>Per citizen</a:t>
            </a:r>
          </a:p>
        </p:txBody>
      </p:sp>
      <p:sp>
        <p:nvSpPr>
          <p:cNvPr id="24" name="Oval 23">
            <a:extLst>
              <a:ext uri="{FF2B5EF4-FFF2-40B4-BE49-F238E27FC236}">
                <a16:creationId xmlns:a16="http://schemas.microsoft.com/office/drawing/2014/main" id="{5D0552C0-D64E-4804-A073-B5CD8A67D81A}"/>
              </a:ext>
            </a:extLst>
          </p:cNvPr>
          <p:cNvSpPr>
            <a:spLocks noChangeAspect="1"/>
          </p:cNvSpPr>
          <p:nvPr/>
        </p:nvSpPr>
        <p:spPr>
          <a:xfrm>
            <a:off x="8063862" y="4838575"/>
            <a:ext cx="1604688" cy="1604688"/>
          </a:xfrm>
          <a:prstGeom prst="ellipse">
            <a:avLst/>
          </a:prstGeom>
          <a:solidFill>
            <a:srgbClr val="FFFFFF"/>
          </a:solidFill>
          <a:ln w="57150" cap="rnd">
            <a:solidFill>
              <a:srgbClr val="171D3C"/>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4500" b="1" kern="0">
                <a:solidFill>
                  <a:srgbClr val="171D3C"/>
                </a:solidFill>
              </a:rPr>
              <a:t>4</a:t>
            </a:r>
            <a:br>
              <a:rPr lang="en-US" sz="1200" kern="0">
                <a:solidFill>
                  <a:srgbClr val="171D3C"/>
                </a:solidFill>
              </a:rPr>
            </a:br>
            <a:r>
              <a:rPr lang="en-US" sz="1400" kern="0">
                <a:solidFill>
                  <a:srgbClr val="171D3C"/>
                </a:solidFill>
              </a:rPr>
              <a:t>Years</a:t>
            </a:r>
          </a:p>
        </p:txBody>
      </p:sp>
      <p:sp>
        <p:nvSpPr>
          <p:cNvPr id="25" name="TextBox 24">
            <a:extLst>
              <a:ext uri="{FF2B5EF4-FFF2-40B4-BE49-F238E27FC236}">
                <a16:creationId xmlns:a16="http://schemas.microsoft.com/office/drawing/2014/main" id="{EFDD1347-DA96-49CB-9D94-5300B88A9AC4}"/>
              </a:ext>
            </a:extLst>
          </p:cNvPr>
          <p:cNvSpPr txBox="1"/>
          <p:nvPr/>
        </p:nvSpPr>
        <p:spPr>
          <a:xfrm>
            <a:off x="9863145" y="1271256"/>
            <a:ext cx="1676336" cy="307777"/>
          </a:xfrm>
          <a:prstGeom prst="rect">
            <a:avLst/>
          </a:prstGeom>
          <a:noFill/>
        </p:spPr>
        <p:txBody>
          <a:bodyPr wrap="square" rtlCol="0" anchor="ctr">
            <a:spAutoFit/>
          </a:bodyPr>
          <a:lstStyle/>
          <a:p>
            <a:r>
              <a:rPr lang="en-US" sz="1400"/>
              <a:t>Could benefit..</a:t>
            </a:r>
          </a:p>
        </p:txBody>
      </p:sp>
      <p:sp>
        <p:nvSpPr>
          <p:cNvPr id="26" name="TextBox 25">
            <a:extLst>
              <a:ext uri="{FF2B5EF4-FFF2-40B4-BE49-F238E27FC236}">
                <a16:creationId xmlns:a16="http://schemas.microsoft.com/office/drawing/2014/main" id="{8DA87BE8-BA79-42A1-A419-085093B4AA97}"/>
              </a:ext>
            </a:extLst>
          </p:cNvPr>
          <p:cNvSpPr txBox="1"/>
          <p:nvPr/>
        </p:nvSpPr>
        <p:spPr>
          <a:xfrm>
            <a:off x="9863145" y="3271421"/>
            <a:ext cx="1676336" cy="523220"/>
          </a:xfrm>
          <a:prstGeom prst="rect">
            <a:avLst/>
          </a:prstGeom>
          <a:noFill/>
        </p:spPr>
        <p:txBody>
          <a:bodyPr wrap="square" rtlCol="0" anchor="ctr">
            <a:spAutoFit/>
          </a:bodyPr>
          <a:lstStyle/>
          <a:p>
            <a:r>
              <a:rPr lang="en-US" sz="1400"/>
              <a:t>By &lt;incremental benefit&gt; per year</a:t>
            </a:r>
          </a:p>
        </p:txBody>
      </p:sp>
      <p:sp>
        <p:nvSpPr>
          <p:cNvPr id="27" name="TextBox 26">
            <a:extLst>
              <a:ext uri="{FF2B5EF4-FFF2-40B4-BE49-F238E27FC236}">
                <a16:creationId xmlns:a16="http://schemas.microsoft.com/office/drawing/2014/main" id="{4E80A7CA-6CF1-4316-89AE-ECA93D64903C}"/>
              </a:ext>
            </a:extLst>
          </p:cNvPr>
          <p:cNvSpPr txBox="1"/>
          <p:nvPr/>
        </p:nvSpPr>
        <p:spPr>
          <a:xfrm>
            <a:off x="9863145" y="5379309"/>
            <a:ext cx="1676336" cy="523220"/>
          </a:xfrm>
          <a:prstGeom prst="rect">
            <a:avLst/>
          </a:prstGeom>
          <a:noFill/>
        </p:spPr>
        <p:txBody>
          <a:bodyPr wrap="square" rtlCol="0" anchor="ctr">
            <a:spAutoFit/>
          </a:bodyPr>
          <a:lstStyle/>
          <a:p>
            <a:r>
              <a:rPr lang="en-US" sz="1400"/>
              <a:t>Over the next 4 years..</a:t>
            </a:r>
          </a:p>
        </p:txBody>
      </p:sp>
      <p:grpSp>
        <p:nvGrpSpPr>
          <p:cNvPr id="29" name="Group 28">
            <a:extLst>
              <a:ext uri="{FF2B5EF4-FFF2-40B4-BE49-F238E27FC236}">
                <a16:creationId xmlns:a16="http://schemas.microsoft.com/office/drawing/2014/main" id="{CD4A0C46-304C-4267-88B8-C4CD5B48E36C}"/>
              </a:ext>
            </a:extLst>
          </p:cNvPr>
          <p:cNvGrpSpPr>
            <a:grpSpLocks noChangeAspect="1"/>
          </p:cNvGrpSpPr>
          <p:nvPr/>
        </p:nvGrpSpPr>
        <p:grpSpPr>
          <a:xfrm>
            <a:off x="716946" y="1826893"/>
            <a:ext cx="723856" cy="723856"/>
            <a:chOff x="5273675" y="2606675"/>
            <a:chExt cx="1644650" cy="1644650"/>
          </a:xfrm>
        </p:grpSpPr>
        <p:sp>
          <p:nvSpPr>
            <p:cNvPr id="30" name="AutoShape 9">
              <a:extLst>
                <a:ext uri="{FF2B5EF4-FFF2-40B4-BE49-F238E27FC236}">
                  <a16:creationId xmlns:a16="http://schemas.microsoft.com/office/drawing/2014/main" id="{17B45CF7-C495-48AE-AC02-DFE44D9AA20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DF9A2808-690B-45E5-8804-D631721C40D0}"/>
                </a:ext>
              </a:extLst>
            </p:cNvPr>
            <p:cNvGrpSpPr/>
            <p:nvPr/>
          </p:nvGrpSpPr>
          <p:grpSpPr>
            <a:xfrm>
              <a:off x="5399088" y="3084513"/>
              <a:ext cx="1422880" cy="688975"/>
              <a:chOff x="5399088" y="3084513"/>
              <a:chExt cx="1422880" cy="688975"/>
            </a:xfrm>
          </p:grpSpPr>
          <p:sp>
            <p:nvSpPr>
              <p:cNvPr id="32" name="Freeform 10">
                <a:extLst>
                  <a:ext uri="{FF2B5EF4-FFF2-40B4-BE49-F238E27FC236}">
                    <a16:creationId xmlns:a16="http://schemas.microsoft.com/office/drawing/2014/main" id="{FEF8ABD8-34DC-46E1-B676-FDF6250A6CFA}"/>
                  </a:ext>
                </a:extLst>
              </p:cNvPr>
              <p:cNvSpPr>
                <a:spLocks/>
              </p:cNvSpPr>
              <p:nvPr/>
            </p:nvSpPr>
            <p:spPr bwMode="auto">
              <a:xfrm>
                <a:off x="5399088" y="3084513"/>
                <a:ext cx="1422880" cy="688975"/>
              </a:xfrm>
              <a:custGeom>
                <a:avLst/>
                <a:gdLst>
                  <a:gd name="connsiteX0" fmla="*/ 305195 w 1422880"/>
                  <a:gd name="connsiteY0" fmla="*/ 31750 h 688975"/>
                  <a:gd name="connsiteX1" fmla="*/ 31750 w 1422880"/>
                  <a:gd name="connsiteY1" fmla="*/ 344488 h 688975"/>
                  <a:gd name="connsiteX2" fmla="*/ 305195 w 1422880"/>
                  <a:gd name="connsiteY2" fmla="*/ 657225 h 688975"/>
                  <a:gd name="connsiteX3" fmla="*/ 567930 w 1422880"/>
                  <a:gd name="connsiteY3" fmla="*/ 434248 h 688975"/>
                  <a:gd name="connsiteX4" fmla="*/ 1302590 w 1422880"/>
                  <a:gd name="connsiteY4" fmla="*/ 434248 h 688975"/>
                  <a:gd name="connsiteX5" fmla="*/ 1381125 w 1422880"/>
                  <a:gd name="connsiteY5" fmla="*/ 358023 h 688975"/>
                  <a:gd name="connsiteX6" fmla="*/ 1240476 w 1422880"/>
                  <a:gd name="connsiteY6" fmla="*/ 266125 h 688975"/>
                  <a:gd name="connsiteX7" fmla="*/ 1158371 w 1422880"/>
                  <a:gd name="connsiteY7" fmla="*/ 317417 h 688975"/>
                  <a:gd name="connsiteX8" fmla="*/ 1033429 w 1422880"/>
                  <a:gd name="connsiteY8" fmla="*/ 317417 h 688975"/>
                  <a:gd name="connsiteX9" fmla="*/ 1004871 w 1422880"/>
                  <a:gd name="connsiteY9" fmla="*/ 274674 h 688975"/>
                  <a:gd name="connsiteX10" fmla="*/ 919910 w 1422880"/>
                  <a:gd name="connsiteY10" fmla="*/ 274674 h 688975"/>
                  <a:gd name="connsiteX11" fmla="*/ 868506 w 1422880"/>
                  <a:gd name="connsiteY11" fmla="*/ 311718 h 688975"/>
                  <a:gd name="connsiteX12" fmla="*/ 767838 w 1422880"/>
                  <a:gd name="connsiteY12" fmla="*/ 311718 h 688975"/>
                  <a:gd name="connsiteX13" fmla="*/ 716433 w 1422880"/>
                  <a:gd name="connsiteY13" fmla="*/ 249028 h 688975"/>
                  <a:gd name="connsiteX14" fmla="*/ 566503 w 1422880"/>
                  <a:gd name="connsiteY14" fmla="*/ 249028 h 688975"/>
                  <a:gd name="connsiteX15" fmla="*/ 305195 w 1422880"/>
                  <a:gd name="connsiteY15" fmla="*/ 31750 h 688975"/>
                  <a:gd name="connsiteX16" fmla="*/ 304970 w 1422880"/>
                  <a:gd name="connsiteY16" fmla="*/ 0 h 688975"/>
                  <a:gd name="connsiteX17" fmla="*/ 488524 w 1422880"/>
                  <a:gd name="connsiteY17" fmla="*/ 69183 h 688975"/>
                  <a:gd name="connsiteX18" fmla="*/ 585657 w 1422880"/>
                  <a:gd name="connsiteY18" fmla="*/ 207549 h 688975"/>
                  <a:gd name="connsiteX19" fmla="*/ 599942 w 1422880"/>
                  <a:gd name="connsiteY19" fmla="*/ 217534 h 688975"/>
                  <a:gd name="connsiteX20" fmla="*/ 723501 w 1422880"/>
                  <a:gd name="connsiteY20" fmla="*/ 217534 h 688975"/>
                  <a:gd name="connsiteX21" fmla="*/ 735643 w 1422880"/>
                  <a:gd name="connsiteY21" fmla="*/ 223239 h 688975"/>
                  <a:gd name="connsiteX22" fmla="*/ 777781 w 1422880"/>
                  <a:gd name="connsiteY22" fmla="*/ 274592 h 688975"/>
                  <a:gd name="connsiteX23" fmla="*/ 789923 w 1422880"/>
                  <a:gd name="connsiteY23" fmla="*/ 280297 h 688975"/>
                  <a:gd name="connsiteX24" fmla="*/ 852774 w 1422880"/>
                  <a:gd name="connsiteY24" fmla="*/ 280297 h 688975"/>
                  <a:gd name="connsiteX25" fmla="*/ 862059 w 1422880"/>
                  <a:gd name="connsiteY25" fmla="*/ 277445 h 688975"/>
                  <a:gd name="connsiteX26" fmla="*/ 905626 w 1422880"/>
                  <a:gd name="connsiteY26" fmla="*/ 246063 h 688975"/>
                  <a:gd name="connsiteX27" fmla="*/ 914197 w 1422880"/>
                  <a:gd name="connsiteY27" fmla="*/ 243210 h 688975"/>
                  <a:gd name="connsiteX28" fmla="*/ 1013473 w 1422880"/>
                  <a:gd name="connsiteY28" fmla="*/ 243210 h 688975"/>
                  <a:gd name="connsiteX29" fmla="*/ 1027043 w 1422880"/>
                  <a:gd name="connsiteY29" fmla="*/ 250342 h 688975"/>
                  <a:gd name="connsiteX30" fmla="*/ 1046327 w 1422880"/>
                  <a:gd name="connsiteY30" fmla="*/ 278871 h 688975"/>
                  <a:gd name="connsiteX31" fmla="*/ 1059182 w 1422880"/>
                  <a:gd name="connsiteY31" fmla="*/ 286003 h 688975"/>
                  <a:gd name="connsiteX32" fmla="*/ 1144888 w 1422880"/>
                  <a:gd name="connsiteY32" fmla="*/ 286003 h 688975"/>
                  <a:gd name="connsiteX33" fmla="*/ 1152745 w 1422880"/>
                  <a:gd name="connsiteY33" fmla="*/ 283864 h 688975"/>
                  <a:gd name="connsiteX34" fmla="*/ 1232737 w 1422880"/>
                  <a:gd name="connsiteY34" fmla="*/ 234651 h 688975"/>
                  <a:gd name="connsiteX35" fmla="*/ 1249164 w 1422880"/>
                  <a:gd name="connsiteY35" fmla="*/ 234651 h 688975"/>
                  <a:gd name="connsiteX36" fmla="*/ 1415576 w 1422880"/>
                  <a:gd name="connsiteY36" fmla="*/ 343061 h 688975"/>
                  <a:gd name="connsiteX37" fmla="*/ 1417719 w 1422880"/>
                  <a:gd name="connsiteY37" fmla="*/ 367311 h 688975"/>
                  <a:gd name="connsiteX38" fmla="*/ 1319871 w 1422880"/>
                  <a:gd name="connsiteY38" fmla="*/ 461456 h 688975"/>
                  <a:gd name="connsiteX39" fmla="*/ 1309158 w 1422880"/>
                  <a:gd name="connsiteY39" fmla="*/ 465736 h 688975"/>
                  <a:gd name="connsiteX40" fmla="*/ 602798 w 1422880"/>
                  <a:gd name="connsiteY40" fmla="*/ 465736 h 688975"/>
                  <a:gd name="connsiteX41" fmla="*/ 587800 w 1422880"/>
                  <a:gd name="connsiteY41" fmla="*/ 475721 h 688975"/>
                  <a:gd name="connsiteX42" fmla="*/ 490667 w 1422880"/>
                  <a:gd name="connsiteY42" fmla="*/ 617653 h 688975"/>
                  <a:gd name="connsiteX43" fmla="*/ 304970 w 1422880"/>
                  <a:gd name="connsiteY43" fmla="*/ 688975 h 688975"/>
                  <a:gd name="connsiteX44" fmla="*/ 0 w 1422880"/>
                  <a:gd name="connsiteY44" fmla="*/ 344488 h 688975"/>
                  <a:gd name="connsiteX45" fmla="*/ 304970 w 1422880"/>
                  <a:gd name="connsiteY45" fmla="*/ 0 h 68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2880" h="688975">
                    <a:moveTo>
                      <a:pt x="305195" y="31750"/>
                    </a:moveTo>
                    <a:cubicBezTo>
                      <a:pt x="154551" y="31750"/>
                      <a:pt x="31750" y="171378"/>
                      <a:pt x="31750" y="344488"/>
                    </a:cubicBezTo>
                    <a:cubicBezTo>
                      <a:pt x="31750" y="517597"/>
                      <a:pt x="154551" y="657225"/>
                      <a:pt x="305195" y="657225"/>
                    </a:cubicBezTo>
                    <a:cubicBezTo>
                      <a:pt x="429423" y="657225"/>
                      <a:pt x="533661" y="563190"/>
                      <a:pt x="567930" y="434248"/>
                    </a:cubicBezTo>
                    <a:cubicBezTo>
                      <a:pt x="567930" y="434248"/>
                      <a:pt x="567930" y="434248"/>
                      <a:pt x="1302590" y="434248"/>
                    </a:cubicBezTo>
                    <a:cubicBezTo>
                      <a:pt x="1302590" y="434248"/>
                      <a:pt x="1302590" y="434248"/>
                      <a:pt x="1381125" y="358023"/>
                    </a:cubicBezTo>
                    <a:cubicBezTo>
                      <a:pt x="1381125" y="358023"/>
                      <a:pt x="1381125" y="358023"/>
                      <a:pt x="1240476" y="266125"/>
                    </a:cubicBezTo>
                    <a:cubicBezTo>
                      <a:pt x="1240476" y="266125"/>
                      <a:pt x="1240476" y="266125"/>
                      <a:pt x="1158371" y="317417"/>
                    </a:cubicBezTo>
                    <a:cubicBezTo>
                      <a:pt x="1158371" y="317417"/>
                      <a:pt x="1158371" y="317417"/>
                      <a:pt x="1033429" y="317417"/>
                    </a:cubicBezTo>
                    <a:cubicBezTo>
                      <a:pt x="1033429" y="317417"/>
                      <a:pt x="1033429" y="317417"/>
                      <a:pt x="1004871" y="274674"/>
                    </a:cubicBezTo>
                    <a:cubicBezTo>
                      <a:pt x="1004871" y="274674"/>
                      <a:pt x="1004871" y="274674"/>
                      <a:pt x="919910" y="274674"/>
                    </a:cubicBezTo>
                    <a:cubicBezTo>
                      <a:pt x="919910" y="274674"/>
                      <a:pt x="919910" y="274674"/>
                      <a:pt x="868506" y="311718"/>
                    </a:cubicBezTo>
                    <a:cubicBezTo>
                      <a:pt x="868506" y="311718"/>
                      <a:pt x="868506" y="311718"/>
                      <a:pt x="767838" y="311718"/>
                    </a:cubicBezTo>
                    <a:cubicBezTo>
                      <a:pt x="767838" y="311718"/>
                      <a:pt x="767838" y="311718"/>
                      <a:pt x="716433" y="249028"/>
                    </a:cubicBezTo>
                    <a:cubicBezTo>
                      <a:pt x="716433" y="249028"/>
                      <a:pt x="716433" y="249028"/>
                      <a:pt x="566503" y="249028"/>
                    </a:cubicBezTo>
                    <a:cubicBezTo>
                      <a:pt x="530805" y="123648"/>
                      <a:pt x="427281" y="31750"/>
                      <a:pt x="305195" y="31750"/>
                    </a:cubicBezTo>
                    <a:close/>
                    <a:moveTo>
                      <a:pt x="304970" y="0"/>
                    </a:moveTo>
                    <a:cubicBezTo>
                      <a:pt x="371393" y="0"/>
                      <a:pt x="434958" y="24250"/>
                      <a:pt x="488524" y="69183"/>
                    </a:cubicBezTo>
                    <a:cubicBezTo>
                      <a:pt x="531377" y="105557"/>
                      <a:pt x="564231" y="152630"/>
                      <a:pt x="585657" y="207549"/>
                    </a:cubicBezTo>
                    <a:cubicBezTo>
                      <a:pt x="587800" y="213968"/>
                      <a:pt x="593514" y="217534"/>
                      <a:pt x="599942" y="217534"/>
                    </a:cubicBezTo>
                    <a:cubicBezTo>
                      <a:pt x="599942" y="217534"/>
                      <a:pt x="599942" y="217534"/>
                      <a:pt x="723501" y="217534"/>
                    </a:cubicBezTo>
                    <a:cubicBezTo>
                      <a:pt x="728500" y="217534"/>
                      <a:pt x="732786" y="219673"/>
                      <a:pt x="735643" y="223239"/>
                    </a:cubicBezTo>
                    <a:cubicBezTo>
                      <a:pt x="735643" y="223239"/>
                      <a:pt x="735643" y="223239"/>
                      <a:pt x="777781" y="274592"/>
                    </a:cubicBezTo>
                    <a:cubicBezTo>
                      <a:pt x="780638" y="278158"/>
                      <a:pt x="784924" y="280297"/>
                      <a:pt x="789923" y="280297"/>
                    </a:cubicBezTo>
                    <a:cubicBezTo>
                      <a:pt x="789923" y="280297"/>
                      <a:pt x="789923" y="280297"/>
                      <a:pt x="852774" y="280297"/>
                    </a:cubicBezTo>
                    <a:cubicBezTo>
                      <a:pt x="856345" y="280297"/>
                      <a:pt x="859202" y="279584"/>
                      <a:pt x="862059" y="277445"/>
                    </a:cubicBezTo>
                    <a:cubicBezTo>
                      <a:pt x="862059" y="277445"/>
                      <a:pt x="862059" y="277445"/>
                      <a:pt x="905626" y="246063"/>
                    </a:cubicBezTo>
                    <a:cubicBezTo>
                      <a:pt x="907769" y="244636"/>
                      <a:pt x="911340" y="243210"/>
                      <a:pt x="914197" y="243210"/>
                    </a:cubicBezTo>
                    <a:cubicBezTo>
                      <a:pt x="914197" y="243210"/>
                      <a:pt x="914197" y="243210"/>
                      <a:pt x="1013473" y="243210"/>
                    </a:cubicBezTo>
                    <a:cubicBezTo>
                      <a:pt x="1019186" y="243210"/>
                      <a:pt x="1024186" y="246063"/>
                      <a:pt x="1027043" y="250342"/>
                    </a:cubicBezTo>
                    <a:cubicBezTo>
                      <a:pt x="1027043" y="250342"/>
                      <a:pt x="1027043" y="250342"/>
                      <a:pt x="1046327" y="278871"/>
                    </a:cubicBezTo>
                    <a:cubicBezTo>
                      <a:pt x="1049183" y="283864"/>
                      <a:pt x="1054183" y="286003"/>
                      <a:pt x="1059182" y="286003"/>
                    </a:cubicBezTo>
                    <a:cubicBezTo>
                      <a:pt x="1059182" y="286003"/>
                      <a:pt x="1059182" y="286003"/>
                      <a:pt x="1144888" y="286003"/>
                    </a:cubicBezTo>
                    <a:cubicBezTo>
                      <a:pt x="1147745" y="286003"/>
                      <a:pt x="1150602" y="285290"/>
                      <a:pt x="1152745" y="283864"/>
                    </a:cubicBezTo>
                    <a:lnTo>
                      <a:pt x="1232737" y="234651"/>
                    </a:lnTo>
                    <a:cubicBezTo>
                      <a:pt x="1237736" y="231085"/>
                      <a:pt x="1244164" y="231085"/>
                      <a:pt x="1249164" y="234651"/>
                    </a:cubicBezTo>
                    <a:cubicBezTo>
                      <a:pt x="1249164" y="234651"/>
                      <a:pt x="1249164" y="234651"/>
                      <a:pt x="1415576" y="343061"/>
                    </a:cubicBezTo>
                    <a:cubicBezTo>
                      <a:pt x="1424147" y="348767"/>
                      <a:pt x="1425575" y="360179"/>
                      <a:pt x="1417719" y="367311"/>
                    </a:cubicBezTo>
                    <a:cubicBezTo>
                      <a:pt x="1417719" y="367311"/>
                      <a:pt x="1417719" y="367311"/>
                      <a:pt x="1319871" y="461456"/>
                    </a:cubicBezTo>
                    <a:cubicBezTo>
                      <a:pt x="1317014" y="464309"/>
                      <a:pt x="1312729" y="465736"/>
                      <a:pt x="1309158" y="465736"/>
                    </a:cubicBezTo>
                    <a:cubicBezTo>
                      <a:pt x="1309158" y="465736"/>
                      <a:pt x="1309158" y="465736"/>
                      <a:pt x="602798" y="465736"/>
                    </a:cubicBezTo>
                    <a:cubicBezTo>
                      <a:pt x="595656" y="465736"/>
                      <a:pt x="589943" y="470015"/>
                      <a:pt x="587800" y="475721"/>
                    </a:cubicBezTo>
                    <a:cubicBezTo>
                      <a:pt x="567088" y="531353"/>
                      <a:pt x="532805" y="581278"/>
                      <a:pt x="490667" y="617653"/>
                    </a:cubicBezTo>
                    <a:cubicBezTo>
                      <a:pt x="437100" y="664726"/>
                      <a:pt x="372821" y="688975"/>
                      <a:pt x="304970" y="688975"/>
                    </a:cubicBezTo>
                    <a:cubicBezTo>
                      <a:pt x="137130" y="688975"/>
                      <a:pt x="0" y="534919"/>
                      <a:pt x="0" y="344488"/>
                    </a:cubicBezTo>
                    <a:cubicBezTo>
                      <a:pt x="0" y="154770"/>
                      <a:pt x="137130" y="0"/>
                      <a:pt x="30497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3" name="Freeform 11">
                <a:extLst>
                  <a:ext uri="{FF2B5EF4-FFF2-40B4-BE49-F238E27FC236}">
                    <a16:creationId xmlns:a16="http://schemas.microsoft.com/office/drawing/2014/main" id="{9AE9DA96-78B8-41AA-8618-DC672254580D}"/>
                  </a:ext>
                </a:extLst>
              </p:cNvPr>
              <p:cNvSpPr>
                <a:spLocks noChangeArrowheads="1"/>
              </p:cNvSpPr>
              <p:nvPr/>
            </p:nvSpPr>
            <p:spPr bwMode="auto">
              <a:xfrm>
                <a:off x="5459412" y="3146425"/>
                <a:ext cx="1271588" cy="565150"/>
              </a:xfrm>
              <a:custGeom>
                <a:avLst/>
                <a:gdLst>
                  <a:gd name="connsiteX0" fmla="*/ 101600 w 1271588"/>
                  <a:gd name="connsiteY0" fmla="*/ 225425 h 565150"/>
                  <a:gd name="connsiteX1" fmla="*/ 41275 w 1271588"/>
                  <a:gd name="connsiteY1" fmla="*/ 285750 h 565150"/>
                  <a:gd name="connsiteX2" fmla="*/ 101600 w 1271588"/>
                  <a:gd name="connsiteY2" fmla="*/ 346075 h 565150"/>
                  <a:gd name="connsiteX3" fmla="*/ 161925 w 1271588"/>
                  <a:gd name="connsiteY3" fmla="*/ 285750 h 565150"/>
                  <a:gd name="connsiteX4" fmla="*/ 101600 w 1271588"/>
                  <a:gd name="connsiteY4" fmla="*/ 225425 h 565150"/>
                  <a:gd name="connsiteX5" fmla="*/ 512763 w 1271588"/>
                  <a:gd name="connsiteY5" fmla="*/ 217488 h 565150"/>
                  <a:gd name="connsiteX6" fmla="*/ 640543 w 1271588"/>
                  <a:gd name="connsiteY6" fmla="*/ 217488 h 565150"/>
                  <a:gd name="connsiteX7" fmla="*/ 691940 w 1271588"/>
                  <a:gd name="connsiteY7" fmla="*/ 281190 h 565150"/>
                  <a:gd name="connsiteX8" fmla="*/ 818292 w 1271588"/>
                  <a:gd name="connsiteY8" fmla="*/ 281190 h 565150"/>
                  <a:gd name="connsiteX9" fmla="*/ 869689 w 1271588"/>
                  <a:gd name="connsiteY9" fmla="*/ 243971 h 565150"/>
                  <a:gd name="connsiteX10" fmla="*/ 928225 w 1271588"/>
                  <a:gd name="connsiteY10" fmla="*/ 243971 h 565150"/>
                  <a:gd name="connsiteX11" fmla="*/ 956779 w 1271588"/>
                  <a:gd name="connsiteY11" fmla="*/ 286916 h 565150"/>
                  <a:gd name="connsiteX12" fmla="*/ 1107402 w 1271588"/>
                  <a:gd name="connsiteY12" fmla="*/ 286916 h 565150"/>
                  <a:gd name="connsiteX13" fmla="*/ 1180215 w 1271588"/>
                  <a:gd name="connsiteY13" fmla="*/ 241108 h 565150"/>
                  <a:gd name="connsiteX14" fmla="*/ 1271588 w 1271588"/>
                  <a:gd name="connsiteY14" fmla="*/ 301231 h 565150"/>
                  <a:gd name="connsiteX15" fmla="*/ 1230185 w 1271588"/>
                  <a:gd name="connsiteY15" fmla="*/ 341313 h 565150"/>
                  <a:gd name="connsiteX16" fmla="*/ 513477 w 1271588"/>
                  <a:gd name="connsiteY16" fmla="*/ 341313 h 565150"/>
                  <a:gd name="connsiteX17" fmla="*/ 518474 w 1271588"/>
                  <a:gd name="connsiteY17" fmla="*/ 282622 h 565150"/>
                  <a:gd name="connsiteX18" fmla="*/ 512763 w 1271588"/>
                  <a:gd name="connsiteY18" fmla="*/ 217488 h 565150"/>
                  <a:gd name="connsiteX19" fmla="*/ 243682 w 1271588"/>
                  <a:gd name="connsiteY19" fmla="*/ 0 h 565150"/>
                  <a:gd name="connsiteX20" fmla="*/ 487364 w 1271588"/>
                  <a:gd name="connsiteY20" fmla="*/ 282575 h 565150"/>
                  <a:gd name="connsiteX21" fmla="*/ 243682 w 1271588"/>
                  <a:gd name="connsiteY21" fmla="*/ 565150 h 565150"/>
                  <a:gd name="connsiteX22" fmla="*/ 0 w 1271588"/>
                  <a:gd name="connsiteY22" fmla="*/ 282575 h 565150"/>
                  <a:gd name="connsiteX23" fmla="*/ 243682 w 1271588"/>
                  <a:gd name="connsiteY23" fmla="*/ 0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588" h="565150">
                    <a:moveTo>
                      <a:pt x="101600" y="225425"/>
                    </a:moveTo>
                    <a:cubicBezTo>
                      <a:pt x="68283" y="225425"/>
                      <a:pt x="41275" y="252433"/>
                      <a:pt x="41275" y="285750"/>
                    </a:cubicBezTo>
                    <a:cubicBezTo>
                      <a:pt x="41275" y="319067"/>
                      <a:pt x="68283" y="346075"/>
                      <a:pt x="101600" y="346075"/>
                    </a:cubicBezTo>
                    <a:cubicBezTo>
                      <a:pt x="134917" y="346075"/>
                      <a:pt x="161925" y="319067"/>
                      <a:pt x="161925" y="285750"/>
                    </a:cubicBezTo>
                    <a:cubicBezTo>
                      <a:pt x="161925" y="252433"/>
                      <a:pt x="134917" y="225425"/>
                      <a:pt x="101600" y="225425"/>
                    </a:cubicBezTo>
                    <a:close/>
                    <a:moveTo>
                      <a:pt x="512763" y="217488"/>
                    </a:moveTo>
                    <a:cubicBezTo>
                      <a:pt x="512763" y="217488"/>
                      <a:pt x="512763" y="217488"/>
                      <a:pt x="640543" y="217488"/>
                    </a:cubicBezTo>
                    <a:cubicBezTo>
                      <a:pt x="640543" y="217488"/>
                      <a:pt x="640543" y="217488"/>
                      <a:pt x="691940" y="281190"/>
                    </a:cubicBezTo>
                    <a:cubicBezTo>
                      <a:pt x="691940" y="281190"/>
                      <a:pt x="691940" y="281190"/>
                      <a:pt x="818292" y="281190"/>
                    </a:cubicBezTo>
                    <a:cubicBezTo>
                      <a:pt x="818292" y="281190"/>
                      <a:pt x="818292" y="281190"/>
                      <a:pt x="869689" y="243971"/>
                    </a:cubicBezTo>
                    <a:cubicBezTo>
                      <a:pt x="869689" y="243971"/>
                      <a:pt x="869689" y="243971"/>
                      <a:pt x="928225" y="243971"/>
                    </a:cubicBezTo>
                    <a:cubicBezTo>
                      <a:pt x="928225" y="243971"/>
                      <a:pt x="928225" y="243971"/>
                      <a:pt x="956779" y="286916"/>
                    </a:cubicBezTo>
                    <a:cubicBezTo>
                      <a:pt x="956779" y="286916"/>
                      <a:pt x="956779" y="286916"/>
                      <a:pt x="1107402" y="286916"/>
                    </a:cubicBezTo>
                    <a:cubicBezTo>
                      <a:pt x="1107402" y="286916"/>
                      <a:pt x="1107402" y="286916"/>
                      <a:pt x="1180215" y="241108"/>
                    </a:cubicBezTo>
                    <a:cubicBezTo>
                      <a:pt x="1180215" y="241108"/>
                      <a:pt x="1180215" y="241108"/>
                      <a:pt x="1271588" y="301231"/>
                    </a:cubicBezTo>
                    <a:cubicBezTo>
                      <a:pt x="1271588" y="301231"/>
                      <a:pt x="1271588" y="301231"/>
                      <a:pt x="1230185" y="341313"/>
                    </a:cubicBezTo>
                    <a:cubicBezTo>
                      <a:pt x="1230185" y="341313"/>
                      <a:pt x="1230185" y="341313"/>
                      <a:pt x="513477" y="341313"/>
                    </a:cubicBezTo>
                    <a:cubicBezTo>
                      <a:pt x="517046" y="321988"/>
                      <a:pt x="518474" y="302663"/>
                      <a:pt x="518474" y="282622"/>
                    </a:cubicBezTo>
                    <a:cubicBezTo>
                      <a:pt x="518474" y="260433"/>
                      <a:pt x="516333" y="238961"/>
                      <a:pt x="512763" y="217488"/>
                    </a:cubicBezTo>
                    <a:close/>
                    <a:moveTo>
                      <a:pt x="243682" y="0"/>
                    </a:moveTo>
                    <a:cubicBezTo>
                      <a:pt x="378264" y="0"/>
                      <a:pt x="487364" y="126513"/>
                      <a:pt x="487364" y="282575"/>
                    </a:cubicBezTo>
                    <a:cubicBezTo>
                      <a:pt x="487364" y="438637"/>
                      <a:pt x="378264" y="565150"/>
                      <a:pt x="243682" y="565150"/>
                    </a:cubicBezTo>
                    <a:cubicBezTo>
                      <a:pt x="109100" y="565150"/>
                      <a:pt x="0" y="438637"/>
                      <a:pt x="0" y="282575"/>
                    </a:cubicBezTo>
                    <a:cubicBezTo>
                      <a:pt x="0" y="126513"/>
                      <a:pt x="109100" y="0"/>
                      <a:pt x="24368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34" name="bcgIcons_Bridge">
            <a:extLst>
              <a:ext uri="{FF2B5EF4-FFF2-40B4-BE49-F238E27FC236}">
                <a16:creationId xmlns:a16="http://schemas.microsoft.com/office/drawing/2014/main" id="{4087CC36-C158-47EB-BAF4-D71516D3E5DA}"/>
              </a:ext>
            </a:extLst>
          </p:cNvPr>
          <p:cNvGrpSpPr>
            <a:grpSpLocks noChangeAspect="1"/>
          </p:cNvGrpSpPr>
          <p:nvPr/>
        </p:nvGrpSpPr>
        <p:grpSpPr bwMode="auto">
          <a:xfrm>
            <a:off x="717632" y="4271532"/>
            <a:ext cx="723186" cy="723856"/>
            <a:chOff x="1682" y="0"/>
            <a:chExt cx="4316" cy="4320"/>
          </a:xfrm>
        </p:grpSpPr>
        <p:sp>
          <p:nvSpPr>
            <p:cNvPr id="35" name="AutoShape 8">
              <a:extLst>
                <a:ext uri="{FF2B5EF4-FFF2-40B4-BE49-F238E27FC236}">
                  <a16:creationId xmlns:a16="http://schemas.microsoft.com/office/drawing/2014/main" id="{C8A9EE77-1AC9-4213-AF80-C7EDCFBF5CC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a:extLst>
                <a:ext uri="{FF2B5EF4-FFF2-40B4-BE49-F238E27FC236}">
                  <a16:creationId xmlns:a16="http://schemas.microsoft.com/office/drawing/2014/main" id="{AF02EFF0-6E9C-43C8-85B0-5CA19ABBAA6E}"/>
                </a:ext>
              </a:extLst>
            </p:cNvPr>
            <p:cNvSpPr>
              <a:spLocks noEditPoints="1"/>
            </p:cNvSpPr>
            <p:nvPr/>
          </p:nvSpPr>
          <p:spPr bwMode="auto">
            <a:xfrm>
              <a:off x="2096" y="1481"/>
              <a:ext cx="3492" cy="1212"/>
            </a:xfrm>
            <a:custGeom>
              <a:avLst/>
              <a:gdLst>
                <a:gd name="T0" fmla="*/ 196 w 1864"/>
                <a:gd name="T1" fmla="*/ 0 h 646"/>
                <a:gd name="T2" fmla="*/ 59 w 1864"/>
                <a:gd name="T3" fmla="*/ 0 h 646"/>
                <a:gd name="T4" fmla="*/ 0 w 1864"/>
                <a:gd name="T5" fmla="*/ 646 h 646"/>
                <a:gd name="T6" fmla="*/ 255 w 1864"/>
                <a:gd name="T7" fmla="*/ 646 h 646"/>
                <a:gd name="T8" fmla="*/ 196 w 1864"/>
                <a:gd name="T9" fmla="*/ 0 h 646"/>
                <a:gd name="T10" fmla="*/ 128 w 1864"/>
                <a:gd name="T11" fmla="*/ 119 h 646"/>
                <a:gd name="T12" fmla="*/ 98 w 1864"/>
                <a:gd name="T13" fmla="*/ 90 h 646"/>
                <a:gd name="T14" fmla="*/ 128 w 1864"/>
                <a:gd name="T15" fmla="*/ 61 h 646"/>
                <a:gd name="T16" fmla="*/ 157 w 1864"/>
                <a:gd name="T17" fmla="*/ 90 h 646"/>
                <a:gd name="T18" fmla="*/ 128 w 1864"/>
                <a:gd name="T19" fmla="*/ 119 h 646"/>
                <a:gd name="T20" fmla="*/ 1805 w 1864"/>
                <a:gd name="T21" fmla="*/ 0 h 646"/>
                <a:gd name="T22" fmla="*/ 1668 w 1864"/>
                <a:gd name="T23" fmla="*/ 0 h 646"/>
                <a:gd name="T24" fmla="*/ 1609 w 1864"/>
                <a:gd name="T25" fmla="*/ 646 h 646"/>
                <a:gd name="T26" fmla="*/ 1864 w 1864"/>
                <a:gd name="T27" fmla="*/ 646 h 646"/>
                <a:gd name="T28" fmla="*/ 1805 w 1864"/>
                <a:gd name="T29" fmla="*/ 0 h 646"/>
                <a:gd name="T30" fmla="*/ 1736 w 1864"/>
                <a:gd name="T31" fmla="*/ 119 h 646"/>
                <a:gd name="T32" fmla="*/ 1707 w 1864"/>
                <a:gd name="T33" fmla="*/ 90 h 646"/>
                <a:gd name="T34" fmla="*/ 1736 w 1864"/>
                <a:gd name="T35" fmla="*/ 61 h 646"/>
                <a:gd name="T36" fmla="*/ 1766 w 1864"/>
                <a:gd name="T37" fmla="*/ 90 h 646"/>
                <a:gd name="T38" fmla="*/ 1736 w 1864"/>
                <a:gd name="T39" fmla="*/ 11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64" h="646">
                  <a:moveTo>
                    <a:pt x="196" y="0"/>
                  </a:moveTo>
                  <a:cubicBezTo>
                    <a:pt x="59" y="0"/>
                    <a:pt x="59" y="0"/>
                    <a:pt x="59" y="0"/>
                  </a:cubicBezTo>
                  <a:cubicBezTo>
                    <a:pt x="0" y="646"/>
                    <a:pt x="0" y="646"/>
                    <a:pt x="0" y="646"/>
                  </a:cubicBezTo>
                  <a:cubicBezTo>
                    <a:pt x="255" y="646"/>
                    <a:pt x="255" y="646"/>
                    <a:pt x="255" y="646"/>
                  </a:cubicBezTo>
                  <a:lnTo>
                    <a:pt x="196" y="0"/>
                  </a:lnTo>
                  <a:close/>
                  <a:moveTo>
                    <a:pt x="128" y="119"/>
                  </a:moveTo>
                  <a:cubicBezTo>
                    <a:pt x="111" y="119"/>
                    <a:pt x="98" y="106"/>
                    <a:pt x="98" y="90"/>
                  </a:cubicBezTo>
                  <a:cubicBezTo>
                    <a:pt x="98" y="74"/>
                    <a:pt x="111" y="61"/>
                    <a:pt x="128" y="61"/>
                  </a:cubicBezTo>
                  <a:cubicBezTo>
                    <a:pt x="144" y="61"/>
                    <a:pt x="157" y="74"/>
                    <a:pt x="157" y="90"/>
                  </a:cubicBezTo>
                  <a:cubicBezTo>
                    <a:pt x="157" y="106"/>
                    <a:pt x="144" y="119"/>
                    <a:pt x="128" y="119"/>
                  </a:cubicBezTo>
                  <a:close/>
                  <a:moveTo>
                    <a:pt x="1805" y="0"/>
                  </a:moveTo>
                  <a:cubicBezTo>
                    <a:pt x="1668" y="0"/>
                    <a:pt x="1668" y="0"/>
                    <a:pt x="1668" y="0"/>
                  </a:cubicBezTo>
                  <a:cubicBezTo>
                    <a:pt x="1609" y="646"/>
                    <a:pt x="1609" y="646"/>
                    <a:pt x="1609" y="646"/>
                  </a:cubicBezTo>
                  <a:cubicBezTo>
                    <a:pt x="1864" y="646"/>
                    <a:pt x="1864" y="646"/>
                    <a:pt x="1864" y="646"/>
                  </a:cubicBezTo>
                  <a:lnTo>
                    <a:pt x="1805" y="0"/>
                  </a:lnTo>
                  <a:close/>
                  <a:moveTo>
                    <a:pt x="1736" y="119"/>
                  </a:moveTo>
                  <a:cubicBezTo>
                    <a:pt x="1720" y="119"/>
                    <a:pt x="1707" y="106"/>
                    <a:pt x="1707" y="90"/>
                  </a:cubicBezTo>
                  <a:cubicBezTo>
                    <a:pt x="1707" y="74"/>
                    <a:pt x="1720" y="61"/>
                    <a:pt x="1736" y="61"/>
                  </a:cubicBezTo>
                  <a:cubicBezTo>
                    <a:pt x="1753" y="61"/>
                    <a:pt x="1766" y="74"/>
                    <a:pt x="1766" y="90"/>
                  </a:cubicBezTo>
                  <a:cubicBezTo>
                    <a:pt x="1766" y="106"/>
                    <a:pt x="1753" y="119"/>
                    <a:pt x="1736" y="1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C78C1F41-D326-406C-8323-0F1934BF9614}"/>
                </a:ext>
              </a:extLst>
            </p:cNvPr>
            <p:cNvSpPr>
              <a:spLocks noEditPoints="1"/>
            </p:cNvSpPr>
            <p:nvPr/>
          </p:nvSpPr>
          <p:spPr bwMode="auto">
            <a:xfrm>
              <a:off x="1931" y="1236"/>
              <a:ext cx="3822" cy="1860"/>
            </a:xfrm>
            <a:custGeom>
              <a:avLst/>
              <a:gdLst>
                <a:gd name="T0" fmla="*/ 431 w 2040"/>
                <a:gd name="T1" fmla="*/ 970 h 992"/>
                <a:gd name="T2" fmla="*/ 370 w 2040"/>
                <a:gd name="T3" fmla="*/ 992 h 992"/>
                <a:gd name="T4" fmla="*/ 22 w 2040"/>
                <a:gd name="T5" fmla="*/ 992 h 992"/>
                <a:gd name="T6" fmla="*/ 0 w 2040"/>
                <a:gd name="T7" fmla="*/ 911 h 992"/>
                <a:gd name="T8" fmla="*/ 38 w 2040"/>
                <a:gd name="T9" fmla="*/ 889 h 992"/>
                <a:gd name="T10" fmla="*/ 61 w 2040"/>
                <a:gd name="T11" fmla="*/ 824 h 992"/>
                <a:gd name="T12" fmla="*/ 393 w 2040"/>
                <a:gd name="T13" fmla="*/ 847 h 992"/>
                <a:gd name="T14" fmla="*/ 409 w 2040"/>
                <a:gd name="T15" fmla="*/ 889 h 992"/>
                <a:gd name="T16" fmla="*/ 1684 w 2040"/>
                <a:gd name="T17" fmla="*/ 433 h 992"/>
                <a:gd name="T18" fmla="*/ 352 w 2040"/>
                <a:gd name="T19" fmla="*/ 389 h 992"/>
                <a:gd name="T20" fmla="*/ 551 w 2040"/>
                <a:gd name="T21" fmla="*/ 166 h 992"/>
                <a:gd name="T22" fmla="*/ 339 w 2040"/>
                <a:gd name="T23" fmla="*/ 244 h 992"/>
                <a:gd name="T24" fmla="*/ 568 w 2040"/>
                <a:gd name="T25" fmla="*/ 110 h 992"/>
                <a:gd name="T26" fmla="*/ 1472 w 2040"/>
                <a:gd name="T27" fmla="*/ 110 h 992"/>
                <a:gd name="T28" fmla="*/ 1701 w 2040"/>
                <a:gd name="T29" fmla="*/ 244 h 992"/>
                <a:gd name="T30" fmla="*/ 1489 w 2040"/>
                <a:gd name="T31" fmla="*/ 166 h 992"/>
                <a:gd name="T32" fmla="*/ 1688 w 2040"/>
                <a:gd name="T33" fmla="*/ 389 h 992"/>
                <a:gd name="T34" fmla="*/ 775 w 2040"/>
                <a:gd name="T35" fmla="*/ 88 h 992"/>
                <a:gd name="T36" fmla="*/ 595 w 2040"/>
                <a:gd name="T37" fmla="*/ 389 h 992"/>
                <a:gd name="T38" fmla="*/ 775 w 2040"/>
                <a:gd name="T39" fmla="*/ 88 h 992"/>
                <a:gd name="T40" fmla="*/ 819 w 2040"/>
                <a:gd name="T41" fmla="*/ 79 h 992"/>
                <a:gd name="T42" fmla="*/ 998 w 2040"/>
                <a:gd name="T43" fmla="*/ 389 h 992"/>
                <a:gd name="T44" fmla="*/ 1221 w 2040"/>
                <a:gd name="T45" fmla="*/ 79 h 992"/>
                <a:gd name="T46" fmla="*/ 1042 w 2040"/>
                <a:gd name="T47" fmla="*/ 389 h 992"/>
                <a:gd name="T48" fmla="*/ 1221 w 2040"/>
                <a:gd name="T49" fmla="*/ 79 h 992"/>
                <a:gd name="T50" fmla="*/ 1265 w 2040"/>
                <a:gd name="T51" fmla="*/ 88 h 992"/>
                <a:gd name="T52" fmla="*/ 1445 w 2040"/>
                <a:gd name="T53" fmla="*/ 389 h 992"/>
                <a:gd name="T54" fmla="*/ 2018 w 2040"/>
                <a:gd name="T55" fmla="*/ 889 h 992"/>
                <a:gd name="T56" fmla="*/ 2002 w 2040"/>
                <a:gd name="T57" fmla="*/ 847 h 992"/>
                <a:gd name="T58" fmla="*/ 1670 w 2040"/>
                <a:gd name="T59" fmla="*/ 824 h 992"/>
                <a:gd name="T60" fmla="*/ 1647 w 2040"/>
                <a:gd name="T61" fmla="*/ 889 h 992"/>
                <a:gd name="T62" fmla="*/ 1609 w 2040"/>
                <a:gd name="T63" fmla="*/ 911 h 992"/>
                <a:gd name="T64" fmla="*/ 1631 w 2040"/>
                <a:gd name="T65" fmla="*/ 992 h 992"/>
                <a:gd name="T66" fmla="*/ 1979 w 2040"/>
                <a:gd name="T67" fmla="*/ 992 h 992"/>
                <a:gd name="T68" fmla="*/ 2040 w 2040"/>
                <a:gd name="T69" fmla="*/ 970 h 992"/>
                <a:gd name="T70" fmla="*/ 2018 w 2040"/>
                <a:gd name="T71" fmla="*/ 889 h 992"/>
                <a:gd name="T72" fmla="*/ 152 w 2040"/>
                <a:gd name="T73" fmla="*/ 87 h 992"/>
                <a:gd name="T74" fmla="*/ 234 w 2040"/>
                <a:gd name="T75" fmla="*/ 14 h 992"/>
                <a:gd name="T76" fmla="*/ 1806 w 2040"/>
                <a:gd name="T77" fmla="*/ 14 h 992"/>
                <a:gd name="T78" fmla="*/ 1888 w 2040"/>
                <a:gd name="T79" fmla="*/ 87 h 992"/>
                <a:gd name="T80" fmla="*/ 1806 w 2040"/>
                <a:gd name="T81" fmla="*/ 14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40" h="992">
                  <a:moveTo>
                    <a:pt x="431" y="911"/>
                  </a:moveTo>
                  <a:cubicBezTo>
                    <a:pt x="431" y="970"/>
                    <a:pt x="431" y="970"/>
                    <a:pt x="431" y="970"/>
                  </a:cubicBezTo>
                  <a:cubicBezTo>
                    <a:pt x="431" y="982"/>
                    <a:pt x="421" y="992"/>
                    <a:pt x="409" y="992"/>
                  </a:cubicBezTo>
                  <a:cubicBezTo>
                    <a:pt x="370" y="992"/>
                    <a:pt x="370" y="992"/>
                    <a:pt x="370" y="992"/>
                  </a:cubicBezTo>
                  <a:cubicBezTo>
                    <a:pt x="61" y="992"/>
                    <a:pt x="61" y="992"/>
                    <a:pt x="61" y="992"/>
                  </a:cubicBezTo>
                  <a:cubicBezTo>
                    <a:pt x="22" y="992"/>
                    <a:pt x="22" y="992"/>
                    <a:pt x="22" y="992"/>
                  </a:cubicBezTo>
                  <a:cubicBezTo>
                    <a:pt x="10" y="992"/>
                    <a:pt x="0" y="982"/>
                    <a:pt x="0" y="970"/>
                  </a:cubicBezTo>
                  <a:cubicBezTo>
                    <a:pt x="0" y="911"/>
                    <a:pt x="0" y="911"/>
                    <a:pt x="0" y="911"/>
                  </a:cubicBezTo>
                  <a:cubicBezTo>
                    <a:pt x="0" y="899"/>
                    <a:pt x="10" y="889"/>
                    <a:pt x="22" y="889"/>
                  </a:cubicBezTo>
                  <a:cubicBezTo>
                    <a:pt x="38" y="889"/>
                    <a:pt x="38" y="889"/>
                    <a:pt x="38" y="889"/>
                  </a:cubicBezTo>
                  <a:cubicBezTo>
                    <a:pt x="38" y="847"/>
                    <a:pt x="38" y="847"/>
                    <a:pt x="38" y="847"/>
                  </a:cubicBezTo>
                  <a:cubicBezTo>
                    <a:pt x="38" y="834"/>
                    <a:pt x="48" y="824"/>
                    <a:pt x="61" y="824"/>
                  </a:cubicBezTo>
                  <a:cubicBezTo>
                    <a:pt x="370" y="824"/>
                    <a:pt x="370" y="824"/>
                    <a:pt x="370" y="824"/>
                  </a:cubicBezTo>
                  <a:cubicBezTo>
                    <a:pt x="383" y="824"/>
                    <a:pt x="393" y="834"/>
                    <a:pt x="393" y="847"/>
                  </a:cubicBezTo>
                  <a:cubicBezTo>
                    <a:pt x="393" y="889"/>
                    <a:pt x="393" y="889"/>
                    <a:pt x="393" y="889"/>
                  </a:cubicBezTo>
                  <a:cubicBezTo>
                    <a:pt x="409" y="889"/>
                    <a:pt x="409" y="889"/>
                    <a:pt x="409" y="889"/>
                  </a:cubicBezTo>
                  <a:cubicBezTo>
                    <a:pt x="421" y="889"/>
                    <a:pt x="431" y="899"/>
                    <a:pt x="431" y="911"/>
                  </a:cubicBezTo>
                  <a:close/>
                  <a:moveTo>
                    <a:pt x="1684" y="433"/>
                  </a:moveTo>
                  <a:cubicBezTo>
                    <a:pt x="356" y="433"/>
                    <a:pt x="356" y="433"/>
                    <a:pt x="356" y="433"/>
                  </a:cubicBezTo>
                  <a:cubicBezTo>
                    <a:pt x="352" y="389"/>
                    <a:pt x="352" y="389"/>
                    <a:pt x="352" y="389"/>
                  </a:cubicBezTo>
                  <a:cubicBezTo>
                    <a:pt x="551" y="389"/>
                    <a:pt x="551" y="389"/>
                    <a:pt x="551" y="389"/>
                  </a:cubicBezTo>
                  <a:cubicBezTo>
                    <a:pt x="551" y="166"/>
                    <a:pt x="551" y="166"/>
                    <a:pt x="551" y="166"/>
                  </a:cubicBezTo>
                  <a:cubicBezTo>
                    <a:pt x="478" y="201"/>
                    <a:pt x="408" y="244"/>
                    <a:pt x="343" y="296"/>
                  </a:cubicBezTo>
                  <a:cubicBezTo>
                    <a:pt x="339" y="244"/>
                    <a:pt x="339" y="244"/>
                    <a:pt x="339" y="244"/>
                  </a:cubicBezTo>
                  <a:cubicBezTo>
                    <a:pt x="408" y="192"/>
                    <a:pt x="483" y="148"/>
                    <a:pt x="561" y="113"/>
                  </a:cubicBezTo>
                  <a:cubicBezTo>
                    <a:pt x="563" y="112"/>
                    <a:pt x="565" y="111"/>
                    <a:pt x="568" y="110"/>
                  </a:cubicBezTo>
                  <a:cubicBezTo>
                    <a:pt x="709" y="49"/>
                    <a:pt x="862" y="17"/>
                    <a:pt x="1020" y="17"/>
                  </a:cubicBezTo>
                  <a:cubicBezTo>
                    <a:pt x="1178" y="17"/>
                    <a:pt x="1331" y="49"/>
                    <a:pt x="1472" y="110"/>
                  </a:cubicBezTo>
                  <a:cubicBezTo>
                    <a:pt x="1475" y="111"/>
                    <a:pt x="1477" y="112"/>
                    <a:pt x="1479" y="113"/>
                  </a:cubicBezTo>
                  <a:cubicBezTo>
                    <a:pt x="1557" y="148"/>
                    <a:pt x="1632" y="192"/>
                    <a:pt x="1701" y="244"/>
                  </a:cubicBezTo>
                  <a:cubicBezTo>
                    <a:pt x="1697" y="296"/>
                    <a:pt x="1697" y="296"/>
                    <a:pt x="1697" y="296"/>
                  </a:cubicBezTo>
                  <a:cubicBezTo>
                    <a:pt x="1632" y="244"/>
                    <a:pt x="1562" y="201"/>
                    <a:pt x="1489" y="166"/>
                  </a:cubicBezTo>
                  <a:cubicBezTo>
                    <a:pt x="1489" y="389"/>
                    <a:pt x="1489" y="389"/>
                    <a:pt x="1489" y="389"/>
                  </a:cubicBezTo>
                  <a:cubicBezTo>
                    <a:pt x="1688" y="389"/>
                    <a:pt x="1688" y="389"/>
                    <a:pt x="1688" y="389"/>
                  </a:cubicBezTo>
                  <a:lnTo>
                    <a:pt x="1684" y="433"/>
                  </a:lnTo>
                  <a:close/>
                  <a:moveTo>
                    <a:pt x="775" y="88"/>
                  </a:moveTo>
                  <a:cubicBezTo>
                    <a:pt x="713" y="103"/>
                    <a:pt x="653" y="122"/>
                    <a:pt x="595" y="146"/>
                  </a:cubicBezTo>
                  <a:cubicBezTo>
                    <a:pt x="595" y="389"/>
                    <a:pt x="595" y="389"/>
                    <a:pt x="595" y="389"/>
                  </a:cubicBezTo>
                  <a:cubicBezTo>
                    <a:pt x="775" y="389"/>
                    <a:pt x="775" y="389"/>
                    <a:pt x="775" y="389"/>
                  </a:cubicBezTo>
                  <a:lnTo>
                    <a:pt x="775" y="88"/>
                  </a:lnTo>
                  <a:close/>
                  <a:moveTo>
                    <a:pt x="998" y="61"/>
                  </a:moveTo>
                  <a:cubicBezTo>
                    <a:pt x="937" y="62"/>
                    <a:pt x="877" y="68"/>
                    <a:pt x="819" y="79"/>
                  </a:cubicBezTo>
                  <a:cubicBezTo>
                    <a:pt x="819" y="389"/>
                    <a:pt x="819" y="389"/>
                    <a:pt x="819" y="389"/>
                  </a:cubicBezTo>
                  <a:cubicBezTo>
                    <a:pt x="998" y="389"/>
                    <a:pt x="998" y="389"/>
                    <a:pt x="998" y="389"/>
                  </a:cubicBezTo>
                  <a:lnTo>
                    <a:pt x="998" y="61"/>
                  </a:lnTo>
                  <a:close/>
                  <a:moveTo>
                    <a:pt x="1221" y="79"/>
                  </a:moveTo>
                  <a:cubicBezTo>
                    <a:pt x="1163" y="68"/>
                    <a:pt x="1103" y="62"/>
                    <a:pt x="1042" y="61"/>
                  </a:cubicBezTo>
                  <a:cubicBezTo>
                    <a:pt x="1042" y="389"/>
                    <a:pt x="1042" y="389"/>
                    <a:pt x="1042" y="389"/>
                  </a:cubicBezTo>
                  <a:cubicBezTo>
                    <a:pt x="1221" y="389"/>
                    <a:pt x="1221" y="389"/>
                    <a:pt x="1221" y="389"/>
                  </a:cubicBezTo>
                  <a:lnTo>
                    <a:pt x="1221" y="79"/>
                  </a:lnTo>
                  <a:close/>
                  <a:moveTo>
                    <a:pt x="1445" y="146"/>
                  </a:moveTo>
                  <a:cubicBezTo>
                    <a:pt x="1387" y="122"/>
                    <a:pt x="1327" y="103"/>
                    <a:pt x="1265" y="88"/>
                  </a:cubicBezTo>
                  <a:cubicBezTo>
                    <a:pt x="1265" y="389"/>
                    <a:pt x="1265" y="389"/>
                    <a:pt x="1265" y="389"/>
                  </a:cubicBezTo>
                  <a:cubicBezTo>
                    <a:pt x="1445" y="389"/>
                    <a:pt x="1445" y="389"/>
                    <a:pt x="1445" y="389"/>
                  </a:cubicBezTo>
                  <a:lnTo>
                    <a:pt x="1445" y="146"/>
                  </a:lnTo>
                  <a:close/>
                  <a:moveTo>
                    <a:pt x="2018" y="889"/>
                  </a:moveTo>
                  <a:cubicBezTo>
                    <a:pt x="2002" y="889"/>
                    <a:pt x="2002" y="889"/>
                    <a:pt x="2002" y="889"/>
                  </a:cubicBezTo>
                  <a:cubicBezTo>
                    <a:pt x="2002" y="847"/>
                    <a:pt x="2002" y="847"/>
                    <a:pt x="2002" y="847"/>
                  </a:cubicBezTo>
                  <a:cubicBezTo>
                    <a:pt x="2002" y="834"/>
                    <a:pt x="1992" y="824"/>
                    <a:pt x="1979" y="824"/>
                  </a:cubicBezTo>
                  <a:cubicBezTo>
                    <a:pt x="1670" y="824"/>
                    <a:pt x="1670" y="824"/>
                    <a:pt x="1670" y="824"/>
                  </a:cubicBezTo>
                  <a:cubicBezTo>
                    <a:pt x="1657" y="824"/>
                    <a:pt x="1647" y="834"/>
                    <a:pt x="1647" y="847"/>
                  </a:cubicBezTo>
                  <a:cubicBezTo>
                    <a:pt x="1647" y="889"/>
                    <a:pt x="1647" y="889"/>
                    <a:pt x="1647" y="889"/>
                  </a:cubicBezTo>
                  <a:cubicBezTo>
                    <a:pt x="1631" y="889"/>
                    <a:pt x="1631" y="889"/>
                    <a:pt x="1631" y="889"/>
                  </a:cubicBezTo>
                  <a:cubicBezTo>
                    <a:pt x="1619" y="889"/>
                    <a:pt x="1609" y="899"/>
                    <a:pt x="1609" y="911"/>
                  </a:cubicBezTo>
                  <a:cubicBezTo>
                    <a:pt x="1609" y="970"/>
                    <a:pt x="1609" y="970"/>
                    <a:pt x="1609" y="970"/>
                  </a:cubicBezTo>
                  <a:cubicBezTo>
                    <a:pt x="1609" y="982"/>
                    <a:pt x="1619" y="992"/>
                    <a:pt x="1631" y="992"/>
                  </a:cubicBezTo>
                  <a:cubicBezTo>
                    <a:pt x="1670" y="992"/>
                    <a:pt x="1670" y="992"/>
                    <a:pt x="1670" y="992"/>
                  </a:cubicBezTo>
                  <a:cubicBezTo>
                    <a:pt x="1979" y="992"/>
                    <a:pt x="1979" y="992"/>
                    <a:pt x="1979" y="992"/>
                  </a:cubicBezTo>
                  <a:cubicBezTo>
                    <a:pt x="2018" y="992"/>
                    <a:pt x="2018" y="992"/>
                    <a:pt x="2018" y="992"/>
                  </a:cubicBezTo>
                  <a:cubicBezTo>
                    <a:pt x="2030" y="992"/>
                    <a:pt x="2040" y="982"/>
                    <a:pt x="2040" y="970"/>
                  </a:cubicBezTo>
                  <a:cubicBezTo>
                    <a:pt x="2040" y="911"/>
                    <a:pt x="2040" y="911"/>
                    <a:pt x="2040" y="911"/>
                  </a:cubicBezTo>
                  <a:cubicBezTo>
                    <a:pt x="2040" y="899"/>
                    <a:pt x="2030" y="889"/>
                    <a:pt x="2018" y="889"/>
                  </a:cubicBezTo>
                  <a:close/>
                  <a:moveTo>
                    <a:pt x="197" y="14"/>
                  </a:moveTo>
                  <a:cubicBezTo>
                    <a:pt x="152" y="87"/>
                    <a:pt x="152" y="87"/>
                    <a:pt x="152" y="87"/>
                  </a:cubicBezTo>
                  <a:cubicBezTo>
                    <a:pt x="279" y="87"/>
                    <a:pt x="279" y="87"/>
                    <a:pt x="279" y="87"/>
                  </a:cubicBezTo>
                  <a:cubicBezTo>
                    <a:pt x="234" y="14"/>
                    <a:pt x="234" y="14"/>
                    <a:pt x="234" y="14"/>
                  </a:cubicBezTo>
                  <a:cubicBezTo>
                    <a:pt x="226" y="0"/>
                    <a:pt x="205" y="0"/>
                    <a:pt x="197" y="14"/>
                  </a:cubicBezTo>
                  <a:close/>
                  <a:moveTo>
                    <a:pt x="1806" y="14"/>
                  </a:moveTo>
                  <a:cubicBezTo>
                    <a:pt x="1761" y="87"/>
                    <a:pt x="1761" y="87"/>
                    <a:pt x="1761" y="87"/>
                  </a:cubicBezTo>
                  <a:cubicBezTo>
                    <a:pt x="1888" y="87"/>
                    <a:pt x="1888" y="87"/>
                    <a:pt x="1888" y="87"/>
                  </a:cubicBezTo>
                  <a:cubicBezTo>
                    <a:pt x="1843" y="14"/>
                    <a:pt x="1843" y="14"/>
                    <a:pt x="1843" y="14"/>
                  </a:cubicBezTo>
                  <a:cubicBezTo>
                    <a:pt x="1835" y="0"/>
                    <a:pt x="1814" y="0"/>
                    <a:pt x="1806" y="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AC3EABBD-A28C-4169-ACB4-1DE2B8B5843E}"/>
              </a:ext>
            </a:extLst>
          </p:cNvPr>
          <p:cNvSpPr/>
          <p:nvPr/>
        </p:nvSpPr>
        <p:spPr>
          <a:xfrm>
            <a:off x="9898313" y="35761"/>
            <a:ext cx="2224505" cy="612775"/>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Eve - Customer</a:t>
            </a:r>
          </a:p>
        </p:txBody>
      </p:sp>
    </p:spTree>
    <p:extLst>
      <p:ext uri="{BB962C8B-B14F-4D97-AF65-F5344CB8AC3E}">
        <p14:creationId xmlns:p14="http://schemas.microsoft.com/office/powerpoint/2010/main" val="1165460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630000" y="622800"/>
            <a:ext cx="10933350" cy="470898"/>
          </a:xfrm>
        </p:spPr>
        <p:txBody>
          <a:bodyPr/>
          <a:lstStyle/>
          <a:p>
            <a:r>
              <a:rPr lang="en-US">
                <a:solidFill>
                  <a:srgbClr val="002060"/>
                </a:solidFill>
              </a:rPr>
              <a:t>Ridership Peak Periods at all Bus Stops</a:t>
            </a:r>
          </a:p>
        </p:txBody>
      </p:sp>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4" name="TextBox 3">
            <a:extLst>
              <a:ext uri="{FF2B5EF4-FFF2-40B4-BE49-F238E27FC236}">
                <a16:creationId xmlns:a16="http://schemas.microsoft.com/office/drawing/2014/main" id="{215644EC-E1A2-4B5F-BA53-79EB189605EC}"/>
              </a:ext>
            </a:extLst>
          </p:cNvPr>
          <p:cNvSpPr txBox="1"/>
          <p:nvPr/>
        </p:nvSpPr>
        <p:spPr>
          <a:xfrm>
            <a:off x="7889357" y="3750084"/>
            <a:ext cx="3447302" cy="2090119"/>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Sentosa visitors generally prefer to take the bus in the afternoon compared to other times of the day. </a:t>
            </a:r>
            <a:endParaRPr lang="en-US">
              <a:solidFill>
                <a:srgbClr val="FFFFFF"/>
              </a:solidFill>
            </a:endParaRPr>
          </a:p>
          <a:p>
            <a:endParaRPr lang="en-SG" sz="1600">
              <a:solidFill>
                <a:srgbClr val="002060"/>
              </a:solidFill>
            </a:endParaRPr>
          </a:p>
          <a:p>
            <a:r>
              <a:rPr lang="en-SG" sz="1600">
                <a:solidFill>
                  <a:srgbClr val="002060"/>
                </a:solidFill>
              </a:rPr>
              <a:t>This suggests that most of the bus congestion happens in the afternoon.</a:t>
            </a:r>
            <a:endParaRPr lang="en-US">
              <a:solidFill>
                <a:srgbClr val="FFFFFF"/>
              </a:solidFill>
            </a:endParaRPr>
          </a:p>
          <a:p>
            <a:endParaRPr lang="en-SG" sz="1600">
              <a:solidFill>
                <a:srgbClr val="002060"/>
              </a:solidFill>
            </a:endParaRPr>
          </a:p>
        </p:txBody>
      </p:sp>
      <p:pic>
        <p:nvPicPr>
          <p:cNvPr id="6" name="Picture 6" descr="Chart, bar chart&#10;&#10;Description automatically generated">
            <a:extLst>
              <a:ext uri="{FF2B5EF4-FFF2-40B4-BE49-F238E27FC236}">
                <a16:creationId xmlns:a16="http://schemas.microsoft.com/office/drawing/2014/main" id="{BFC712DB-8FC7-4ACB-AF6D-D3D38470A4A2}"/>
              </a:ext>
            </a:extLst>
          </p:cNvPr>
          <p:cNvPicPr>
            <a:picLocks noChangeAspect="1"/>
          </p:cNvPicPr>
          <p:nvPr/>
        </p:nvPicPr>
        <p:blipFill>
          <a:blip r:embed="rId5"/>
          <a:stretch>
            <a:fillRect/>
          </a:stretch>
        </p:blipFill>
        <p:spPr>
          <a:xfrm>
            <a:off x="632884" y="1323378"/>
            <a:ext cx="7035799" cy="451604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Rectangle 6">
            <a:extLst>
              <a:ext uri="{FF2B5EF4-FFF2-40B4-BE49-F238E27FC236}">
                <a16:creationId xmlns:a16="http://schemas.microsoft.com/office/drawing/2014/main" id="{EE72E06D-8EAE-4242-B1FE-DB5A60BCC68C}"/>
              </a:ext>
            </a:extLst>
          </p:cNvPr>
          <p:cNvSpPr/>
          <p:nvPr/>
        </p:nvSpPr>
        <p:spPr>
          <a:xfrm>
            <a:off x="634196" y="3102520"/>
            <a:ext cx="6630918" cy="816950"/>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11" name="TextBox 10">
            <a:extLst>
              <a:ext uri="{FF2B5EF4-FFF2-40B4-BE49-F238E27FC236}">
                <a16:creationId xmlns:a16="http://schemas.microsoft.com/office/drawing/2014/main" id="{7A860165-0B15-49E4-A7ED-826D9540D919}"/>
              </a:ext>
            </a:extLst>
          </p:cNvPr>
          <p:cNvSpPr txBox="1"/>
          <p:nvPr/>
        </p:nvSpPr>
        <p:spPr>
          <a:xfrm>
            <a:off x="480647" y="5946110"/>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
        <p:nvSpPr>
          <p:cNvPr id="3" name="TextBox 2">
            <a:extLst>
              <a:ext uri="{FF2B5EF4-FFF2-40B4-BE49-F238E27FC236}">
                <a16:creationId xmlns:a16="http://schemas.microsoft.com/office/drawing/2014/main" id="{A06E2C6C-AA2D-4DBA-B448-457815C4CAD3}"/>
              </a:ext>
            </a:extLst>
          </p:cNvPr>
          <p:cNvSpPr txBox="1"/>
          <p:nvPr/>
        </p:nvSpPr>
        <p:spPr>
          <a:xfrm>
            <a:off x="-65314" y="2464189"/>
            <a:ext cx="2743199"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rgbClr val="FF0000"/>
                </a:solidFill>
              </a:rPr>
              <a:t>Missing timeslot</a:t>
            </a:r>
          </a:p>
        </p:txBody>
      </p:sp>
    </p:spTree>
    <p:extLst>
      <p:ext uri="{BB962C8B-B14F-4D97-AF65-F5344CB8AC3E}">
        <p14:creationId xmlns:p14="http://schemas.microsoft.com/office/powerpoint/2010/main" val="2160415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5" name="Title 1">
            <a:extLst>
              <a:ext uri="{FF2B5EF4-FFF2-40B4-BE49-F238E27FC236}">
                <a16:creationId xmlns:a16="http://schemas.microsoft.com/office/drawing/2014/main" id="{66362E8C-07A8-4B97-87C8-091A9FDB599A}"/>
              </a:ext>
            </a:extLst>
          </p:cNvPr>
          <p:cNvSpPr txBox="1">
            <a:spLocks/>
          </p:cNvSpPr>
          <p:nvPr/>
        </p:nvSpPr>
        <p:spPr>
          <a:xfrm>
            <a:off x="639292" y="622800"/>
            <a:ext cx="10292156" cy="4708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err="1">
                <a:solidFill>
                  <a:srgbClr val="002060"/>
                </a:solidFill>
                <a:ea typeface="+mj-lt"/>
                <a:cs typeface="+mj-lt"/>
              </a:rPr>
              <a:t>Imbiah</a:t>
            </a:r>
            <a:r>
              <a:rPr lang="en-US">
                <a:solidFill>
                  <a:srgbClr val="002060"/>
                </a:solidFill>
                <a:ea typeface="+mj-lt"/>
                <a:cs typeface="+mj-lt"/>
              </a:rPr>
              <a:t> Lookout is one of the top 3 popular bus stops</a:t>
            </a:r>
            <a:endParaRPr lang="en-US">
              <a:ea typeface="+mj-lt"/>
              <a:cs typeface="+mj-lt"/>
            </a:endParaRPr>
          </a:p>
        </p:txBody>
      </p:sp>
      <p:pic>
        <p:nvPicPr>
          <p:cNvPr id="2" name="Picture 3" descr="Chart, bar chart&#10;&#10;Description automatically generated">
            <a:extLst>
              <a:ext uri="{FF2B5EF4-FFF2-40B4-BE49-F238E27FC236}">
                <a16:creationId xmlns:a16="http://schemas.microsoft.com/office/drawing/2014/main" id="{69CF128B-0B09-4BF1-B2CA-1BA877B1F78B}"/>
              </a:ext>
            </a:extLst>
          </p:cNvPr>
          <p:cNvPicPr>
            <a:picLocks noChangeAspect="1"/>
          </p:cNvPicPr>
          <p:nvPr/>
        </p:nvPicPr>
        <p:blipFill rotWithShape="1">
          <a:blip r:embed="rId5"/>
          <a:srcRect l="3904" r="-126" b="-225"/>
          <a:stretch/>
        </p:blipFill>
        <p:spPr>
          <a:xfrm>
            <a:off x="731039" y="1242637"/>
            <a:ext cx="10294585" cy="49937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TextBox 13">
            <a:extLst>
              <a:ext uri="{FF2B5EF4-FFF2-40B4-BE49-F238E27FC236}">
                <a16:creationId xmlns:a16="http://schemas.microsoft.com/office/drawing/2014/main" id="{3C1C8EDA-91F1-403C-A371-164289F5FB16}"/>
              </a:ext>
            </a:extLst>
          </p:cNvPr>
          <p:cNvSpPr txBox="1"/>
          <p:nvPr/>
        </p:nvSpPr>
        <p:spPr>
          <a:xfrm>
            <a:off x="506176" y="7378954"/>
            <a:ext cx="10641153" cy="873403"/>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err="1">
                <a:solidFill>
                  <a:srgbClr val="002060"/>
                </a:solidFill>
              </a:rPr>
              <a:t>Imbiah</a:t>
            </a:r>
            <a:r>
              <a:rPr lang="en-SG" sz="1600">
                <a:solidFill>
                  <a:srgbClr val="002060"/>
                </a:solidFill>
              </a:rPr>
              <a:t> Lookout and </a:t>
            </a:r>
            <a:r>
              <a:rPr lang="en-SG" sz="1600" err="1">
                <a:solidFill>
                  <a:srgbClr val="002060"/>
                </a:solidFill>
              </a:rPr>
              <a:t>Siloso</a:t>
            </a:r>
            <a:r>
              <a:rPr lang="en-SG" sz="1600">
                <a:solidFill>
                  <a:srgbClr val="002060"/>
                </a:solidFill>
              </a:rPr>
              <a:t> Point are the top bus stops with high popularity among all bus stops</a:t>
            </a:r>
          </a:p>
          <a:p>
            <a:endParaRPr lang="en-SG" sz="1600">
              <a:solidFill>
                <a:srgbClr val="002060"/>
              </a:solidFill>
            </a:endParaRPr>
          </a:p>
          <a:p>
            <a:r>
              <a:rPr lang="en-SG" sz="1600">
                <a:solidFill>
                  <a:srgbClr val="002060"/>
                </a:solidFill>
              </a:rPr>
              <a:t>The popularity factor has a correlation with the total rider. The higher the score, there will be more passengers.</a:t>
            </a:r>
            <a:endParaRPr lang="en-SG"/>
          </a:p>
        </p:txBody>
      </p:sp>
      <p:sp>
        <p:nvSpPr>
          <p:cNvPr id="6" name="Rectangle 5">
            <a:extLst>
              <a:ext uri="{FF2B5EF4-FFF2-40B4-BE49-F238E27FC236}">
                <a16:creationId xmlns:a16="http://schemas.microsoft.com/office/drawing/2014/main" id="{208993E5-B009-40A8-BC89-286E139EA12D}"/>
              </a:ext>
            </a:extLst>
          </p:cNvPr>
          <p:cNvSpPr/>
          <p:nvPr/>
        </p:nvSpPr>
        <p:spPr>
          <a:xfrm>
            <a:off x="1792449" y="1866450"/>
            <a:ext cx="8825486" cy="304590"/>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7" name="TextBox 6">
            <a:extLst>
              <a:ext uri="{FF2B5EF4-FFF2-40B4-BE49-F238E27FC236}">
                <a16:creationId xmlns:a16="http://schemas.microsoft.com/office/drawing/2014/main" id="{94FE5CC3-34DB-4563-9D82-37FBEA4166BF}"/>
              </a:ext>
            </a:extLst>
          </p:cNvPr>
          <p:cNvSpPr txBox="1"/>
          <p:nvPr/>
        </p:nvSpPr>
        <p:spPr>
          <a:xfrm>
            <a:off x="639397" y="6380027"/>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Tree>
    <p:extLst>
      <p:ext uri="{BB962C8B-B14F-4D97-AF65-F5344CB8AC3E}">
        <p14:creationId xmlns:p14="http://schemas.microsoft.com/office/powerpoint/2010/main" val="2316358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630000" y="314142"/>
            <a:ext cx="10933350" cy="470898"/>
          </a:xfrm>
        </p:spPr>
        <p:txBody>
          <a:bodyPr/>
          <a:lstStyle/>
          <a:p>
            <a:r>
              <a:rPr lang="en-US">
                <a:solidFill>
                  <a:srgbClr val="002060"/>
                </a:solidFill>
                <a:ea typeface="+mj-lt"/>
                <a:cs typeface="+mj-lt"/>
              </a:rPr>
              <a:t>Bus Frequency of </a:t>
            </a:r>
            <a:r>
              <a:rPr lang="en-US" err="1">
                <a:solidFill>
                  <a:srgbClr val="002060"/>
                </a:solidFill>
                <a:ea typeface="+mj-lt"/>
                <a:cs typeface="+mj-lt"/>
              </a:rPr>
              <a:t>Imbiah</a:t>
            </a:r>
            <a:r>
              <a:rPr lang="en-US">
                <a:solidFill>
                  <a:srgbClr val="002060"/>
                </a:solidFill>
                <a:ea typeface="+mj-lt"/>
                <a:cs typeface="+mj-lt"/>
              </a:rPr>
              <a:t> Lookout </a:t>
            </a:r>
            <a:endParaRPr lang="en-US">
              <a:ea typeface="+mj-lt"/>
              <a:cs typeface="+mj-lt"/>
            </a:endParaRPr>
          </a:p>
        </p:txBody>
      </p:sp>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3" name="TextBox 2">
            <a:extLst>
              <a:ext uri="{FF2B5EF4-FFF2-40B4-BE49-F238E27FC236}">
                <a16:creationId xmlns:a16="http://schemas.microsoft.com/office/drawing/2014/main" id="{2321500F-B116-49E9-B713-1C89E59A92D6}"/>
              </a:ext>
            </a:extLst>
          </p:cNvPr>
          <p:cNvSpPr txBox="1"/>
          <p:nvPr/>
        </p:nvSpPr>
        <p:spPr>
          <a:xfrm>
            <a:off x="573146" y="911071"/>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u="sng">
                <a:solidFill>
                  <a:srgbClr val="002060"/>
                </a:solidFill>
              </a:rPr>
              <a:t>Weekdays</a:t>
            </a:r>
          </a:p>
        </p:txBody>
      </p:sp>
      <p:sp>
        <p:nvSpPr>
          <p:cNvPr id="12" name="TextBox 11">
            <a:extLst>
              <a:ext uri="{FF2B5EF4-FFF2-40B4-BE49-F238E27FC236}">
                <a16:creationId xmlns:a16="http://schemas.microsoft.com/office/drawing/2014/main" id="{95E46411-4A0C-41AA-9250-790D71323EA7}"/>
              </a:ext>
            </a:extLst>
          </p:cNvPr>
          <p:cNvSpPr txBox="1"/>
          <p:nvPr/>
        </p:nvSpPr>
        <p:spPr>
          <a:xfrm>
            <a:off x="5815789" y="913916"/>
            <a:ext cx="3108324"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u="sng">
                <a:solidFill>
                  <a:srgbClr val="002060"/>
                </a:solidFill>
              </a:rPr>
              <a:t>Weekends and holidays</a:t>
            </a:r>
          </a:p>
        </p:txBody>
      </p:sp>
      <p:sp>
        <p:nvSpPr>
          <p:cNvPr id="10" name="TextBox 9">
            <a:extLst>
              <a:ext uri="{FF2B5EF4-FFF2-40B4-BE49-F238E27FC236}">
                <a16:creationId xmlns:a16="http://schemas.microsoft.com/office/drawing/2014/main" id="{42FB9C20-3D6F-40FF-ABFC-89E5858742B1}"/>
              </a:ext>
            </a:extLst>
          </p:cNvPr>
          <p:cNvSpPr txBox="1"/>
          <p:nvPr/>
        </p:nvSpPr>
        <p:spPr>
          <a:xfrm>
            <a:off x="542762" y="4502109"/>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
        <p:nvSpPr>
          <p:cNvPr id="13" name="TextBox 12">
            <a:extLst>
              <a:ext uri="{FF2B5EF4-FFF2-40B4-BE49-F238E27FC236}">
                <a16:creationId xmlns:a16="http://schemas.microsoft.com/office/drawing/2014/main" id="{E2455A5F-294A-4EA7-8956-A3DA20378328}"/>
              </a:ext>
            </a:extLst>
          </p:cNvPr>
          <p:cNvSpPr txBox="1"/>
          <p:nvPr/>
        </p:nvSpPr>
        <p:spPr>
          <a:xfrm>
            <a:off x="-12619789" y="122384"/>
            <a:ext cx="12792764" cy="797141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600">
                <a:solidFill>
                  <a:schemeClr val="tx1"/>
                </a:solidFill>
                <a:ea typeface="+mn-lt"/>
                <a:cs typeface="+mn-lt"/>
              </a:rPr>
              <a:t>Next slide, we will visualize the trend of bus frequency at </a:t>
            </a:r>
            <a:r>
              <a:rPr lang="en-US" sz="1600" err="1">
                <a:solidFill>
                  <a:schemeClr val="tx1"/>
                </a:solidFill>
                <a:ea typeface="+mn-lt"/>
                <a:cs typeface="+mn-lt"/>
              </a:rPr>
              <a:t>Imbiah</a:t>
            </a:r>
            <a:r>
              <a:rPr lang="en-US" sz="1600">
                <a:solidFill>
                  <a:schemeClr val="tx1"/>
                </a:solidFill>
                <a:ea typeface="+mn-lt"/>
                <a:cs typeface="+mn-lt"/>
              </a:rPr>
              <a:t> Lookout. </a:t>
            </a:r>
            <a:endParaRPr lang="en-US" sz="1600">
              <a:solidFill>
                <a:schemeClr val="tx1"/>
              </a:solidFill>
            </a:endParaRPr>
          </a:p>
          <a:p>
            <a:endParaRPr lang="en-US" sz="1600">
              <a:solidFill>
                <a:schemeClr val="tx1"/>
              </a:solidFill>
            </a:endParaRPr>
          </a:p>
          <a:p>
            <a:r>
              <a:rPr lang="en-US" sz="1600">
                <a:solidFill>
                  <a:schemeClr val="tx1"/>
                </a:solidFill>
                <a:ea typeface="+mn-lt"/>
                <a:cs typeface="+mn-lt"/>
              </a:rPr>
              <a:t>These charts show the comparison at </a:t>
            </a:r>
            <a:r>
              <a:rPr lang="en-US" sz="1600" err="1">
                <a:solidFill>
                  <a:schemeClr val="tx1"/>
                </a:solidFill>
                <a:ea typeface="+mn-lt"/>
                <a:cs typeface="+mn-lt"/>
              </a:rPr>
              <a:t>Imbiah</a:t>
            </a:r>
            <a:r>
              <a:rPr lang="en-US" sz="1600">
                <a:solidFill>
                  <a:schemeClr val="tx1"/>
                </a:solidFill>
                <a:ea typeface="+mn-lt"/>
                <a:cs typeface="+mn-lt"/>
              </a:rPr>
              <a:t> lookout between the current hourly bus frequency and the min bus frequency </a:t>
            </a:r>
            <a:endParaRPr lang="en-US" sz="1600">
              <a:solidFill>
                <a:schemeClr val="tx1"/>
              </a:solidFill>
            </a:endParaRPr>
          </a:p>
          <a:p>
            <a:r>
              <a:rPr lang="en-US" sz="1600">
                <a:solidFill>
                  <a:schemeClr val="tx1"/>
                </a:solidFill>
                <a:ea typeface="+mn-lt"/>
                <a:cs typeface="+mn-lt"/>
              </a:rPr>
              <a:t>required to support the ridership based on a bus capacity of 50pax. </a:t>
            </a:r>
            <a:endParaRPr lang="en-US" sz="1600">
              <a:solidFill>
                <a:schemeClr val="tx1"/>
              </a:solidFill>
            </a:endParaRPr>
          </a:p>
          <a:p>
            <a:endParaRPr lang="en-US" sz="1600">
              <a:solidFill>
                <a:schemeClr val="tx1"/>
              </a:solidFill>
            </a:endParaRPr>
          </a:p>
          <a:p>
            <a:r>
              <a:rPr lang="en-US" sz="1600">
                <a:solidFill>
                  <a:schemeClr val="tx1"/>
                </a:solidFill>
                <a:ea typeface="+mn-lt"/>
                <a:cs typeface="+mn-lt"/>
              </a:rPr>
              <a:t>We plot the chart based on the Max, Mode, and Current bus frequency for each time of the day.</a:t>
            </a:r>
            <a:endParaRPr lang="en-US" sz="1600">
              <a:solidFill>
                <a:schemeClr val="tx1"/>
              </a:solidFill>
            </a:endParaRPr>
          </a:p>
          <a:p>
            <a:endParaRPr lang="en-US" sz="1600">
              <a:solidFill>
                <a:schemeClr val="tx1"/>
              </a:solidFill>
            </a:endParaRPr>
          </a:p>
          <a:p>
            <a:r>
              <a:rPr lang="en-US" sz="1600">
                <a:solidFill>
                  <a:schemeClr val="tx1"/>
                </a:solidFill>
                <a:ea typeface="+mn-lt"/>
                <a:cs typeface="+mn-lt"/>
              </a:rPr>
              <a:t>For example if we look only at the chart for weekdays, the current minimum required bus frequency at 12pm is ONE.</a:t>
            </a:r>
            <a:endParaRPr lang="en-US" sz="1600">
              <a:solidFill>
                <a:schemeClr val="tx1"/>
              </a:solidFill>
            </a:endParaRPr>
          </a:p>
          <a:p>
            <a:r>
              <a:rPr lang="en-US" sz="1600">
                <a:solidFill>
                  <a:schemeClr val="tx1"/>
                </a:solidFill>
                <a:ea typeface="+mn-lt"/>
                <a:cs typeface="+mn-lt"/>
              </a:rPr>
              <a:t>The score for this chart is calculated by grouping the sum of total ridership by all weekdays at 12pm in the dataset, divided by the bus capacity of 50pax.</a:t>
            </a:r>
            <a:endParaRPr lang="en-US" sz="1600">
              <a:solidFill>
                <a:schemeClr val="tx1"/>
              </a:solidFill>
            </a:endParaRPr>
          </a:p>
          <a:p>
            <a:endParaRPr lang="en-US" sz="1600">
              <a:solidFill>
                <a:schemeClr val="tx1"/>
              </a:solidFill>
            </a:endParaRPr>
          </a:p>
          <a:p>
            <a:r>
              <a:rPr lang="en-US" sz="1600">
                <a:solidFill>
                  <a:schemeClr val="tx1"/>
                </a:solidFill>
                <a:ea typeface="+mn-lt"/>
                <a:cs typeface="+mn-lt"/>
              </a:rPr>
              <a:t>After calculation,</a:t>
            </a:r>
            <a:endParaRPr lang="en-US" sz="1600">
              <a:solidFill>
                <a:schemeClr val="tx1"/>
              </a:solidFill>
            </a:endParaRPr>
          </a:p>
          <a:p>
            <a:r>
              <a:rPr lang="en-US" sz="1600">
                <a:solidFill>
                  <a:schemeClr val="tx1"/>
                </a:solidFill>
                <a:ea typeface="+mn-lt"/>
                <a:cs typeface="+mn-lt"/>
              </a:rPr>
              <a:t>The Green Line refers to the minimum value that appears in our dataset, which is ONE BUS at 12pm.</a:t>
            </a:r>
            <a:endParaRPr lang="en-US" sz="1600">
              <a:solidFill>
                <a:schemeClr val="tx1"/>
              </a:solidFill>
            </a:endParaRPr>
          </a:p>
          <a:p>
            <a:r>
              <a:rPr lang="en-US" sz="1600">
                <a:solidFill>
                  <a:schemeClr val="tx1"/>
                </a:solidFill>
                <a:ea typeface="+mn-lt"/>
                <a:cs typeface="+mn-lt"/>
              </a:rPr>
              <a:t>The Blue Line refers to the maximum value that appears in our dataset, </a:t>
            </a:r>
            <a:endParaRPr lang="en-US" sz="1600">
              <a:solidFill>
                <a:schemeClr val="tx1"/>
              </a:solidFill>
            </a:endParaRPr>
          </a:p>
          <a:p>
            <a:r>
              <a:rPr lang="en-US" sz="1600">
                <a:solidFill>
                  <a:schemeClr val="tx1"/>
                </a:solidFill>
                <a:ea typeface="+mn-lt"/>
                <a:cs typeface="+mn-lt"/>
              </a:rPr>
              <a:t>And the Orange Line refers to the value that appears most frequently in our dataset. which is EIGHT BUSES at 12pm.</a:t>
            </a:r>
            <a:endParaRPr lang="en-US" sz="1600">
              <a:solidFill>
                <a:schemeClr val="tx1"/>
              </a:solidFill>
            </a:endParaRPr>
          </a:p>
          <a:p>
            <a:endParaRPr lang="en-US" sz="1600">
              <a:solidFill>
                <a:schemeClr val="tx1"/>
              </a:solidFill>
            </a:endParaRPr>
          </a:p>
          <a:p>
            <a:r>
              <a:rPr lang="en-US" sz="1600">
                <a:solidFill>
                  <a:schemeClr val="tx1"/>
                </a:solidFill>
                <a:ea typeface="+mn-lt"/>
                <a:cs typeface="+mn-lt"/>
              </a:rPr>
              <a:t>For weekdays, the highest and also usual number of buses deployed to </a:t>
            </a:r>
            <a:r>
              <a:rPr lang="en-US" sz="1600" err="1">
                <a:solidFill>
                  <a:schemeClr val="tx1"/>
                </a:solidFill>
                <a:ea typeface="+mn-lt"/>
                <a:cs typeface="+mn-lt"/>
              </a:rPr>
              <a:t>Imbiah</a:t>
            </a:r>
            <a:r>
              <a:rPr lang="en-US" sz="1600">
                <a:solidFill>
                  <a:schemeClr val="tx1"/>
                </a:solidFill>
                <a:ea typeface="+mn-lt"/>
                <a:cs typeface="+mn-lt"/>
              </a:rPr>
              <a:t> is 8 buses, peaking at 9 buses during the 1700hours and 2100hours. the minimum number of buses required is between 1 to 2 buses per hour. </a:t>
            </a:r>
            <a:endParaRPr lang="en-US" sz="1600">
              <a:solidFill>
                <a:schemeClr val="tx1"/>
              </a:solidFill>
            </a:endParaRPr>
          </a:p>
          <a:p>
            <a:endParaRPr lang="en-US" sz="1600">
              <a:solidFill>
                <a:schemeClr val="tx1"/>
              </a:solidFill>
            </a:endParaRPr>
          </a:p>
          <a:p>
            <a:r>
              <a:rPr lang="en-US" sz="1600">
                <a:solidFill>
                  <a:schemeClr val="tx1"/>
                </a:solidFill>
                <a:ea typeface="+mn-lt"/>
                <a:cs typeface="+mn-lt"/>
              </a:rPr>
              <a:t>For our </a:t>
            </a:r>
            <a:r>
              <a:rPr lang="en-US" sz="1600" err="1">
                <a:solidFill>
                  <a:schemeClr val="tx1"/>
                </a:solidFill>
                <a:ea typeface="+mn-lt"/>
                <a:cs typeface="+mn-lt"/>
              </a:rPr>
              <a:t>weekends+holidays</a:t>
            </a:r>
            <a:r>
              <a:rPr lang="en-US" sz="1600">
                <a:solidFill>
                  <a:schemeClr val="tx1"/>
                </a:solidFill>
                <a:ea typeface="+mn-lt"/>
                <a:cs typeface="+mn-lt"/>
              </a:rPr>
              <a:t> chart, the highest number of buses deployed to </a:t>
            </a:r>
            <a:r>
              <a:rPr lang="en-US" sz="1600" err="1">
                <a:solidFill>
                  <a:schemeClr val="tx1"/>
                </a:solidFill>
                <a:ea typeface="+mn-lt"/>
                <a:cs typeface="+mn-lt"/>
              </a:rPr>
              <a:t>Imbiah</a:t>
            </a:r>
            <a:r>
              <a:rPr lang="en-US" sz="1600">
                <a:solidFill>
                  <a:schemeClr val="tx1"/>
                </a:solidFill>
                <a:ea typeface="+mn-lt"/>
                <a:cs typeface="+mn-lt"/>
              </a:rPr>
              <a:t> is 10 buses between 1100hours and 1900hours, with 8 buses being the usual number sent. The MINIMUM number of buses required ranges between 1 to 5 buses per hour. </a:t>
            </a:r>
            <a:endParaRPr lang="en-US" sz="1600">
              <a:solidFill>
                <a:schemeClr val="tx1"/>
              </a:solidFill>
            </a:endParaRPr>
          </a:p>
          <a:p>
            <a:endParaRPr lang="en-US" sz="1600">
              <a:solidFill>
                <a:schemeClr val="tx1"/>
              </a:solidFill>
            </a:endParaRPr>
          </a:p>
          <a:p>
            <a:r>
              <a:rPr lang="en-US" sz="1600">
                <a:solidFill>
                  <a:schemeClr val="tx1"/>
                </a:solidFill>
                <a:ea typeface="+mn-lt"/>
                <a:cs typeface="+mn-lt"/>
              </a:rPr>
              <a:t>You can also notice that the score is the lowest at 7am and 10pm and that is because Route C is not operating at that time too.</a:t>
            </a:r>
            <a:endParaRPr lang="en-US" sz="1600">
              <a:solidFill>
                <a:schemeClr val="tx1"/>
              </a:solidFill>
            </a:endParaRPr>
          </a:p>
          <a:p>
            <a:endParaRPr lang="en-US" sz="1600">
              <a:solidFill>
                <a:schemeClr val="tx1"/>
              </a:solidFill>
            </a:endParaRPr>
          </a:p>
          <a:p>
            <a:r>
              <a:rPr lang="en-US" sz="1600">
                <a:solidFill>
                  <a:schemeClr val="tx1"/>
                </a:solidFill>
                <a:ea typeface="+mn-lt"/>
                <a:cs typeface="+mn-lt"/>
              </a:rPr>
              <a:t>Based on the actual data from Jan to March throughout the hours for both charts, we can see that the Green Line deployed within each hour </a:t>
            </a:r>
            <a:endParaRPr lang="en-US" sz="1600">
              <a:solidFill>
                <a:schemeClr val="tx1"/>
              </a:solidFill>
            </a:endParaRPr>
          </a:p>
          <a:p>
            <a:r>
              <a:rPr lang="en-US" sz="1600">
                <a:solidFill>
                  <a:schemeClr val="tx1"/>
                </a:solidFill>
                <a:ea typeface="+mn-lt"/>
                <a:cs typeface="+mn-lt"/>
              </a:rPr>
              <a:t>is lower than the Max and Mode of the bus frequency.</a:t>
            </a:r>
            <a:endParaRPr lang="en-US" sz="1600">
              <a:solidFill>
                <a:schemeClr val="tx1"/>
              </a:solidFill>
            </a:endParaRPr>
          </a:p>
          <a:p>
            <a:r>
              <a:rPr lang="en-US" sz="1600">
                <a:solidFill>
                  <a:schemeClr val="tx1"/>
                </a:solidFill>
                <a:ea typeface="+mn-lt"/>
                <a:cs typeface="+mn-lt"/>
              </a:rPr>
              <a:t>This means that the actual bus deployment required to support the high ridership at </a:t>
            </a:r>
            <a:r>
              <a:rPr lang="en-US" sz="1600" err="1">
                <a:solidFill>
                  <a:schemeClr val="tx1"/>
                </a:solidFill>
                <a:ea typeface="+mn-lt"/>
                <a:cs typeface="+mn-lt"/>
              </a:rPr>
              <a:t>Imbiah</a:t>
            </a:r>
            <a:r>
              <a:rPr lang="en-US" sz="1600">
                <a:solidFill>
                  <a:schemeClr val="tx1"/>
                </a:solidFill>
                <a:ea typeface="+mn-lt"/>
                <a:cs typeface="+mn-lt"/>
              </a:rPr>
              <a:t> Lookout can be more than required.</a:t>
            </a:r>
            <a:endParaRPr lang="en-US" sz="1600">
              <a:solidFill>
                <a:schemeClr val="tx1"/>
              </a:solidFill>
            </a:endParaRPr>
          </a:p>
          <a:p>
            <a:r>
              <a:rPr lang="en-US" sz="1600">
                <a:solidFill>
                  <a:schemeClr val="tx1"/>
                </a:solidFill>
                <a:ea typeface="+mn-lt"/>
                <a:cs typeface="+mn-lt"/>
              </a:rPr>
              <a:t>There is a chance that buses are under utilized if they continue using the current fixed bus schedule to deploy at least 4 buses per hour.</a:t>
            </a:r>
            <a:endParaRPr lang="en-US" sz="1600">
              <a:solidFill>
                <a:schemeClr val="tx1"/>
              </a:solidFill>
            </a:endParaRPr>
          </a:p>
          <a:p>
            <a:r>
              <a:rPr lang="en-US" sz="1600">
                <a:solidFill>
                  <a:schemeClr val="tx1"/>
                </a:solidFill>
                <a:ea typeface="+mn-lt"/>
                <a:cs typeface="+mn-lt"/>
              </a:rPr>
              <a:t>There is also room for consideration for a reduction in bus frequency: especially before 1200hours and after 1800hours. </a:t>
            </a:r>
            <a:endParaRPr lang="en-US" sz="1600">
              <a:solidFill>
                <a:schemeClr val="tx1"/>
              </a:solidFill>
            </a:endParaRPr>
          </a:p>
          <a:p>
            <a:endParaRPr lang="en-US" sz="1600">
              <a:solidFill>
                <a:schemeClr val="tx1"/>
              </a:solidFill>
            </a:endParaRPr>
          </a:p>
          <a:p>
            <a:pPr algn="l"/>
            <a:endParaRPr lang="en-US" sz="1600">
              <a:solidFill>
                <a:schemeClr val="tx1"/>
              </a:solidFill>
            </a:endParaRPr>
          </a:p>
        </p:txBody>
      </p:sp>
      <p:sp>
        <p:nvSpPr>
          <p:cNvPr id="15" name="TextBox 14">
            <a:extLst>
              <a:ext uri="{FF2B5EF4-FFF2-40B4-BE49-F238E27FC236}">
                <a16:creationId xmlns:a16="http://schemas.microsoft.com/office/drawing/2014/main" id="{66ACABA1-7700-449A-A7C2-2D4C94CED2C7}"/>
              </a:ext>
            </a:extLst>
          </p:cNvPr>
          <p:cNvSpPr txBox="1"/>
          <p:nvPr/>
        </p:nvSpPr>
        <p:spPr>
          <a:xfrm>
            <a:off x="658702" y="5324735"/>
            <a:ext cx="10157670" cy="864415"/>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SG" sz="1600">
                <a:solidFill>
                  <a:srgbClr val="002060"/>
                </a:solidFill>
                <a:ea typeface="+mn-lt"/>
                <a:cs typeface="+mn-lt"/>
              </a:rPr>
              <a:t>Based on the highest ridership for every hour and taking the maximum bus capacity of 50pax, we identified that the actual bus deployment required to support the highest ridership could be more than required. There is a possibility of under-utilised buses using the current fixed bus schedule.</a:t>
            </a:r>
            <a:endParaRPr lang="en-SG">
              <a:solidFill>
                <a:srgbClr val="002060"/>
              </a:solidFill>
              <a:ea typeface="+mn-lt"/>
              <a:cs typeface="+mn-lt"/>
            </a:endParaRPr>
          </a:p>
        </p:txBody>
      </p:sp>
      <p:pic>
        <p:nvPicPr>
          <p:cNvPr id="7" name="Picture 8" descr="Text&#10;&#10;Description automatically generated">
            <a:extLst>
              <a:ext uri="{FF2B5EF4-FFF2-40B4-BE49-F238E27FC236}">
                <a16:creationId xmlns:a16="http://schemas.microsoft.com/office/drawing/2014/main" id="{39EBC9D3-EE2E-4A60-B21B-2E3F051B1C2C}"/>
              </a:ext>
            </a:extLst>
          </p:cNvPr>
          <p:cNvPicPr>
            <a:picLocks noChangeAspect="1"/>
          </p:cNvPicPr>
          <p:nvPr/>
        </p:nvPicPr>
        <p:blipFill>
          <a:blip r:embed="rId5"/>
          <a:stretch>
            <a:fillRect/>
          </a:stretch>
        </p:blipFill>
        <p:spPr>
          <a:xfrm>
            <a:off x="6578140" y="4462441"/>
            <a:ext cx="4249271" cy="748034"/>
          </a:xfrm>
          <a:prstGeom prst="rect">
            <a:avLst/>
          </a:prstGeom>
        </p:spPr>
      </p:pic>
      <p:pic>
        <p:nvPicPr>
          <p:cNvPr id="26" name="Picture 26" descr="Chart, line chart&#10;&#10;Description automatically generated">
            <a:extLst>
              <a:ext uri="{FF2B5EF4-FFF2-40B4-BE49-F238E27FC236}">
                <a16:creationId xmlns:a16="http://schemas.microsoft.com/office/drawing/2014/main" id="{3E7D9E39-2C33-40F6-B21B-E6ABF43A27B6}"/>
              </a:ext>
            </a:extLst>
          </p:cNvPr>
          <p:cNvPicPr>
            <a:picLocks noChangeAspect="1"/>
          </p:cNvPicPr>
          <p:nvPr/>
        </p:nvPicPr>
        <p:blipFill>
          <a:blip r:embed="rId6"/>
          <a:stretch>
            <a:fillRect/>
          </a:stretch>
        </p:blipFill>
        <p:spPr>
          <a:xfrm>
            <a:off x="5818094" y="1303300"/>
            <a:ext cx="4993341" cy="3077022"/>
          </a:xfrm>
          <a:prstGeom prst="rect">
            <a:avLst/>
          </a:prstGeom>
        </p:spPr>
      </p:pic>
      <p:pic>
        <p:nvPicPr>
          <p:cNvPr id="27" name="Picture 27" descr="Chart, line chart&#10;&#10;Description automatically generated">
            <a:extLst>
              <a:ext uri="{FF2B5EF4-FFF2-40B4-BE49-F238E27FC236}">
                <a16:creationId xmlns:a16="http://schemas.microsoft.com/office/drawing/2014/main" id="{8B582F99-5D50-4D77-A9E6-86BF01C61EEE}"/>
              </a:ext>
            </a:extLst>
          </p:cNvPr>
          <p:cNvPicPr>
            <a:picLocks noChangeAspect="1"/>
          </p:cNvPicPr>
          <p:nvPr/>
        </p:nvPicPr>
        <p:blipFill>
          <a:blip r:embed="rId7"/>
          <a:stretch>
            <a:fillRect/>
          </a:stretch>
        </p:blipFill>
        <p:spPr>
          <a:xfrm>
            <a:off x="573742" y="1312958"/>
            <a:ext cx="5020235" cy="3066670"/>
          </a:xfrm>
          <a:prstGeom prst="rect">
            <a:avLst/>
          </a:prstGeom>
        </p:spPr>
      </p:pic>
    </p:spTree>
    <p:extLst>
      <p:ext uri="{BB962C8B-B14F-4D97-AF65-F5344CB8AC3E}">
        <p14:creationId xmlns:p14="http://schemas.microsoft.com/office/powerpoint/2010/main" val="1894441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NAME" val="Rise Grid 16:9"/>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vDVTaVd8hb6b1kRSdaZ3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qWAixli0Adpsnkjav4Q9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XHX5xNumWWBR_ix_SOR0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KQtrZwWvhvkh_4nn7NL7Q"/>
</p:tagLst>
</file>

<file path=ppt/tags/tag10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GhCTCyY5ka1NZJCIrPqtw"/>
</p:tagLst>
</file>

<file path=ppt/tags/tag11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9ZejRRTtsaIvYfJ42lQGg"/>
</p:tagLst>
</file>

<file path=ppt/tags/tag1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VWVDJk78UFFitwmr5RPzg"/>
</p:tagLst>
</file>

<file path=ppt/tags/tag11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ylewG0rYLOysctow_UB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R4jsvNT8gbl8S32XQdSJQ"/>
</p:tagLst>
</file>

<file path=ppt/tags/tag12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hHtS22evfAbGXgwkm05fQ"/>
</p:tagLst>
</file>

<file path=ppt/tags/tag12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9i.b3Q7WZMsowRJNC6Eg0Q"/>
</p:tagLst>
</file>

<file path=ppt/tags/tag1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9Bu3tQkmFpae3ot_Gu12w"/>
</p:tagLst>
</file>

<file path=ppt/tags/tag13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KVzVRzB1wvdz2Uj1l5Ivw"/>
</p:tagLst>
</file>

<file path=ppt/tags/tag13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nnsyDiPN9qq.TKtBYbKhw"/>
</p:tagLst>
</file>

<file path=ppt/tags/tag13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zv3_Ti_SSPNpj_.p1vScA"/>
</p:tagLst>
</file>

<file path=ppt/tags/tag14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Jsul38QGKe9qFkv.C_gVw"/>
</p:tagLst>
</file>

<file path=ppt/tags/tag1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Uuzkw_ap44LjO7GeemWpw"/>
</p:tagLst>
</file>

<file path=ppt/tags/tag14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arida0.WbMien2ohjlV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5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tcTr36Fjl.eNcPcJyIyp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AK7pux3R5UKndXN65nG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6bksXOK3XEwfT4SSam88Q"/>
</p:tagLst>
</file>

<file path=ppt/tags/tag18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3.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AK7pux3R5UKndXN65nGBA"/>
</p:tagLst>
</file>

<file path=ppt/tags/tag19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2.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BCG_MODE" val="Presentation"/>
  <p:tag name="BCG_DESIGN" val="Green highlight (P)"/>
  <p:tag name="EE4P_LAYOUT_ID" val="K"/>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BCG_MODE" val="Presentation"/>
  <p:tag name="BCG_DESIGN" val="Green highlight (P)"/>
  <p:tag name="EE4P_LAYOUT_ID" val="K"/>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BCG_MODE" val="Presentation"/>
  <p:tag name="BCG_DESIGN" val="Green highlight (P)"/>
  <p:tag name="EE4P_LAYOUT_ID" val="K"/>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QHYCmNPJ1_60Y44y2nj2A"/>
</p:tagLst>
</file>

<file path=ppt/tags/tag210.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Npm0omy_vDNFr.4VBiY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gUNsodjj.QPTiuploe4pw"/>
</p:tagLst>
</file>

<file path=ppt/tags/tag2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2n3j2WYj2xgWh9uXaBp.w"/>
</p:tagLst>
</file>

<file path=ppt/tags/tag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ysbL2kDu37Ie2iYfxDk6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TBMAoXpwp0MLMBSSfgU.Q"/>
</p:tagLst>
</file>

<file path=ppt/tags/tag3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pEaXaohsYZv4amqbi7rnQ"/>
</p:tagLst>
</file>

<file path=ppt/tags/tag3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ytJwQgKnHBBwz0zTi0CVA"/>
</p:tagLst>
</file>

<file path=ppt/tags/tag3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dLEoRbBiv9uxZhl_Ac9bw"/>
</p:tagLst>
</file>

<file path=ppt/tags/tag4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uhx7PPmrp8U2eb7SABrvA"/>
</p:tagLst>
</file>

<file path=ppt/tags/tag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4GgjYdcUyh3ZbmavHKSGg"/>
</p:tagLst>
</file>

<file path=ppt/tags/tag4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xKYKMF31Zrq0szm8uNM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HDByHbBEFQKVdsPdqbn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XawhgbDSRt80NqDCJRt6w"/>
</p:tagLst>
</file>

<file path=ppt/tags/tag5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IVvcX.q1snGKHm2IXVuog"/>
</p:tagLst>
</file>

<file path=ppt/tags/tag5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NJ7E1Lfyjf3sK0zFEiI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L1uhY_4hbsk0c6fn7YDFw"/>
</p:tagLst>
</file>

<file path=ppt/tags/tag6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LtVUnszVJovAG30yYQOA"/>
</p:tagLst>
</file>

<file path=ppt/tags/tag6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N8FSHYFfwxmnJFS1WsnXg"/>
</p:tagLst>
</file>

<file path=ppt/tags/tag6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6.iYUyxGfzTf2UeLRiLdQ"/>
</p:tagLst>
</file>

<file path=ppt/tags/tag7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ZZlA1C3R1r3Xtko3AlV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uEBLybNeUsZEHrARQWx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uEBLybNeUsZEHrARQWxq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Tnviuvppfp_f9X8JqZoPQ"/>
</p:tagLst>
</file>

<file path=ppt/theme/theme1.xml><?xml version="1.0" encoding="utf-8"?>
<a:theme xmlns:a="http://schemas.openxmlformats.org/drawingml/2006/main" name="Nice Grid 16:9">
  <a:themeElements>
    <a:clrScheme name="Rise">
      <a:dk1>
        <a:srgbClr val="000000"/>
      </a:dk1>
      <a:lt1>
        <a:sysClr val="window" lastClr="FFFFFF"/>
      </a:lt1>
      <a:dk2>
        <a:srgbClr val="171D3C"/>
      </a:dk2>
      <a:lt2>
        <a:srgbClr val="F2F2F2"/>
      </a:lt2>
      <a:accent1>
        <a:srgbClr val="0F1327"/>
      </a:accent1>
      <a:accent2>
        <a:srgbClr val="2A356C"/>
      </a:accent2>
      <a:accent3>
        <a:srgbClr val="31DB89"/>
      </a:accent3>
      <a:accent4>
        <a:srgbClr val="394893"/>
      </a:accent4>
      <a:accent5>
        <a:srgbClr val="7F7F7F"/>
      </a:accent5>
      <a:accent6>
        <a:srgbClr val="FFFF00"/>
      </a:accent6>
      <a:hlink>
        <a:srgbClr val="1C9C5F"/>
      </a:hlink>
      <a:folHlink>
        <a:srgbClr val="1C9C5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F7638A798FBF54984597EB325E8111B" ma:contentTypeVersion="10" ma:contentTypeDescription="Create a new document." ma:contentTypeScope="" ma:versionID="c9804a3670e65e574a4ae6be2ca83465">
  <xsd:schema xmlns:xsd="http://www.w3.org/2001/XMLSchema" xmlns:xs="http://www.w3.org/2001/XMLSchema" xmlns:p="http://schemas.microsoft.com/office/2006/metadata/properties" xmlns:ns2="2dc97b79-0b93-40db-a5f5-74867eea2b6f" targetNamespace="http://schemas.microsoft.com/office/2006/metadata/properties" ma:root="true" ma:fieldsID="cd77fa9be89e59442720c38a3fae2724" ns2:_="">
    <xsd:import namespace="2dc97b79-0b93-40db-a5f5-74867eea2b6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c97b79-0b93-40db-a5f5-74867eea2b6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E7B3177-C41F-4F8B-BCE9-FE873B0B3A2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DB4F6C6-0AD7-4F77-9BE2-CB5E13DA88B2}">
  <ds:schemaRefs>
    <ds:schemaRef ds:uri="2dc97b79-0b93-40db-a5f5-74867eea2b6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734B731-EDCF-42B7-BE42-0947D0E73A6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8471</Words>
  <Application>Microsoft Office PowerPoint</Application>
  <PresentationFormat>Widescreen</PresentationFormat>
  <Paragraphs>950</Paragraphs>
  <Slides>63</Slides>
  <Notes>33</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3</vt:i4>
      </vt:variant>
      <vt:variant>
        <vt:lpstr>Custom Shows</vt:lpstr>
      </vt:variant>
      <vt:variant>
        <vt:i4>1</vt:i4>
      </vt:variant>
    </vt:vector>
  </HeadingPairs>
  <TitlesOfParts>
    <vt:vector size="71" baseType="lpstr">
      <vt:lpstr>Arial</vt:lpstr>
      <vt:lpstr>Calibri</vt:lpstr>
      <vt:lpstr>Graphik Web</vt:lpstr>
      <vt:lpstr>Trebuchet MS</vt:lpstr>
      <vt:lpstr>Trebuchet MS,Sans-Serif</vt:lpstr>
      <vt:lpstr>Nice Grid 16:9</vt:lpstr>
      <vt:lpstr>think-cell Slide</vt:lpstr>
      <vt:lpstr>Capstone Project</vt:lpstr>
      <vt:lpstr>PowerPoint Presentation</vt:lpstr>
      <vt:lpstr>Executive Summary</vt:lpstr>
      <vt:lpstr>PowerPoint Presentation</vt:lpstr>
      <vt:lpstr>Project Flow</vt:lpstr>
      <vt:lpstr>Total Ridership for Bus Stops</vt:lpstr>
      <vt:lpstr>Ridership Peak Periods at all Bus Stops</vt:lpstr>
      <vt:lpstr>PowerPoint Presentation</vt:lpstr>
      <vt:lpstr>Bus Frequency of Imbiah Lookout </vt:lpstr>
      <vt:lpstr>Feature Selection</vt:lpstr>
      <vt:lpstr>PowerPoint Presentation</vt:lpstr>
      <vt:lpstr>Ridership Predictions for 1st Week of April 2021</vt:lpstr>
      <vt:lpstr>Predicted Minimum Bus Frequency Required  on 1st April 2021</vt:lpstr>
      <vt:lpstr>Adding features in existing Sentosa App Provide real time bus arrival and occupancy information</vt:lpstr>
      <vt:lpstr>PowerPoint Presentation</vt:lpstr>
      <vt:lpstr>PowerPoint Presentation</vt:lpstr>
      <vt:lpstr>PowerPoint Presentation</vt:lpstr>
      <vt:lpstr>Modelling Appendix(Daily)</vt:lpstr>
      <vt:lpstr>Modelling Appendix(Daily)</vt:lpstr>
      <vt:lpstr>Modelling Appendix(Daily)</vt:lpstr>
      <vt:lpstr>Modelling Appendix(Daily)</vt:lpstr>
      <vt:lpstr>Modelling Appendix(Daily)</vt:lpstr>
      <vt:lpstr>Modelling Appendix(Daily)</vt:lpstr>
      <vt:lpstr>Modelling Appendix(Daily)</vt:lpstr>
      <vt:lpstr>Modelling Appendix(Daily)</vt:lpstr>
      <vt:lpstr>Bus Frequency of top bus stops  Siloso Point and Imbiah Lookout (Weekday)</vt:lpstr>
      <vt:lpstr>Bus Frequency of top bus stops  Siloso Point and Imbiah Lookout (Weekend/holidays)</vt:lpstr>
      <vt:lpstr>PowerPoint Presentation</vt:lpstr>
      <vt:lpstr>Total ridership for bus stops</vt:lpstr>
      <vt:lpstr>Calculation for Popularity Factor</vt:lpstr>
      <vt:lpstr>Hypothesis Testing for yes/no flags</vt:lpstr>
      <vt:lpstr>Modelling Appendix</vt:lpstr>
      <vt:lpstr>Modelling Appendix</vt:lpstr>
      <vt:lpstr>Modelling Appendix</vt:lpstr>
      <vt:lpstr>Modelling Appendix</vt:lpstr>
      <vt:lpstr>Modelling Appendix</vt:lpstr>
      <vt:lpstr>Modelling Appendix</vt:lpstr>
      <vt:lpstr>PowerPoint Presentation</vt:lpstr>
      <vt:lpstr>PowerPoint Presentation</vt:lpstr>
      <vt:lpstr>PowerPoint Presentation</vt:lpstr>
      <vt:lpstr>PowerPoint Presentation</vt:lpstr>
      <vt:lpstr>Where would we go next.. – ROAD MAP – PROJECT MILESTONES  limitations – limited data Next steps - 1) Run on bigger data to fine tune 2) App – wireframe Sentosa App</vt:lpstr>
      <vt:lpstr>PowerPoint Presentation</vt:lpstr>
      <vt:lpstr>KIV later after rest of basics are done</vt:lpstr>
      <vt:lpstr>Analytics deep dive: What analytics we did, what models we landed</vt:lpstr>
      <vt:lpstr>Provide real time bus arrival and occupancy information</vt:lpstr>
      <vt:lpstr>Recommendation</vt:lpstr>
      <vt:lpstr>Recommendation</vt:lpstr>
      <vt:lpstr>Sentosa</vt:lpstr>
      <vt:lpstr>&lt;Automatic bus deployment system&gt; could  help reduce the crowded bus problem</vt:lpstr>
      <vt:lpstr>We leveraged the power of data to analyze the root causes and drive valuable insights</vt:lpstr>
      <vt:lpstr>We had investigated the co-relationship in between population density, amenities , and resorts on each bus stop</vt:lpstr>
      <vt:lpstr>Executive Summary</vt:lpstr>
      <vt:lpstr>Pandemic is accelerating global demand for Remote connectivity services and moving Consumer spending towards Emerging Tech</vt:lpstr>
      <vt:lpstr>PowerPoint Presentation</vt:lpstr>
      <vt:lpstr>Solving &lt;this problem&gt; could impact Y M lives across B countries</vt:lpstr>
      <vt:lpstr>We leveraged the power of data to analyze the root causes and drive valuable insights</vt:lpstr>
      <vt:lpstr>We leveraged the power of data to analyze the root causes and drive valuable insights</vt:lpstr>
      <vt:lpstr>We leveraged the power of data to analyze the root causes and drive valuable insights</vt:lpstr>
      <vt:lpstr>We leveraged the power of data to analyze the root causes and drive valuable insights</vt:lpstr>
      <vt:lpstr>We leveraged the power of data to analyze the root causes and drive valuable insights</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Wesley Teo</cp:lastModifiedBy>
  <cp:revision>2</cp:revision>
  <cp:lastPrinted>1999-12-31T16:00:00Z</cp:lastPrinted>
  <dcterms:created xsi:type="dcterms:W3CDTF">2021-02-08T07:05:41Z</dcterms:created>
  <dcterms:modified xsi:type="dcterms:W3CDTF">2022-01-09T15:5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2601277</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y fmtid="{D5CDD505-2E9C-101B-9397-08002B2CF9AE}" pid="7" name="ContentTypeId">
    <vt:lpwstr>0x0101000F7638A798FBF54984597EB325E8111B</vt:lpwstr>
  </property>
</Properties>
</file>